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m4a" ContentType="audio/mp4"/>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heme/themeOverride1.xml" ContentType="application/vnd.openxmlformats-officedocument.themeOverride+xml"/>
  <Override PartName="/ppt/notesSlides/notesSlide9.xml" ContentType="application/vnd.openxmlformats-officedocument.presentationml.notesSlide+xml"/>
  <Override PartName="/ppt/theme/themeOverride2.xml" ContentType="application/vnd.openxmlformats-officedocument.themeOverride+xml"/>
  <Override PartName="/ppt/notesSlides/notesSlide10.xml" ContentType="application/vnd.openxmlformats-officedocument.presentationml.notesSlide+xml"/>
  <Override PartName="/ppt/theme/themeOverride3.xml" ContentType="application/vnd.openxmlformats-officedocument.themeOverride+xml"/>
  <Override PartName="/ppt/notesSlides/notesSlide11.xml" ContentType="application/vnd.openxmlformats-officedocument.presentationml.notesSlide+xml"/>
  <Override PartName="/ppt/theme/themeOverride4.xml" ContentType="application/vnd.openxmlformats-officedocument.themeOverride+xml"/>
  <Override PartName="/ppt/notesSlides/notesSlide12.xml" ContentType="application/vnd.openxmlformats-officedocument.presentationml.notesSlide+xml"/>
  <Override PartName="/ppt/theme/themeOverride5.xml" ContentType="application/vnd.openxmlformats-officedocument.themeOverride+xml"/>
  <Override PartName="/ppt/notesSlides/notesSlide13.xml" ContentType="application/vnd.openxmlformats-officedocument.presentationml.notesSlide+xml"/>
  <Override PartName="/ppt/theme/themeOverride6.xml" ContentType="application/vnd.openxmlformats-officedocument.themeOverride+xml"/>
  <Override PartName="/ppt/notesSlides/notesSlide14.xml" ContentType="application/vnd.openxmlformats-officedocument.presentationml.notesSlide+xml"/>
  <Override PartName="/ppt/theme/themeOverride7.xml" ContentType="application/vnd.openxmlformats-officedocument.themeOverride+xml"/>
  <Override PartName="/ppt/notesSlides/notesSlide15.xml" ContentType="application/vnd.openxmlformats-officedocument.presentationml.notesSlide+xml"/>
  <Override PartName="/ppt/theme/themeOverride8.xml" ContentType="application/vnd.openxmlformats-officedocument.themeOverride+xml"/>
  <Override PartName="/ppt/notesSlides/notesSlide16.xml" ContentType="application/vnd.openxmlformats-officedocument.presentationml.notesSlide+xml"/>
  <Override PartName="/ppt/theme/themeOverride9.xml" ContentType="application/vnd.openxmlformats-officedocument.themeOverride+xml"/>
  <Override PartName="/ppt/notesSlides/notesSlide17.xml" ContentType="application/vnd.openxmlformats-officedocument.presentationml.notesSlide+xml"/>
  <Override PartName="/ppt/theme/themeOverride10.xml" ContentType="application/vnd.openxmlformats-officedocument.themeOverride+xml"/>
  <Override PartName="/ppt/notesSlides/notesSlide18.xml" ContentType="application/vnd.openxmlformats-officedocument.presentationml.notesSlide+xml"/>
  <Override PartName="/ppt/theme/themeOverride11.xml" ContentType="application/vnd.openxmlformats-officedocument.themeOverride+xml"/>
  <Override PartName="/ppt/notesSlides/notesSlide19.xml" ContentType="application/vnd.openxmlformats-officedocument.presentationml.notesSlide+xml"/>
  <Override PartName="/ppt/theme/themeOverride12.xml" ContentType="application/vnd.openxmlformats-officedocument.themeOverride+xml"/>
  <Override PartName="/ppt/notesSlides/notesSlide20.xml" ContentType="application/vnd.openxmlformats-officedocument.presentationml.notesSlide+xml"/>
  <Override PartName="/ppt/theme/themeOverride13.xml" ContentType="application/vnd.openxmlformats-officedocument.themeOverride+xml"/>
  <Override PartName="/ppt/notesSlides/notesSlide21.xml" ContentType="application/vnd.openxmlformats-officedocument.presentationml.notesSlide+xml"/>
  <Override PartName="/ppt/theme/themeOverride14.xml" ContentType="application/vnd.openxmlformats-officedocument.themeOverride+xml"/>
  <Override PartName="/ppt/notesSlides/notesSlide22.xml" ContentType="application/vnd.openxmlformats-officedocument.presentationml.notesSlide+xml"/>
  <Override PartName="/ppt/theme/themeOverride15.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0"/>
  </p:notesMasterIdLst>
  <p:sldIdLst>
    <p:sldId id="286" r:id="rId5"/>
    <p:sldId id="297" r:id="rId6"/>
    <p:sldId id="287" r:id="rId7"/>
    <p:sldId id="303" r:id="rId8"/>
    <p:sldId id="304" r:id="rId9"/>
    <p:sldId id="288" r:id="rId10"/>
    <p:sldId id="289" r:id="rId11"/>
    <p:sldId id="279" r:id="rId12"/>
    <p:sldId id="280" r:id="rId13"/>
    <p:sldId id="282" r:id="rId14"/>
    <p:sldId id="283" r:id="rId15"/>
    <p:sldId id="284" r:id="rId16"/>
    <p:sldId id="299" r:id="rId17"/>
    <p:sldId id="285" r:id="rId18"/>
    <p:sldId id="305" r:id="rId19"/>
    <p:sldId id="290" r:id="rId20"/>
    <p:sldId id="300" r:id="rId21"/>
    <p:sldId id="292" r:id="rId22"/>
    <p:sldId id="301" r:id="rId23"/>
    <p:sldId id="294" r:id="rId24"/>
    <p:sldId id="306" r:id="rId25"/>
    <p:sldId id="295" r:id="rId26"/>
    <p:sldId id="296" r:id="rId27"/>
    <p:sldId id="298" r:id="rId28"/>
    <p:sldId id="307" r:id="rId29"/>
  </p:sldIdLst>
  <p:sldSz cx="9144000" cy="5143500" type="screen16x9"/>
  <p:notesSz cx="6858000" cy="9144000"/>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pos="204" userDrawn="1">
          <p15:clr>
            <a:srgbClr val="A4A3A4"/>
          </p15:clr>
        </p15:guide>
        <p15:guide id="2" pos="5556" userDrawn="1">
          <p15:clr>
            <a:srgbClr val="A4A3A4"/>
          </p15:clr>
        </p15:guide>
        <p15:guide id="4" orient="horz" pos="2948" userDrawn="1">
          <p15:clr>
            <a:srgbClr val="A4A3A4"/>
          </p15:clr>
        </p15:guide>
        <p15:guide id="5" orient="horz" pos="725" userDrawn="1">
          <p15:clr>
            <a:srgbClr val="A4A3A4"/>
          </p15:clr>
        </p15:guide>
        <p15:guide id="6" orient="horz" pos="239" userDrawn="1">
          <p15:clr>
            <a:srgbClr val="A4A3A4"/>
          </p15:clr>
        </p15:guide>
        <p15:guide id="7" pos="2832" userDrawn="1">
          <p15:clr>
            <a:srgbClr val="A4A3A4"/>
          </p15:clr>
        </p15:guide>
        <p15:guide id="8" pos="2933" userDrawn="1">
          <p15:clr>
            <a:srgbClr val="A4A3A4"/>
          </p15:clr>
        </p15:guide>
        <p15:guide id="9" pos="3737" userDrawn="1">
          <p15:clr>
            <a:srgbClr val="A4A3A4"/>
          </p15:clr>
        </p15:guide>
        <p15:guide id="10" pos="3843" userDrawn="1">
          <p15:clr>
            <a:srgbClr val="A4A3A4"/>
          </p15:clr>
        </p15:guide>
        <p15:guide id="11" pos="2023" userDrawn="1">
          <p15:clr>
            <a:srgbClr val="A4A3A4"/>
          </p15:clr>
        </p15:guide>
        <p15:guide id="12" pos="191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ike Schmidt" initials="MS" lastIdx="3" clrIdx="0">
    <p:extLst>
      <p:ext uri="{19B8F6BF-5375-455C-9EA6-DF929625EA0E}">
        <p15:presenceInfo xmlns:p15="http://schemas.microsoft.com/office/powerpoint/2012/main" userId="S::maike.schmidt@strategy-compass.com::b4eb969c-01b2-4915-aef7-794a5e1eccdc" providerId="AD"/>
      </p:ext>
    </p:extLst>
  </p:cmAuthor>
  <p:cmAuthor id="2" name="Clara Lena Barrocu (DPDHL DE)" initials="CLB(D" lastIdx="1" clrIdx="1">
    <p:extLst>
      <p:ext uri="{19B8F6BF-5375-455C-9EA6-DF929625EA0E}">
        <p15:presenceInfo xmlns:p15="http://schemas.microsoft.com/office/powerpoint/2012/main" userId="S-1-5-21-2763872571-2999947588-3099097816-541796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A9C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9DCA9A-C63B-4A2E-B152-0319F32FBCCE}" v="3" dt="2022-01-31T12:42:55.361"/>
  </p1510:revLst>
</p1510:revInfo>
</file>

<file path=ppt/tableStyles.xml><?xml version="1.0" encoding="utf-8"?>
<a:tblStyleLst xmlns:a="http://schemas.openxmlformats.org/drawingml/2006/main" def="{09810C2D-2C2F-4581-8AFF-CD78C2D722A2}">
  <a:tblStyle styleId="{09810C2D-2C2F-4581-8AFF-CD78C2D722A2}" styleName="DPDHL Table No BG">
    <a:tblBg>
      <a:fill>
        <a:noFill/>
      </a:fill>
    </a:tblBg>
    <a:wholeTbl>
      <a:tcTxStyle>
        <a:fontRef idx="minor"/>
        <a:schemeClr val="tx1"/>
      </a:tcTxStyle>
      <a:tcStyle>
        <a:tcBdr>
          <a:left>
            <a:ln>
              <a:noFill/>
            </a:ln>
          </a:left>
          <a:right>
            <a:ln>
              <a:noFill/>
            </a:ln>
          </a:right>
          <a:top>
            <a:ln w="28575" cmpd="sng">
              <a:solidFill>
                <a:schemeClr val="tx1"/>
              </a:solidFill>
            </a:ln>
          </a:top>
          <a:bottom>
            <a:ln w="28575" cmpd="sng">
              <a:solidFill>
                <a:schemeClr val="tx1"/>
              </a:solidFill>
            </a:ln>
          </a:bottom>
          <a:insideH>
            <a:ln w="12700" cmpd="sng">
              <a:solidFill>
                <a:schemeClr val="tx1"/>
              </a:solidFill>
            </a:ln>
          </a:insideH>
          <a:insideV>
            <a:ln>
              <a:noFill/>
            </a:ln>
          </a:insideV>
        </a:tcBdr>
        <a:fill>
          <a:solidFill>
            <a:schemeClr val="bg1"/>
          </a:solidFill>
        </a:fill>
      </a:tcStyle>
    </a:wholeTbl>
    <a:band1H>
      <a:tcStyle>
        <a:tcBdr/>
        <a:fill>
          <a:noFill/>
        </a:fill>
      </a:tcStyle>
    </a:band1H>
    <a:band2H>
      <a:tcStyle>
        <a:tcBdr/>
        <a:fill>
          <a:noFill/>
        </a:fill>
      </a:tcStyle>
    </a:band2H>
    <a:band1V>
      <a:tcStyle>
        <a:tcBdr/>
        <a:fill>
          <a:noFill/>
        </a:fill>
      </a:tcStyle>
    </a:band1V>
    <a:band2V>
      <a:tcStyle>
        <a:tcBdr/>
        <a:fill>
          <a:noFill/>
        </a:fill>
      </a:tcStyle>
    </a:band2V>
    <a:lastCol>
      <a:tcTxStyle/>
      <a:tcStyle>
        <a:tcBdr/>
      </a:tcStyle>
    </a:lastCol>
    <a:firstCol>
      <a:tcStyle>
        <a:tcBdr/>
        <a:fill>
          <a:noFill/>
        </a:fill>
      </a:tcStyle>
    </a:firstCol>
    <a:lastRow>
      <a:tcStyle>
        <a:tcBdr/>
        <a:fill>
          <a:noFill/>
        </a:fill>
      </a:tcStyle>
    </a:lastRow>
    <a:firstRow>
      <a:tcTxStyle/>
      <a:tcStyle>
        <a:tcBdr>
          <a:bottom>
            <a:ln w="12700" cmpd="sng">
              <a:solidFill>
                <a:schemeClr val="tx1"/>
              </a:solidFill>
            </a:ln>
          </a:bottom>
        </a:tcBdr>
        <a:fill>
          <a:noFill/>
        </a:fill>
      </a:tcStyle>
    </a:firstRow>
  </a:tblStyle>
  <a:tblStyle styleId="{E6C8A55F-5544-428C-9B86-97CFDF07063B}" styleName="DPDHL Table White BG">
    <a:tblBg>
      <a:fill>
        <a:noFill/>
      </a:fill>
    </a:tblBg>
    <a:wholeTbl>
      <a:tcTxStyle>
        <a:fontRef idx="minor"/>
        <a:schemeClr val="tx1"/>
      </a:tcTxStyle>
      <a:tcStyle>
        <a:tcBdr>
          <a:left>
            <a:ln>
              <a:noFill/>
            </a:ln>
          </a:left>
          <a:right>
            <a:ln>
              <a:noFill/>
            </a:ln>
          </a:right>
          <a:top>
            <a:ln w="28575" cmpd="sng">
              <a:solidFill>
                <a:schemeClr val="tx1"/>
              </a:solidFill>
            </a:ln>
          </a:top>
          <a:bottom>
            <a:ln w="28575" cmpd="sng">
              <a:solidFill>
                <a:schemeClr val="tx1"/>
              </a:solidFill>
            </a:ln>
          </a:bottom>
          <a:insideH>
            <a:ln w="12700" cmpd="sng">
              <a:solidFill>
                <a:schemeClr val="tx1"/>
              </a:solidFill>
            </a:ln>
          </a:insideH>
          <a:insideV>
            <a:ln>
              <a:noFill/>
            </a:ln>
          </a:insideV>
        </a:tcBdr>
        <a:fill>
          <a:noFill/>
        </a:fill>
      </a:tcStyle>
    </a:wholeTbl>
    <a:band1H>
      <a:tcStyle>
        <a:tcBdr/>
        <a:fill>
          <a:solidFill>
            <a:schemeClr val="bg1">
              <a:tint val="100000"/>
            </a:schemeClr>
          </a:solidFill>
        </a:fill>
      </a:tcStyle>
    </a:band1H>
    <a:band2H>
      <a:tcStyle>
        <a:tcBdr/>
        <a:fill>
          <a:solidFill>
            <a:schemeClr val="bg1">
              <a:lumMod val="20000"/>
              <a:lumOff val="80000"/>
            </a:schemeClr>
          </a:solidFill>
        </a:fill>
      </a:tcStyle>
    </a:band2H>
    <a:band1V>
      <a:tcStyle>
        <a:tcBdr/>
        <a:fill>
          <a:solidFill>
            <a:schemeClr val="bg1">
              <a:lumMod val="20000"/>
              <a:lumOff val="80000"/>
            </a:schemeClr>
          </a:solidFill>
        </a:fill>
      </a:tcStyle>
    </a:band1V>
    <a:band2V>
      <a:tcStyle>
        <a:tcBdr/>
        <a:fill>
          <a:solidFill>
            <a:schemeClr val="bg1">
              <a:lumMod val="20000"/>
              <a:lumOff val="80000"/>
            </a:schemeClr>
          </a:solidFill>
        </a:fill>
      </a:tcStyle>
    </a:band2V>
    <a:lastCol>
      <a:tcTxStyle/>
      <a:tcStyle>
        <a:tcBdr/>
      </a:tcStyle>
    </a:lastCol>
    <a:firstCol>
      <a:tcStyle>
        <a:tcBdr/>
        <a:fill>
          <a:solidFill>
            <a:schemeClr val="bg1">
              <a:lumMod val="20000"/>
              <a:lumOff val="80000"/>
            </a:schemeClr>
          </a:solidFill>
        </a:fill>
      </a:tcStyle>
    </a:firstCol>
    <a:lastRow>
      <a:tcStyle>
        <a:tcBdr/>
        <a:fill>
          <a:solidFill>
            <a:schemeClr val="bg1">
              <a:lumMod val="20000"/>
              <a:lumOff val="80000"/>
            </a:schemeClr>
          </a:solidFill>
        </a:fill>
      </a:tcStyle>
    </a:lastRow>
    <a:firstRow>
      <a:tcTxStyle/>
      <a:tcStyle>
        <a:tcBdr>
          <a:bottom>
            <a:ln w="12700" cmpd="sng">
              <a:solidFill>
                <a:schemeClr val="tx1"/>
              </a:solidFill>
            </a:ln>
          </a:bottom>
        </a:tcBdr>
        <a:fill>
          <a:solidFill>
            <a:schemeClr val="bg1">
              <a:lumMod val="20000"/>
              <a:lumOff val="8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26" autoAdjust="0"/>
    <p:restoredTop sz="88721" autoAdjust="0"/>
  </p:normalViewPr>
  <p:slideViewPr>
    <p:cSldViewPr snapToGrid="0" showGuides="1">
      <p:cViewPr varScale="1">
        <p:scale>
          <a:sx n="118" d="100"/>
          <a:sy n="118" d="100"/>
        </p:scale>
        <p:origin x="1398" y="102"/>
      </p:cViewPr>
      <p:guideLst>
        <p:guide pos="204"/>
        <p:guide pos="5556"/>
        <p:guide orient="horz" pos="2948"/>
        <p:guide orient="horz" pos="725"/>
        <p:guide orient="horz" pos="239"/>
        <p:guide pos="2832"/>
        <p:guide pos="2933"/>
        <p:guide pos="3737"/>
        <p:guide pos="3843"/>
        <p:guide pos="2023"/>
        <p:guide pos="1917"/>
      </p:guideLst>
    </p:cSldViewPr>
  </p:slideViewPr>
  <p:notesTextViewPr>
    <p:cViewPr>
      <p:scale>
        <a:sx n="1" d="1"/>
        <a:sy n="1" d="1"/>
      </p:scale>
      <p:origin x="0" y="0"/>
    </p:cViewPr>
  </p:notesTextViewPr>
  <p:notesViewPr>
    <p:cSldViewPr snapToGrid="0">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ette Wollmann (DPDHL DE)" userId="S::a.wollmann@dpdhl.com::6ff11e7b-badd-4d2b-bed5-d1b8b4ef4699" providerId="AD" clId="Web-{959DCA9A-C63B-4A2E-B152-0319F32FBCCE}"/>
    <pc:docChg chg="modSld">
      <pc:chgData name="Annette Wollmann (DPDHL DE)" userId="S::a.wollmann@dpdhl.com::6ff11e7b-badd-4d2b-bed5-d1b8b4ef4699" providerId="AD" clId="Web-{959DCA9A-C63B-4A2E-B152-0319F32FBCCE}" dt="2022-01-31T12:42:55.361" v="2"/>
      <pc:docMkLst>
        <pc:docMk/>
      </pc:docMkLst>
      <pc:sldChg chg="modSp modMedia">
        <pc:chgData name="Annette Wollmann (DPDHL DE)" userId="S::a.wollmann@dpdhl.com::6ff11e7b-badd-4d2b-bed5-d1b8b4ef4699" providerId="AD" clId="Web-{959DCA9A-C63B-4A2E-B152-0319F32FBCCE}" dt="2022-01-31T12:42:55.361" v="2"/>
        <pc:sldMkLst>
          <pc:docMk/>
          <pc:sldMk cId="4168852839" sldId="287"/>
        </pc:sldMkLst>
        <pc:picChg chg="mod">
          <ac:chgData name="Annette Wollmann (DPDHL DE)" userId="S::a.wollmann@dpdhl.com::6ff11e7b-badd-4d2b-bed5-d1b8b4ef4699" providerId="AD" clId="Web-{959DCA9A-C63B-4A2E-B152-0319F32FBCCE}" dt="2022-01-31T12:42:55.361" v="2"/>
          <ac:picMkLst>
            <pc:docMk/>
            <pc:sldMk cId="4168852839" sldId="287"/>
            <ac:picMk id="5" creationId="{00000000-0000-0000-0000-000000000000}"/>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F5CAE4-CBB0-454E-B6B8-0B6620C2B409}" type="datetimeFigureOut">
              <a:rPr lang="de-DE" smtClean="0"/>
              <a:t>10.03.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753AD6-CEF2-4FD5-AABC-FCC5FC528AD2}" type="slidenum">
              <a:rPr lang="de-DE" smtClean="0"/>
              <a:t>‹Nr.›</a:t>
            </a:fld>
            <a:endParaRPr lang="de-DE"/>
          </a:p>
        </p:txBody>
      </p:sp>
    </p:spTree>
    <p:extLst>
      <p:ext uri="{BB962C8B-B14F-4D97-AF65-F5344CB8AC3E}">
        <p14:creationId xmlns:p14="http://schemas.microsoft.com/office/powerpoint/2010/main" val="2539216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1</a:t>
            </a:fld>
            <a:endParaRPr lang="x-es-XL"/>
          </a:p>
        </p:txBody>
      </p:sp>
    </p:spTree>
    <p:extLst>
      <p:ext uri="{BB962C8B-B14F-4D97-AF65-F5344CB8AC3E}">
        <p14:creationId xmlns:p14="http://schemas.microsoft.com/office/powerpoint/2010/main" val="1985969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10</a:t>
            </a:fld>
            <a:endParaRPr lang="x-es-XL"/>
          </a:p>
        </p:txBody>
      </p:sp>
    </p:spTree>
    <p:extLst>
      <p:ext uri="{BB962C8B-B14F-4D97-AF65-F5344CB8AC3E}">
        <p14:creationId xmlns:p14="http://schemas.microsoft.com/office/powerpoint/2010/main" val="486292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11</a:t>
            </a:fld>
            <a:endParaRPr lang="x-es-XL"/>
          </a:p>
        </p:txBody>
      </p:sp>
    </p:spTree>
    <p:extLst>
      <p:ext uri="{BB962C8B-B14F-4D97-AF65-F5344CB8AC3E}">
        <p14:creationId xmlns:p14="http://schemas.microsoft.com/office/powerpoint/2010/main" val="30959662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12</a:t>
            </a:fld>
            <a:endParaRPr lang="x-es-XL"/>
          </a:p>
        </p:txBody>
      </p:sp>
    </p:spTree>
    <p:extLst>
      <p:ext uri="{BB962C8B-B14F-4D97-AF65-F5344CB8AC3E}">
        <p14:creationId xmlns:p14="http://schemas.microsoft.com/office/powerpoint/2010/main" val="40136087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13</a:t>
            </a:fld>
            <a:endParaRPr lang="x-es-XL"/>
          </a:p>
        </p:txBody>
      </p:sp>
    </p:spTree>
    <p:extLst>
      <p:ext uri="{BB962C8B-B14F-4D97-AF65-F5344CB8AC3E}">
        <p14:creationId xmlns:p14="http://schemas.microsoft.com/office/powerpoint/2010/main" val="20371916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14</a:t>
            </a:fld>
            <a:endParaRPr lang="x-es-XL"/>
          </a:p>
        </p:txBody>
      </p:sp>
    </p:spTree>
    <p:extLst>
      <p:ext uri="{BB962C8B-B14F-4D97-AF65-F5344CB8AC3E}">
        <p14:creationId xmlns:p14="http://schemas.microsoft.com/office/powerpoint/2010/main" val="3458151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15</a:t>
            </a:fld>
            <a:endParaRPr lang="x-es-XL"/>
          </a:p>
        </p:txBody>
      </p:sp>
    </p:spTree>
    <p:extLst>
      <p:ext uri="{BB962C8B-B14F-4D97-AF65-F5344CB8AC3E}">
        <p14:creationId xmlns:p14="http://schemas.microsoft.com/office/powerpoint/2010/main" val="33153756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16</a:t>
            </a:fld>
            <a:endParaRPr lang="x-es-XL"/>
          </a:p>
        </p:txBody>
      </p:sp>
    </p:spTree>
    <p:extLst>
      <p:ext uri="{BB962C8B-B14F-4D97-AF65-F5344CB8AC3E}">
        <p14:creationId xmlns:p14="http://schemas.microsoft.com/office/powerpoint/2010/main" val="28348063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x-es-XL" b="0" i="0" u="none" baseline="0"/>
              <a:t>¿Agregar alguna explicación? Otra posibilidad sería modificar la estructura. </a:t>
            </a:r>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17</a:t>
            </a:fld>
            <a:endParaRPr lang="x-es-XL"/>
          </a:p>
        </p:txBody>
      </p:sp>
    </p:spTree>
    <p:extLst>
      <p:ext uri="{BB962C8B-B14F-4D97-AF65-F5344CB8AC3E}">
        <p14:creationId xmlns:p14="http://schemas.microsoft.com/office/powerpoint/2010/main" val="20782261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18</a:t>
            </a:fld>
            <a:endParaRPr lang="x-es-XL"/>
          </a:p>
        </p:txBody>
      </p:sp>
    </p:spTree>
    <p:extLst>
      <p:ext uri="{BB962C8B-B14F-4D97-AF65-F5344CB8AC3E}">
        <p14:creationId xmlns:p14="http://schemas.microsoft.com/office/powerpoint/2010/main" val="294145560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19</a:t>
            </a:fld>
            <a:endParaRPr lang="x-es-XL"/>
          </a:p>
        </p:txBody>
      </p:sp>
    </p:spTree>
    <p:extLst>
      <p:ext uri="{BB962C8B-B14F-4D97-AF65-F5344CB8AC3E}">
        <p14:creationId xmlns:p14="http://schemas.microsoft.com/office/powerpoint/2010/main" val="435518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2</a:t>
            </a:fld>
            <a:endParaRPr lang="x-es-XL"/>
          </a:p>
        </p:txBody>
      </p:sp>
    </p:spTree>
    <p:extLst>
      <p:ext uri="{BB962C8B-B14F-4D97-AF65-F5344CB8AC3E}">
        <p14:creationId xmlns:p14="http://schemas.microsoft.com/office/powerpoint/2010/main" val="20179142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rtl="0">
              <a:buFontTx/>
              <a:buChar char="-"/>
            </a:pPr>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20</a:t>
            </a:fld>
            <a:endParaRPr lang="x-es-XL"/>
          </a:p>
        </p:txBody>
      </p:sp>
    </p:spTree>
    <p:extLst>
      <p:ext uri="{BB962C8B-B14F-4D97-AF65-F5344CB8AC3E}">
        <p14:creationId xmlns:p14="http://schemas.microsoft.com/office/powerpoint/2010/main" val="34344723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rtl="0">
              <a:buFontTx/>
              <a:buNone/>
            </a:pPr>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21</a:t>
            </a:fld>
            <a:endParaRPr lang="x-es-XL"/>
          </a:p>
        </p:txBody>
      </p:sp>
    </p:spTree>
    <p:extLst>
      <p:ext uri="{BB962C8B-B14F-4D97-AF65-F5344CB8AC3E}">
        <p14:creationId xmlns:p14="http://schemas.microsoft.com/office/powerpoint/2010/main" val="31576384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22</a:t>
            </a:fld>
            <a:endParaRPr lang="x-es-XL"/>
          </a:p>
        </p:txBody>
      </p:sp>
    </p:spTree>
    <p:extLst>
      <p:ext uri="{BB962C8B-B14F-4D97-AF65-F5344CB8AC3E}">
        <p14:creationId xmlns:p14="http://schemas.microsoft.com/office/powerpoint/2010/main" val="154349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23</a:t>
            </a:fld>
            <a:endParaRPr lang="x-es-XL"/>
          </a:p>
        </p:txBody>
      </p:sp>
    </p:spTree>
    <p:extLst>
      <p:ext uri="{BB962C8B-B14F-4D97-AF65-F5344CB8AC3E}">
        <p14:creationId xmlns:p14="http://schemas.microsoft.com/office/powerpoint/2010/main" val="138505248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24</a:t>
            </a:fld>
            <a:endParaRPr lang="x-es-XL"/>
          </a:p>
        </p:txBody>
      </p:sp>
    </p:spTree>
    <p:extLst>
      <p:ext uri="{BB962C8B-B14F-4D97-AF65-F5344CB8AC3E}">
        <p14:creationId xmlns:p14="http://schemas.microsoft.com/office/powerpoint/2010/main" val="17070209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25</a:t>
            </a:fld>
            <a:endParaRPr lang="x-es-XL"/>
          </a:p>
        </p:txBody>
      </p:sp>
    </p:spTree>
    <p:extLst>
      <p:ext uri="{BB962C8B-B14F-4D97-AF65-F5344CB8AC3E}">
        <p14:creationId xmlns:p14="http://schemas.microsoft.com/office/powerpoint/2010/main" val="2945763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3</a:t>
            </a:fld>
            <a:endParaRPr lang="x-es-XL"/>
          </a:p>
        </p:txBody>
      </p:sp>
    </p:spTree>
    <p:extLst>
      <p:ext uri="{BB962C8B-B14F-4D97-AF65-F5344CB8AC3E}">
        <p14:creationId xmlns:p14="http://schemas.microsoft.com/office/powerpoint/2010/main" val="26197838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4</a:t>
            </a:fld>
            <a:endParaRPr lang="x-es-XL"/>
          </a:p>
        </p:txBody>
      </p:sp>
    </p:spTree>
    <p:extLst>
      <p:ext uri="{BB962C8B-B14F-4D97-AF65-F5344CB8AC3E}">
        <p14:creationId xmlns:p14="http://schemas.microsoft.com/office/powerpoint/2010/main" val="24981044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5</a:t>
            </a:fld>
            <a:endParaRPr lang="x-es-XL"/>
          </a:p>
        </p:txBody>
      </p:sp>
    </p:spTree>
    <p:extLst>
      <p:ext uri="{BB962C8B-B14F-4D97-AF65-F5344CB8AC3E}">
        <p14:creationId xmlns:p14="http://schemas.microsoft.com/office/powerpoint/2010/main" val="2950954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6</a:t>
            </a:fld>
            <a:endParaRPr lang="x-es-XL"/>
          </a:p>
        </p:txBody>
      </p:sp>
    </p:spTree>
    <p:extLst>
      <p:ext uri="{BB962C8B-B14F-4D97-AF65-F5344CB8AC3E}">
        <p14:creationId xmlns:p14="http://schemas.microsoft.com/office/powerpoint/2010/main" val="8083987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7</a:t>
            </a:fld>
            <a:endParaRPr lang="x-es-XL"/>
          </a:p>
        </p:txBody>
      </p:sp>
    </p:spTree>
    <p:extLst>
      <p:ext uri="{BB962C8B-B14F-4D97-AF65-F5344CB8AC3E}">
        <p14:creationId xmlns:p14="http://schemas.microsoft.com/office/powerpoint/2010/main" val="26678563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8</a:t>
            </a:fld>
            <a:endParaRPr lang="x-es-XL"/>
          </a:p>
        </p:txBody>
      </p:sp>
    </p:spTree>
    <p:extLst>
      <p:ext uri="{BB962C8B-B14F-4D97-AF65-F5344CB8AC3E}">
        <p14:creationId xmlns:p14="http://schemas.microsoft.com/office/powerpoint/2010/main" val="8110034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es-XL" dirty="0"/>
          </a:p>
        </p:txBody>
      </p:sp>
      <p:sp>
        <p:nvSpPr>
          <p:cNvPr id="4" name="Slide Number Placeholder 3"/>
          <p:cNvSpPr>
            <a:spLocks noGrp="1"/>
          </p:cNvSpPr>
          <p:nvPr>
            <p:ph type="sldNum" sz="quarter" idx="10"/>
          </p:nvPr>
        </p:nvSpPr>
        <p:spPr/>
        <p:txBody>
          <a:bodyPr/>
          <a:lstStyle/>
          <a:p>
            <a:pPr algn="l" rtl="0"/>
            <a:fld id="{4B753AD6-CEF2-4FD5-AABC-FCC5FC528AD2}" type="slidenum">
              <a:rPr/>
              <a:t>9</a:t>
            </a:fld>
            <a:endParaRPr lang="x-es-XL"/>
          </a:p>
        </p:txBody>
      </p:sp>
    </p:spTree>
    <p:extLst>
      <p:ext uri="{BB962C8B-B14F-4D97-AF65-F5344CB8AC3E}">
        <p14:creationId xmlns:p14="http://schemas.microsoft.com/office/powerpoint/2010/main" val="41081249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0" y="2017985"/>
            <a:ext cx="8495999"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0" y="519112"/>
            <a:ext cx="8495999"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AMPLE TITLE ONE OR TWO LINES, Delivery CONDENSED BLACK, 36 </a:t>
            </a:r>
            <a:r>
              <a:rPr lang="en-US" dirty="0" err="1"/>
              <a:t>pt</a:t>
            </a:r>
            <a:endParaRPr lang="en-US" dirty="0"/>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077289"/>
            <a:ext cx="4644724" cy="196977"/>
          </a:xfrm>
          <a:prstGeom prst="rect">
            <a:avLst/>
          </a:prstGeom>
        </p:spPr>
        <p:txBody>
          <a:bodyPr>
            <a:noAutofit/>
          </a:bodyPr>
          <a:lstStyle>
            <a:lvl1pPr>
              <a:defRPr b="1">
                <a:latin typeface="+mn-lt"/>
              </a:defRPr>
            </a:lvl1pPr>
            <a:lvl2pPr marL="0" indent="0">
              <a:buNone/>
              <a:defRPr/>
            </a:lvl2pPr>
          </a:lstStyle>
          <a:p>
            <a:pPr lvl="0"/>
            <a:r>
              <a:rPr lang="en-US" dirty="0"/>
              <a:t>Business Identifier</a:t>
            </a:r>
          </a:p>
        </p:txBody>
      </p:sp>
      <p:sp>
        <p:nvSpPr>
          <p:cNvPr id="7" name="meta-project">
            <a:extLst>
              <a:ext uri="{FF2B5EF4-FFF2-40B4-BE49-F238E27FC236}">
                <a16:creationId xmlns:a16="http://schemas.microsoft.com/office/drawing/2014/main" id="{8F28B7B0-34F9-4874-994D-5A49D798B34A}"/>
              </a:ext>
            </a:extLst>
          </p:cNvPr>
          <p:cNvSpPr>
            <a:spLocks noGrp="1"/>
          </p:cNvSpPr>
          <p:nvPr>
            <p:ph type="body" sz="quarter" idx="14" hasCustomPrompt="1"/>
          </p:nvPr>
        </p:nvSpPr>
        <p:spPr>
          <a:xfrm>
            <a:off x="323999" y="2614115"/>
            <a:ext cx="4644724"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 Delivery, 12 </a:t>
            </a:r>
            <a:r>
              <a:rPr lang="en-US" dirty="0" err="1"/>
              <a:t>pt</a:t>
            </a:r>
            <a:r>
              <a:rPr lang="en-US" dirty="0"/>
              <a:t> </a:t>
            </a:r>
          </a:p>
          <a:p>
            <a:pPr lvl="0"/>
            <a:r>
              <a:rPr lang="en-US" dirty="0"/>
              <a:t>Location, ## Month ####</a:t>
            </a:r>
          </a:p>
        </p:txBody>
      </p:sp>
      <p:sp>
        <p:nvSpPr>
          <p:cNvPr id="9" name="Text Placeholder 27">
            <a:extLst>
              <a:ext uri="{FF2B5EF4-FFF2-40B4-BE49-F238E27FC236}">
                <a16:creationId xmlns:a16="http://schemas.microsoft.com/office/drawing/2014/main" id="{A1BEE2D1-646D-4288-9806-4000515FA220}"/>
              </a:ext>
            </a:extLst>
          </p:cNvPr>
          <p:cNvSpPr>
            <a:spLocks noGrp="1" noChangeAspect="1"/>
          </p:cNvSpPr>
          <p:nvPr>
            <p:ph type="body" sz="quarter" idx="6" hasCustomPrompt="1"/>
          </p:nvPr>
        </p:nvSpPr>
        <p:spPr>
          <a:xfrm>
            <a:off x="316581" y="4485477"/>
            <a:ext cx="1980648" cy="346950"/>
          </a:xfrm>
          <a:prstGeom prst="rect">
            <a:avLst/>
          </a:prstGeom>
          <a:blipFill>
            <a:blip r:embed="rId2"/>
            <a:stretch>
              <a:fillRect/>
            </a:stretch>
          </a:blipFill>
        </p:spPr>
        <p:txBody>
          <a:bodyPr/>
          <a:lstStyle>
            <a:lvl1pPr>
              <a:defRPr sz="100">
                <a:latin typeface="+mn-lt"/>
              </a:defRPr>
            </a:lvl1pPr>
            <a:lvl2pPr>
              <a:defRPr sz="100"/>
            </a:lvl2pPr>
            <a:lvl3pPr>
              <a:defRPr sz="100"/>
            </a:lvl3pPr>
            <a:lvl4pPr>
              <a:defRPr sz="100"/>
            </a:lvl4pPr>
            <a:lvl5pPr>
              <a:defRPr sz="100"/>
            </a:lvl5pPr>
          </a:lstStyle>
          <a:p>
            <a:pPr lvl="0"/>
            <a:r>
              <a:rPr lang="en-US" dirty="0"/>
              <a:t> </a:t>
            </a:r>
          </a:p>
        </p:txBody>
      </p:sp>
    </p:spTree>
    <p:extLst>
      <p:ext uri="{BB962C8B-B14F-4D97-AF65-F5344CB8AC3E}">
        <p14:creationId xmlns:p14="http://schemas.microsoft.com/office/powerpoint/2010/main" val="1873564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EF21E-737D-4419-BFB1-7E3BAF4E7B53}"/>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2D4C42CC-B85A-402A-8160-8B4CC7900462}"/>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E2238AF6-F51C-40B8-BD5A-EE1AE942F1B7}"/>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Tree>
    <p:extLst>
      <p:ext uri="{BB962C8B-B14F-4D97-AF65-F5344CB8AC3E}">
        <p14:creationId xmlns:p14="http://schemas.microsoft.com/office/powerpoint/2010/main" val="11258661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49F3C-D71F-48B0-816B-AA2AB649733A}"/>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B74F32AD-3FC7-4091-8554-127642F80671}"/>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81180CEC-C0BC-4F28-99ED-9A7B307FEE0F}"/>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6" name="Content Placeholder 5">
            <a:extLst>
              <a:ext uri="{FF2B5EF4-FFF2-40B4-BE49-F238E27FC236}">
                <a16:creationId xmlns:a16="http://schemas.microsoft.com/office/drawing/2014/main" id="{1605EC38-B07E-496F-9ED7-8B08225083C7}"/>
              </a:ext>
            </a:extLst>
          </p:cNvPr>
          <p:cNvSpPr>
            <a:spLocks noGrp="1"/>
          </p:cNvSpPr>
          <p:nvPr>
            <p:ph sz="quarter" idx="12" hasCustomPrompt="1"/>
          </p:nvPr>
        </p:nvSpPr>
        <p:spPr>
          <a:xfrm>
            <a:off x="324001" y="1150938"/>
            <a:ext cx="4165450"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7" name="Content Placeholder 5">
            <a:extLst>
              <a:ext uri="{FF2B5EF4-FFF2-40B4-BE49-F238E27FC236}">
                <a16:creationId xmlns:a16="http://schemas.microsoft.com/office/drawing/2014/main" id="{09D4F118-EC4E-4697-8B94-89026AF38F06}"/>
              </a:ext>
            </a:extLst>
          </p:cNvPr>
          <p:cNvSpPr>
            <a:spLocks noGrp="1"/>
          </p:cNvSpPr>
          <p:nvPr>
            <p:ph sz="quarter" idx="13" hasCustomPrompt="1"/>
          </p:nvPr>
        </p:nvSpPr>
        <p:spPr>
          <a:xfrm>
            <a:off x="4654549" y="1150938"/>
            <a:ext cx="4165450"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Tree>
    <p:extLst>
      <p:ext uri="{BB962C8B-B14F-4D97-AF65-F5344CB8AC3E}">
        <p14:creationId xmlns:p14="http://schemas.microsoft.com/office/powerpoint/2010/main" val="34553553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1 column, 1 pictur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C21F6A-3851-4800-A70C-75B7E973A6B2}"/>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1E0140EB-C614-490E-95CD-A54BE084B790}"/>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5" name="Content Placeholder 5">
            <a:extLst>
              <a:ext uri="{FF2B5EF4-FFF2-40B4-BE49-F238E27FC236}">
                <a16:creationId xmlns:a16="http://schemas.microsoft.com/office/drawing/2014/main" id="{038679AF-4954-4658-B135-45730398D31C}"/>
              </a:ext>
            </a:extLst>
          </p:cNvPr>
          <p:cNvSpPr>
            <a:spLocks noGrp="1"/>
          </p:cNvSpPr>
          <p:nvPr>
            <p:ph sz="quarter" idx="12" hasCustomPrompt="1"/>
          </p:nvPr>
        </p:nvSpPr>
        <p:spPr>
          <a:xfrm>
            <a:off x="324001" y="1150938"/>
            <a:ext cx="4165450"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8" name="Picture Placeholder 7">
            <a:extLst>
              <a:ext uri="{FF2B5EF4-FFF2-40B4-BE49-F238E27FC236}">
                <a16:creationId xmlns:a16="http://schemas.microsoft.com/office/drawing/2014/main" id="{367FEE81-04E7-45FF-A241-7D07B82E5C5D}"/>
              </a:ext>
            </a:extLst>
          </p:cNvPr>
          <p:cNvSpPr>
            <a:spLocks noGrp="1"/>
          </p:cNvSpPr>
          <p:nvPr>
            <p:ph type="pic" sz="quarter" idx="14" hasCustomPrompt="1"/>
          </p:nvPr>
        </p:nvSpPr>
        <p:spPr>
          <a:xfrm>
            <a:off x="4654549" y="1150938"/>
            <a:ext cx="4165450" cy="3530600"/>
          </a:xfrm>
          <a:prstGeom prst="rect">
            <a:avLst/>
          </a:prstGeom>
          <a:solidFill>
            <a:srgbClr val="CCCCCC"/>
          </a:solidFill>
        </p:spPr>
        <p:txBody>
          <a:bodyPr lIns="72000" tIns="72000" rIns="72000" bIns="72000" anchor="ctr"/>
          <a:lstStyle>
            <a:lvl1pPr algn="ctr">
              <a:defRPr/>
            </a:lvl1pPr>
          </a:lstStyle>
          <a:p>
            <a:r>
              <a:rPr lang="en-US" dirty="0"/>
              <a:t>Please click the icon to insert an image</a:t>
            </a:r>
          </a:p>
        </p:txBody>
      </p:sp>
      <p:sp>
        <p:nvSpPr>
          <p:cNvPr id="6" name="Title 5">
            <a:extLst>
              <a:ext uri="{FF2B5EF4-FFF2-40B4-BE49-F238E27FC236}">
                <a16:creationId xmlns:a16="http://schemas.microsoft.com/office/drawing/2014/main" id="{B297623A-4EAB-41C4-80D7-12A550C73390}"/>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Tree>
    <p:extLst>
      <p:ext uri="{BB962C8B-B14F-4D97-AF65-F5344CB8AC3E}">
        <p14:creationId xmlns:p14="http://schemas.microsoft.com/office/powerpoint/2010/main" val="40069562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1 column, 1 picture half s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50795CF1-C64E-4F72-B36F-DDAB3E8F255A}"/>
              </a:ext>
            </a:extLst>
          </p:cNvPr>
          <p:cNvSpPr>
            <a:spLocks noGrp="1"/>
          </p:cNvSpPr>
          <p:nvPr>
            <p:ph type="pic" sz="quarter" idx="18" hasCustomPrompt="1"/>
          </p:nvPr>
        </p:nvSpPr>
        <p:spPr>
          <a:xfrm>
            <a:off x="5292726" y="0"/>
            <a:ext cx="3851274" cy="5143500"/>
          </a:xfrm>
          <a:prstGeom prst="rect">
            <a:avLst/>
          </a:prstGeom>
          <a:solidFill>
            <a:srgbClr val="CCCCCC"/>
          </a:solidFill>
        </p:spPr>
        <p:txBody>
          <a:bodyPr anchor="ctr"/>
          <a:lstStyle>
            <a:lvl1pPr algn="ctr">
              <a:defRPr/>
            </a:lvl1pPr>
          </a:lstStyle>
          <a:p>
            <a:r>
              <a:rPr lang="en-US" dirty="0"/>
              <a:t>Please click the icon to insert an image</a:t>
            </a:r>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324001" y="1150938"/>
            <a:ext cx="4644724"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2"/>
            </p:custDataLst>
            <p:extLst>
              <p:ext uri="{D42A27DB-BD31-4B8C-83A1-F6EECF244321}">
                <p14:modId xmlns:p14="http://schemas.microsoft.com/office/powerpoint/2010/main" val="3541762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0" name="think-cell Folie" r:id="rId5" imgW="353" imgH="353" progId="TCLayout.ActiveDocument.1">
                  <p:embed/>
                </p:oleObj>
              </mc:Choice>
              <mc:Fallback>
                <p:oleObj name="think-cell Folie" r:id="rId5"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1800" b="1" i="0" baseline="0" dirty="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dirty="0"/>
              <a:t>DPDHL Group | Presentation title | Location | xx Month 20xx</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6" name="Titel 5">
            <a:extLst>
              <a:ext uri="{FF2B5EF4-FFF2-40B4-BE49-F238E27FC236}">
                <a16:creationId xmlns:a16="http://schemas.microsoft.com/office/drawing/2014/main" id="{F409C521-BD03-4B37-BFA2-6C70A1E05769}"/>
              </a:ext>
            </a:extLst>
          </p:cNvPr>
          <p:cNvSpPr>
            <a:spLocks noGrp="1"/>
          </p:cNvSpPr>
          <p:nvPr>
            <p:ph type="title" hasCustomPrompt="1"/>
          </p:nvPr>
        </p:nvSpPr>
        <p:spPr>
          <a:xfrm>
            <a:off x="324000" y="385163"/>
            <a:ext cx="4644725" cy="493950"/>
          </a:xfrm>
        </p:spPr>
        <p:txBody>
          <a:bodyPr/>
          <a:lstStyle/>
          <a:p>
            <a:r>
              <a:rPr lang="en-US" dirty="0"/>
              <a:t>Double headline with one or two lines, Delivery Bold, 18 </a:t>
            </a:r>
            <a:r>
              <a:rPr lang="en-US" dirty="0" err="1"/>
              <a:t>pt</a:t>
            </a:r>
            <a:endParaRPr lang="de-DE" dirty="0"/>
          </a:p>
        </p:txBody>
      </p:sp>
    </p:spTree>
    <p:extLst>
      <p:ext uri="{BB962C8B-B14F-4D97-AF65-F5344CB8AC3E}">
        <p14:creationId xmlns:p14="http://schemas.microsoft.com/office/powerpoint/2010/main" val="29060418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1 column, 1 column half side grey">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5292726" y="0"/>
            <a:ext cx="3851274" cy="5143500"/>
          </a:xfrm>
          <a:prstGeom prst="rect">
            <a:avLst/>
          </a:prstGeom>
          <a:solidFill>
            <a:srgbClr val="CCCCCC"/>
          </a:solidFill>
        </p:spPr>
        <p:txBody>
          <a:bodyPr lIns="324000" tIns="1152000" rIns="324000" bIns="432000" anchor="t" anchorCtr="0"/>
          <a:lstStyle>
            <a:lvl1pPr>
              <a:defRPr/>
            </a:lvl1pPr>
            <a:lvl4pPr>
              <a:defRPr/>
            </a:lvl4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a:p>
            <a:pPr lvl="4"/>
            <a:endParaRPr lang="en-US" dirty="0"/>
          </a:p>
        </p:txBody>
      </p:sp>
      <p:graphicFrame>
        <p:nvGraphicFramePr>
          <p:cNvPr id="29" name="Objekt 28" hidden="1">
            <a:extLst>
              <a:ext uri="{FF2B5EF4-FFF2-40B4-BE49-F238E27FC236}">
                <a16:creationId xmlns:a16="http://schemas.microsoft.com/office/drawing/2014/main" id="{35CC8C36-E5F6-4785-85F2-7B1DD179C837}"/>
              </a:ext>
            </a:extLst>
          </p:cNvPr>
          <p:cNvGraphicFramePr>
            <a:graphicFrameLocks noChangeAspect="1"/>
          </p:cNvGraphicFramePr>
          <p:nvPr>
            <p:custDataLst>
              <p:tags r:id="rId2"/>
            </p:custDataLst>
            <p:extLst>
              <p:ext uri="{D42A27DB-BD31-4B8C-83A1-F6EECF244321}">
                <p14:modId xmlns:p14="http://schemas.microsoft.com/office/powerpoint/2010/main" val="2606814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4" name="think-cell Folie" r:id="rId5" imgW="353" imgH="353" progId="TCLayout.ActiveDocument.1">
                  <p:embed/>
                </p:oleObj>
              </mc:Choice>
              <mc:Fallback>
                <p:oleObj name="think-cell Folie" r:id="rId5" imgW="353" imgH="353" progId="TCLayout.ActiveDocument.1">
                  <p:embed/>
                  <p:pic>
                    <p:nvPicPr>
                      <p:cNvPr id="29" name="Objekt 28" hidden="1">
                        <a:extLst>
                          <a:ext uri="{FF2B5EF4-FFF2-40B4-BE49-F238E27FC236}">
                            <a16:creationId xmlns:a16="http://schemas.microsoft.com/office/drawing/2014/main" id="{35CC8C36-E5F6-4785-85F2-7B1DD179C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hteck 27" hidden="1">
            <a:extLst>
              <a:ext uri="{FF2B5EF4-FFF2-40B4-BE49-F238E27FC236}">
                <a16:creationId xmlns:a16="http://schemas.microsoft.com/office/drawing/2014/main" id="{5364B560-8A9F-4B7A-B988-CF7BF54F712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1800" b="1" i="0" baseline="0" dirty="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dirty="0"/>
              <a:t>DPDHL Group | Presentation title | Location | xx Month 20xx</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324001" y="1150938"/>
            <a:ext cx="4644724"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6" name="Titel 5">
            <a:extLst>
              <a:ext uri="{FF2B5EF4-FFF2-40B4-BE49-F238E27FC236}">
                <a16:creationId xmlns:a16="http://schemas.microsoft.com/office/drawing/2014/main" id="{E09B3B99-C0D3-48AC-B488-C13663AE1577}"/>
              </a:ext>
            </a:extLst>
          </p:cNvPr>
          <p:cNvSpPr>
            <a:spLocks noGrp="1"/>
          </p:cNvSpPr>
          <p:nvPr>
            <p:ph type="title" hasCustomPrompt="1"/>
          </p:nvPr>
        </p:nvSpPr>
        <p:spPr>
          <a:xfrm>
            <a:off x="324000" y="385163"/>
            <a:ext cx="4644725" cy="493950"/>
          </a:xfrm>
        </p:spPr>
        <p:txBody>
          <a:bodyPr/>
          <a:lstStyle/>
          <a:p>
            <a:r>
              <a:rPr lang="en-US" dirty="0"/>
              <a:t>Double headline with one or two lines, Delivery Bold, 18 </a:t>
            </a:r>
            <a:r>
              <a:rPr lang="en-US" dirty="0" err="1"/>
              <a:t>pt</a:t>
            </a:r>
            <a:endParaRPr lang="de-DE" dirty="0"/>
          </a:p>
        </p:txBody>
      </p:sp>
    </p:spTree>
    <p:extLst>
      <p:ext uri="{BB962C8B-B14F-4D97-AF65-F5344CB8AC3E}">
        <p14:creationId xmlns:p14="http://schemas.microsoft.com/office/powerpoint/2010/main" val="2334422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1 column, 1 column half side gradien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7D416913-53A8-4554-9E84-F88C14A369BC}"/>
              </a:ext>
            </a:extLst>
          </p:cNvPr>
          <p:cNvSpPr>
            <a:spLocks noGrp="1"/>
          </p:cNvSpPr>
          <p:nvPr>
            <p:ph type="body" sz="quarter" idx="15" hasCustomPrompt="1"/>
          </p:nvPr>
        </p:nvSpPr>
        <p:spPr>
          <a:xfrm>
            <a:off x="5292726" y="0"/>
            <a:ext cx="3851274" cy="5143500"/>
          </a:xfrm>
          <a:prstGeom prst="rect">
            <a:avLst/>
          </a:prstGeom>
          <a:gradFill>
            <a:gsLst>
              <a:gs pos="30000">
                <a:schemeClr val="accent3"/>
              </a:gs>
              <a:gs pos="79000">
                <a:srgbClr val="FFDE59"/>
              </a:gs>
              <a:gs pos="100000">
                <a:srgbClr val="FFF0B2"/>
              </a:gs>
            </a:gsLst>
            <a:lin ang="16200000" scaled="1"/>
          </a:gradFill>
        </p:spPr>
        <p:txBody>
          <a:bodyPr lIns="324000" tIns="1152000" rIns="324000" bIns="432000" anchor="t" anchorCtr="0"/>
          <a:lstStyle>
            <a:lvl1pPr>
              <a:defRPr/>
            </a:lvl1pPr>
            <a:lvl4pPr>
              <a:defRPr/>
            </a:lvl4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a:p>
            <a:pPr lvl="4"/>
            <a:endParaRPr lang="en-US" dirty="0"/>
          </a:p>
        </p:txBody>
      </p:sp>
      <p:graphicFrame>
        <p:nvGraphicFramePr>
          <p:cNvPr id="7" name="Objekt 6" hidden="1">
            <a:extLst>
              <a:ext uri="{FF2B5EF4-FFF2-40B4-BE49-F238E27FC236}">
                <a16:creationId xmlns:a16="http://schemas.microsoft.com/office/drawing/2014/main" id="{B0B4FDD3-3FA4-45F2-86F1-10A9DA1AAD3E}"/>
              </a:ext>
            </a:extLst>
          </p:cNvPr>
          <p:cNvGraphicFramePr>
            <a:graphicFrameLocks noChangeAspect="1"/>
          </p:cNvGraphicFramePr>
          <p:nvPr>
            <p:custDataLst>
              <p:tags r:id="rId2"/>
            </p:custDataLst>
            <p:extLst>
              <p:ext uri="{D42A27DB-BD31-4B8C-83A1-F6EECF244321}">
                <p14:modId xmlns:p14="http://schemas.microsoft.com/office/powerpoint/2010/main" val="328273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8" name="think-cell Folie" r:id="rId5" imgW="353" imgH="353" progId="TCLayout.ActiveDocument.1">
                  <p:embed/>
                </p:oleObj>
              </mc:Choice>
              <mc:Fallback>
                <p:oleObj name="think-cell Folie" r:id="rId5" imgW="353" imgH="353" progId="TCLayout.ActiveDocument.1">
                  <p:embed/>
                  <p:pic>
                    <p:nvPicPr>
                      <p:cNvPr id="7" name="Objekt 6" hidden="1">
                        <a:extLst>
                          <a:ext uri="{FF2B5EF4-FFF2-40B4-BE49-F238E27FC236}">
                            <a16:creationId xmlns:a16="http://schemas.microsoft.com/office/drawing/2014/main" id="{B0B4FDD3-3FA4-45F2-86F1-10A9DA1AAD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6E863B02-413C-4D73-A746-5B2F80C99C0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1800" b="1" i="0" baseline="0" dirty="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a16="http://schemas.microsoft.com/office/drawing/2014/main" id="{0ADC25DC-2D9E-4ABF-8944-4D2479BF7286}"/>
              </a:ext>
            </a:extLst>
          </p:cNvPr>
          <p:cNvSpPr>
            <a:spLocks noGrp="1"/>
          </p:cNvSpPr>
          <p:nvPr>
            <p:ph type="ftr" sz="quarter" idx="10"/>
          </p:nvPr>
        </p:nvSpPr>
        <p:spPr/>
        <p:txBody>
          <a:bodyPr/>
          <a:lstStyle/>
          <a:p>
            <a:r>
              <a:rPr lang="en-US" dirty="0"/>
              <a:t>DPDHL Group | Presentation title | Location | xx Month 20xx</a:t>
            </a:r>
          </a:p>
        </p:txBody>
      </p:sp>
      <p:sp>
        <p:nvSpPr>
          <p:cNvPr id="4" name="Slide Number Placeholder 3">
            <a:extLst>
              <a:ext uri="{FF2B5EF4-FFF2-40B4-BE49-F238E27FC236}">
                <a16:creationId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5" name="Content Placeholder 5">
            <a:extLst>
              <a:ext uri="{FF2B5EF4-FFF2-40B4-BE49-F238E27FC236}">
                <a16:creationId xmlns:a16="http://schemas.microsoft.com/office/drawing/2014/main" id="{219A887B-6080-4228-99B7-DF904417247B}"/>
              </a:ext>
            </a:extLst>
          </p:cNvPr>
          <p:cNvSpPr>
            <a:spLocks noGrp="1"/>
          </p:cNvSpPr>
          <p:nvPr>
            <p:ph sz="quarter" idx="12" hasCustomPrompt="1"/>
          </p:nvPr>
        </p:nvSpPr>
        <p:spPr>
          <a:xfrm>
            <a:off x="324001" y="1150938"/>
            <a:ext cx="4644724" cy="35306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9" name="Titel 8">
            <a:extLst>
              <a:ext uri="{FF2B5EF4-FFF2-40B4-BE49-F238E27FC236}">
                <a16:creationId xmlns:a16="http://schemas.microsoft.com/office/drawing/2014/main" id="{E2DED713-3DF8-451D-B489-4AFD99700A13}"/>
              </a:ext>
            </a:extLst>
          </p:cNvPr>
          <p:cNvSpPr>
            <a:spLocks noGrp="1"/>
          </p:cNvSpPr>
          <p:nvPr>
            <p:ph type="title" hasCustomPrompt="1"/>
          </p:nvPr>
        </p:nvSpPr>
        <p:spPr>
          <a:xfrm>
            <a:off x="324000" y="385163"/>
            <a:ext cx="4644725" cy="493950"/>
          </a:xfrm>
        </p:spPr>
        <p:txBody>
          <a:bodyPr/>
          <a:lstStyle/>
          <a:p>
            <a:r>
              <a:rPr lang="en-US" dirty="0"/>
              <a:t>Double headline with one or two lines, Delivery Bold, 18 </a:t>
            </a:r>
            <a:r>
              <a:rPr lang="en-US" dirty="0" err="1"/>
              <a:t>pt</a:t>
            </a:r>
            <a:endParaRPr lang="de-DE" dirty="0"/>
          </a:p>
        </p:txBody>
      </p:sp>
    </p:spTree>
    <p:extLst>
      <p:ext uri="{BB962C8B-B14F-4D97-AF65-F5344CB8AC3E}">
        <p14:creationId xmlns:p14="http://schemas.microsoft.com/office/powerpoint/2010/main" val="21076404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empty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6D0AD-4E79-4BFF-B8B5-BB937AA1CC23}"/>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14B27B9E-C404-4AF3-A250-0969317557F4}"/>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B1688F39-AB4C-43BD-98F0-FD644C1453DD}"/>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6" name="Picture Placeholder 5">
            <a:extLst>
              <a:ext uri="{FF2B5EF4-FFF2-40B4-BE49-F238E27FC236}">
                <a16:creationId xmlns:a16="http://schemas.microsoft.com/office/drawing/2014/main" id="{590685DA-4536-4D1F-9676-24537EC64881}"/>
              </a:ext>
            </a:extLst>
          </p:cNvPr>
          <p:cNvSpPr>
            <a:spLocks noGrp="1"/>
          </p:cNvSpPr>
          <p:nvPr>
            <p:ph type="pic" sz="quarter" idx="12" hasCustomPrompt="1"/>
          </p:nvPr>
        </p:nvSpPr>
        <p:spPr>
          <a:xfrm>
            <a:off x="324001" y="1150938"/>
            <a:ext cx="4165450" cy="3530600"/>
          </a:xfrm>
          <a:prstGeom prst="rect">
            <a:avLst/>
          </a:prstGeom>
          <a:solidFill>
            <a:srgbClr val="CCCCCC"/>
          </a:solidFill>
        </p:spPr>
        <p:txBody>
          <a:bodyPr lIns="72000" tIns="72000" rIns="72000" bIns="72000"/>
          <a:lstStyle>
            <a:lvl1pPr>
              <a:defRPr/>
            </a:lvl1pPr>
          </a:lstStyle>
          <a:p>
            <a:r>
              <a:rPr lang="en-US" dirty="0"/>
              <a:t>Please click the icon to insert an image</a:t>
            </a:r>
          </a:p>
        </p:txBody>
      </p:sp>
      <p:sp>
        <p:nvSpPr>
          <p:cNvPr id="7" name="Picture Placeholder 5">
            <a:extLst>
              <a:ext uri="{FF2B5EF4-FFF2-40B4-BE49-F238E27FC236}">
                <a16:creationId xmlns:a16="http://schemas.microsoft.com/office/drawing/2014/main" id="{11D8F016-E9C1-4ED6-8F46-E30AD613382F}"/>
              </a:ext>
            </a:extLst>
          </p:cNvPr>
          <p:cNvSpPr>
            <a:spLocks noGrp="1"/>
          </p:cNvSpPr>
          <p:nvPr>
            <p:ph type="pic" sz="quarter" idx="13" hasCustomPrompt="1"/>
          </p:nvPr>
        </p:nvSpPr>
        <p:spPr>
          <a:xfrm>
            <a:off x="4654548" y="1150938"/>
            <a:ext cx="4165450" cy="3530600"/>
          </a:xfrm>
          <a:prstGeom prst="rect">
            <a:avLst/>
          </a:prstGeom>
          <a:solidFill>
            <a:srgbClr val="CCCCCC"/>
          </a:solidFill>
        </p:spPr>
        <p:txBody>
          <a:bodyPr lIns="72000" tIns="72000" rIns="72000" bIns="72000"/>
          <a:lstStyle>
            <a:lvl1pPr>
              <a:defRPr/>
            </a:lvl1pPr>
          </a:lstStyle>
          <a:p>
            <a:r>
              <a:rPr lang="en-US" dirty="0"/>
              <a:t>Please click the icon to insert an image</a:t>
            </a:r>
          </a:p>
        </p:txBody>
      </p:sp>
    </p:spTree>
    <p:extLst>
      <p:ext uri="{BB962C8B-B14F-4D97-AF65-F5344CB8AC3E}">
        <p14:creationId xmlns:p14="http://schemas.microsoft.com/office/powerpoint/2010/main" val="8704355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light image full screen">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A35D9B1-6310-46E2-8EA7-BFC29B52C65E}"/>
              </a:ext>
            </a:extLst>
          </p:cNvPr>
          <p:cNvSpPr>
            <a:spLocks noGrp="1"/>
          </p:cNvSpPr>
          <p:nvPr>
            <p:ph type="pic" sz="quarter" idx="12" hasCustomPrompt="1"/>
          </p:nvPr>
        </p:nvSpPr>
        <p:spPr>
          <a:xfrm>
            <a:off x="0" y="0"/>
            <a:ext cx="9144000" cy="5143500"/>
          </a:xfrm>
          <a:prstGeom prst="rect">
            <a:avLst/>
          </a:prstGeom>
          <a:solidFill>
            <a:srgbClr val="CCCCCC"/>
          </a:solidFill>
        </p:spPr>
        <p:txBody>
          <a:bodyPr lIns="72000" tIns="72000" rIns="72000" bIns="72000"/>
          <a:lstStyle>
            <a:lvl1pPr algn="r">
              <a:defRPr/>
            </a:lvl1pPr>
          </a:lstStyle>
          <a:p>
            <a:r>
              <a:rPr lang="en-US" dirty="0"/>
              <a:t>Please click the icon to insert an image</a:t>
            </a:r>
          </a:p>
        </p:txBody>
      </p:sp>
      <p:sp>
        <p:nvSpPr>
          <p:cNvPr id="8" name="Content Placeholder 7">
            <a:extLst>
              <a:ext uri="{FF2B5EF4-FFF2-40B4-BE49-F238E27FC236}">
                <a16:creationId xmlns:a16="http://schemas.microsoft.com/office/drawing/2014/main" id="{E5907E47-AED8-4AB8-AA7A-2736D73CFC5E}"/>
              </a:ext>
            </a:extLst>
          </p:cNvPr>
          <p:cNvSpPr>
            <a:spLocks noGrp="1"/>
          </p:cNvSpPr>
          <p:nvPr>
            <p:ph sz="quarter" idx="13" hasCustomPrompt="1"/>
          </p:nvPr>
        </p:nvSpPr>
        <p:spPr>
          <a:xfrm>
            <a:off x="324000" y="1150938"/>
            <a:ext cx="8495999" cy="35280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2" name="Title 1">
            <a:extLst>
              <a:ext uri="{FF2B5EF4-FFF2-40B4-BE49-F238E27FC236}">
                <a16:creationId xmlns:a16="http://schemas.microsoft.com/office/drawing/2014/main" id="{4ABCAE12-7456-4DFA-8832-22E05FDDD175}"/>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E51FF1B3-6C52-429B-B6E4-B7B0F4F27A4B}"/>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CE348D45-3AD0-4D87-AB1B-0B3F1D9CDBB5}"/>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7" name="meta-classification">
            <a:extLst>
              <a:ext uri="{FF2B5EF4-FFF2-40B4-BE49-F238E27FC236}">
                <a16:creationId xmlns:a16="http://schemas.microsoft.com/office/drawing/2014/main" id="{84FC1FAD-68BA-45FC-95C2-D996FAEB7301}"/>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en-US" dirty="0"/>
              <a:t>Please insert classification HERE</a:t>
            </a:r>
          </a:p>
        </p:txBody>
      </p:sp>
    </p:spTree>
    <p:extLst>
      <p:ext uri="{BB962C8B-B14F-4D97-AF65-F5344CB8AC3E}">
        <p14:creationId xmlns:p14="http://schemas.microsoft.com/office/powerpoint/2010/main" val="26311333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dark image full screen">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C82AB236-DAFD-49F7-BBC2-7E52C86EE7CF}"/>
              </a:ext>
            </a:extLst>
          </p:cNvPr>
          <p:cNvSpPr>
            <a:spLocks noGrp="1"/>
          </p:cNvSpPr>
          <p:nvPr>
            <p:ph type="pic" sz="quarter" idx="12" hasCustomPrompt="1"/>
          </p:nvPr>
        </p:nvSpPr>
        <p:spPr>
          <a:xfrm>
            <a:off x="0" y="0"/>
            <a:ext cx="9144000" cy="5143500"/>
          </a:xfrm>
          <a:prstGeom prst="rect">
            <a:avLst/>
          </a:prstGeom>
          <a:solidFill>
            <a:srgbClr val="333333"/>
          </a:solidFill>
        </p:spPr>
        <p:txBody>
          <a:bodyPr lIns="72000" tIns="72000" rIns="72000" bIns="72000"/>
          <a:lstStyle>
            <a:lvl1pPr marL="0" marR="0" indent="0" algn="r" defTabSz="685800" rtl="0" eaLnBrk="1" fontAlgn="auto" latinLnBrk="0" hangingPunct="1">
              <a:lnSpc>
                <a:spcPct val="110000"/>
              </a:lnSpc>
              <a:spcBef>
                <a:spcPts val="0"/>
              </a:spcBef>
              <a:spcAft>
                <a:spcPts val="500"/>
              </a:spcAft>
              <a:buClrTx/>
              <a:buSzTx/>
              <a:buFont typeface="Arial" panose="020B0604020202020204" pitchFamily="34" charset="0"/>
              <a:buNone/>
              <a:tabLst/>
              <a:defRPr>
                <a:solidFill>
                  <a:schemeClr val="bg1"/>
                </a:solidFill>
              </a:defRPr>
            </a:lvl1pPr>
          </a:lstStyle>
          <a:p>
            <a:r>
              <a:rPr lang="en-US" dirty="0"/>
              <a:t>Please click the icon to insert an image</a:t>
            </a:r>
          </a:p>
        </p:txBody>
      </p:sp>
      <p:sp>
        <p:nvSpPr>
          <p:cNvPr id="2" name="Title 1">
            <a:extLst>
              <a:ext uri="{FF2B5EF4-FFF2-40B4-BE49-F238E27FC236}">
                <a16:creationId xmlns:a16="http://schemas.microsoft.com/office/drawing/2014/main" id="{FAAF2E6C-875C-432B-B47A-A9E589B7C45F}"/>
              </a:ext>
            </a:extLst>
          </p:cNvPr>
          <p:cNvSpPr>
            <a:spLocks noGrp="1"/>
          </p:cNvSpPr>
          <p:nvPr>
            <p:ph type="title" hasCustomPrompt="1"/>
          </p:nvPr>
        </p:nvSpPr>
        <p:spPr/>
        <p:txBody>
          <a:bodyPr/>
          <a:lstStyle>
            <a:lvl1pPr>
              <a:defRPr>
                <a:solidFill>
                  <a:schemeClr val="bg1"/>
                </a:solidFill>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16CD9EC0-783C-4E03-8B54-EB815AE37DC1}"/>
              </a:ext>
            </a:extLst>
          </p:cNvPr>
          <p:cNvSpPr>
            <a:spLocks noGrp="1"/>
          </p:cNvSpPr>
          <p:nvPr>
            <p:ph type="ftr" sz="quarter" idx="10"/>
          </p:nvPr>
        </p:nvSpPr>
        <p:spPr/>
        <p:txBody>
          <a:bodyPr/>
          <a:lstStyle>
            <a:lvl1pPr>
              <a:defRPr>
                <a:solidFill>
                  <a:schemeClr val="bg1"/>
                </a:solidFill>
              </a:defRPr>
            </a:lvl1p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C1164768-AEA5-4631-BC4A-8DB3B9447D68}"/>
              </a:ext>
            </a:extLst>
          </p:cNvPr>
          <p:cNvSpPr>
            <a:spLocks noGrp="1"/>
          </p:cNvSpPr>
          <p:nvPr>
            <p:ph type="sldNum" sz="quarter" idx="11"/>
          </p:nvPr>
        </p:nvSpPr>
        <p:spPr/>
        <p:txBody>
          <a:bodyPr/>
          <a:lstStyle>
            <a:lvl1pPr>
              <a:defRPr>
                <a:solidFill>
                  <a:schemeClr val="bg1"/>
                </a:solidFill>
              </a:defRPr>
            </a:lvl1pPr>
          </a:lstStyle>
          <a:p>
            <a:fld id="{C2245BC1-4D7B-4ED3-8F01-840FA35126C6}" type="slidenum">
              <a:rPr lang="en-US" smtClean="0"/>
              <a:pPr/>
              <a:t>‹Nr.›</a:t>
            </a:fld>
            <a:endParaRPr lang="en-US" dirty="0"/>
          </a:p>
        </p:txBody>
      </p:sp>
      <p:sp>
        <p:nvSpPr>
          <p:cNvPr id="6" name="Content Placeholder 7">
            <a:extLst>
              <a:ext uri="{FF2B5EF4-FFF2-40B4-BE49-F238E27FC236}">
                <a16:creationId xmlns:a16="http://schemas.microsoft.com/office/drawing/2014/main" id="{66D239E5-258B-41CA-ABAF-4A71EA5D0B1F}"/>
              </a:ext>
            </a:extLst>
          </p:cNvPr>
          <p:cNvSpPr>
            <a:spLocks noGrp="1"/>
          </p:cNvSpPr>
          <p:nvPr>
            <p:ph sz="quarter" idx="13" hasCustomPrompt="1"/>
          </p:nvPr>
        </p:nvSpPr>
        <p:spPr>
          <a:xfrm>
            <a:off x="324000" y="1150938"/>
            <a:ext cx="8495999" cy="35280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marL="0" marR="0" indent="0" algn="l" defTabSz="685800" rtl="0" eaLnBrk="1" fontAlgn="auto" latinLnBrk="0" hangingPunct="1">
              <a:lnSpc>
                <a:spcPct val="110000"/>
              </a:lnSpc>
              <a:spcBef>
                <a:spcPts val="0"/>
              </a:spcBef>
              <a:spcAft>
                <a:spcPts val="500"/>
              </a:spcAft>
              <a:buClrTx/>
              <a:buSzTx/>
              <a:buFont typeface="Arial" panose="020B0604020202020204" pitchFamily="34" charset="0"/>
              <a:buNone/>
              <a:tabLst/>
              <a:defRPr sz="1200">
                <a:solidFill>
                  <a:schemeClr val="bg1"/>
                </a:solidFill>
              </a:defRPr>
            </a:lvl6pPr>
            <a:lvl7pPr>
              <a:buClr>
                <a:schemeClr val="bg1"/>
              </a:buClr>
              <a:defRPr sz="1200">
                <a:solidFill>
                  <a:schemeClr val="bg1"/>
                </a:solidFill>
              </a:defRPr>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7" name="meta-classification">
            <a:extLst>
              <a:ext uri="{FF2B5EF4-FFF2-40B4-BE49-F238E27FC236}">
                <a16:creationId xmlns:a16="http://schemas.microsoft.com/office/drawing/2014/main" id="{19C17D38-E07D-4DBA-8A51-4DD4B0A923C2}"/>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bg1"/>
                </a:solidFill>
              </a:defRPr>
            </a:lvl1pPr>
          </a:lstStyle>
          <a:p>
            <a:pPr marR="0" lvl="0">
              <a:lnSpc>
                <a:spcPct val="100000"/>
              </a:lnSpc>
            </a:pPr>
            <a:r>
              <a:rPr lang="en-US" dirty="0"/>
              <a:t>Please insert classification HERE</a:t>
            </a:r>
          </a:p>
        </p:txBody>
      </p:sp>
    </p:spTree>
    <p:extLst>
      <p:ext uri="{BB962C8B-B14F-4D97-AF65-F5344CB8AC3E}">
        <p14:creationId xmlns:p14="http://schemas.microsoft.com/office/powerpoint/2010/main" val="41201023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ontent: full screen video with title">
    <p:bg>
      <p:bgPr>
        <a:solidFill>
          <a:schemeClr val="bg1"/>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DB4843D2-D66C-4483-9BEF-0EA790E357B6}"/>
              </a:ext>
            </a:extLst>
          </p:cNvPr>
          <p:cNvSpPr>
            <a:spLocks noGrp="1"/>
          </p:cNvSpPr>
          <p:nvPr>
            <p:ph type="media" sz="quarter" idx="12" hasCustomPrompt="1"/>
          </p:nvPr>
        </p:nvSpPr>
        <p:spPr>
          <a:xfrm>
            <a:off x="0" y="0"/>
            <a:ext cx="9144000" cy="5143500"/>
          </a:xfrm>
          <a:prstGeom prst="rect">
            <a:avLst/>
          </a:prstGeom>
          <a:solidFill>
            <a:srgbClr val="CCCCCC"/>
          </a:solidFill>
        </p:spPr>
        <p:txBody>
          <a:bodyPr lIns="72000" tIns="72000" rIns="72000" bIns="72000"/>
          <a:lstStyle>
            <a:lvl1pPr algn="r">
              <a:defRPr/>
            </a:lvl1pPr>
          </a:lstStyle>
          <a:p>
            <a:r>
              <a:rPr lang="en-US" dirty="0"/>
              <a:t>Please click the icon to insert a video</a:t>
            </a:r>
          </a:p>
        </p:txBody>
      </p:sp>
      <p:sp>
        <p:nvSpPr>
          <p:cNvPr id="7" name="Title 6">
            <a:extLst>
              <a:ext uri="{FF2B5EF4-FFF2-40B4-BE49-F238E27FC236}">
                <a16:creationId xmlns:a16="http://schemas.microsoft.com/office/drawing/2014/main" id="{B0885550-4E65-4CBF-8046-671CF042C57C}"/>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
        <p:nvSpPr>
          <p:cNvPr id="4" name="meta-classification">
            <a:extLst>
              <a:ext uri="{FF2B5EF4-FFF2-40B4-BE49-F238E27FC236}">
                <a16:creationId xmlns:a16="http://schemas.microsoft.com/office/drawing/2014/main" id="{7893F3CA-BCB9-4004-97E6-F5E4DB1FA0BB}"/>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en-US" dirty="0"/>
              <a:t>Please insert classification HERE</a:t>
            </a:r>
          </a:p>
        </p:txBody>
      </p:sp>
    </p:spTree>
    <p:extLst>
      <p:ext uri="{BB962C8B-B14F-4D97-AF65-F5344CB8AC3E}">
        <p14:creationId xmlns:p14="http://schemas.microsoft.com/office/powerpoint/2010/main" val="6386740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5292724" y="0"/>
            <a:ext cx="3851274" cy="5148000"/>
          </a:xfrm>
          <a:prstGeom prst="rect">
            <a:avLst/>
          </a:prstGeom>
          <a:solidFill>
            <a:srgbClr val="CCCCCC"/>
          </a:solidFill>
        </p:spPr>
        <p:txBody>
          <a:bodyPr lIns="72000" tIns="72000" rIns="72000" bIns="72000"/>
          <a:lstStyle>
            <a:lvl1pPr>
              <a:defRPr/>
            </a:lvl1pPr>
          </a:lstStyle>
          <a:p>
            <a:r>
              <a:rPr lang="en-US" dirty="0"/>
              <a:t>Please click the icon to insert an image</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1" y="2758969"/>
            <a:ext cx="4644723"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a:t>
            </a:r>
          </a:p>
          <a:p>
            <a:r>
              <a:rPr lang="en-US" dirty="0"/>
              <a:t>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1" y="1260096"/>
            <a:ext cx="4644723"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323999" y="3339331"/>
            <a:ext cx="4644724"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802505"/>
            <a:ext cx="4644724" cy="196977"/>
          </a:xfrm>
          <a:prstGeom prst="rect">
            <a:avLst/>
          </a:prstGeom>
        </p:spPr>
        <p:txBody>
          <a:bodyPr>
            <a:noAutofit/>
          </a:bodyPr>
          <a:lstStyle>
            <a:lvl1pPr>
              <a:defRPr b="1">
                <a:latin typeface="+mn-lt"/>
              </a:defRPr>
            </a:lvl1pPr>
            <a:lvl2pPr marL="0" indent="0">
              <a:buNone/>
              <a:defRPr/>
            </a:lvl2pPr>
          </a:lstStyle>
          <a:p>
            <a:pPr lvl="0"/>
            <a:r>
              <a:rPr lang="en-US" dirty="0"/>
              <a:t>Business Identifier</a:t>
            </a:r>
          </a:p>
        </p:txBody>
      </p:sp>
      <p:sp>
        <p:nvSpPr>
          <p:cNvPr id="9" name="Text Placeholder 27">
            <a:extLst>
              <a:ext uri="{FF2B5EF4-FFF2-40B4-BE49-F238E27FC236}">
                <a16:creationId xmlns:a16="http://schemas.microsoft.com/office/drawing/2014/main" id="{FD534CE8-12DE-4121-A075-91DED911CD13}"/>
              </a:ext>
            </a:extLst>
          </p:cNvPr>
          <p:cNvSpPr>
            <a:spLocks noGrp="1" noChangeAspect="1"/>
          </p:cNvSpPr>
          <p:nvPr>
            <p:ph type="body" sz="quarter" idx="6" hasCustomPrompt="1"/>
          </p:nvPr>
        </p:nvSpPr>
        <p:spPr>
          <a:xfrm>
            <a:off x="316581" y="4485477"/>
            <a:ext cx="1980648" cy="346950"/>
          </a:xfrm>
          <a:prstGeom prst="rect">
            <a:avLst/>
          </a:prstGeom>
          <a:blipFill>
            <a:blip r:embed="rId2"/>
            <a:stretch>
              <a:fillRect/>
            </a:stretch>
          </a:blipFill>
        </p:spPr>
        <p:txBody>
          <a:bodyPr/>
          <a:lstStyle>
            <a:lvl1pPr>
              <a:defRPr sz="100">
                <a:latin typeface="+mn-lt"/>
              </a:defRPr>
            </a:lvl1pPr>
            <a:lvl2pPr>
              <a:defRPr sz="100"/>
            </a:lvl2pPr>
            <a:lvl3pPr>
              <a:defRPr sz="100"/>
            </a:lvl3pPr>
            <a:lvl4pPr>
              <a:defRPr sz="100"/>
            </a:lvl4pPr>
            <a:lvl5pPr>
              <a:defRPr sz="100"/>
            </a:lvl5pPr>
          </a:lstStyle>
          <a:p>
            <a:pPr lvl="0"/>
            <a:r>
              <a:rPr lang="en-US" dirty="0"/>
              <a:t> </a:t>
            </a:r>
          </a:p>
        </p:txBody>
      </p:sp>
    </p:spTree>
    <p:extLst>
      <p:ext uri="{BB962C8B-B14F-4D97-AF65-F5344CB8AC3E}">
        <p14:creationId xmlns:p14="http://schemas.microsoft.com/office/powerpoint/2010/main" val="33711905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ote: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7" name="Text Placeholder 6">
            <a:extLst>
              <a:ext uri="{FF2B5EF4-FFF2-40B4-BE49-F238E27FC236}">
                <a16:creationId xmlns:a16="http://schemas.microsoft.com/office/drawing/2014/main" id="{D5ABAA4C-A627-4F72-ADBD-217F33287BFC}"/>
              </a:ext>
            </a:extLst>
          </p:cNvPr>
          <p:cNvSpPr>
            <a:spLocks noGrp="1"/>
          </p:cNvSpPr>
          <p:nvPr>
            <p:ph type="body" sz="quarter" idx="12" hasCustomPrompt="1"/>
          </p:nvPr>
        </p:nvSpPr>
        <p:spPr>
          <a:xfrm>
            <a:off x="1774117" y="1963196"/>
            <a:ext cx="5233987" cy="897618"/>
          </a:xfrm>
          <a:prstGeom prst="rect">
            <a:avLst/>
          </a:prstGeom>
        </p:spPr>
        <p:txBody>
          <a:bodyPr>
            <a:noAutofit/>
          </a:bodyPr>
          <a:lstStyle>
            <a:lvl1pPr>
              <a:lnSpc>
                <a:spcPts val="3000"/>
              </a:lnSpc>
              <a:spcAft>
                <a:spcPts val="0"/>
              </a:spcAft>
              <a:defRPr sz="2500" i="1">
                <a:solidFill>
                  <a:schemeClr val="accent4"/>
                </a:solidFill>
                <a:latin typeface="+mn-lt"/>
              </a:defRPr>
            </a:lvl1pPr>
          </a:lstStyle>
          <a:p>
            <a:pPr lvl="0"/>
            <a:r>
              <a:rPr lang="en-US" dirty="0"/>
              <a:t>“This space is reserved for quotes.</a:t>
            </a:r>
            <a:br>
              <a:rPr lang="en-US" dirty="0"/>
            </a:br>
            <a:r>
              <a:rPr lang="en-US" dirty="0"/>
              <a:t>Delivery Italic, 25 pt.”</a:t>
            </a:r>
          </a:p>
        </p:txBody>
      </p:sp>
    </p:spTree>
    <p:extLst>
      <p:ext uri="{BB962C8B-B14F-4D97-AF65-F5344CB8AC3E}">
        <p14:creationId xmlns:p14="http://schemas.microsoft.com/office/powerpoint/2010/main" val="21059331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inal: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79381F4-F305-4DA8-90F9-2961F8C24558}"/>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5" name="TextBox 4">
            <a:extLst>
              <a:ext uri="{FF2B5EF4-FFF2-40B4-BE49-F238E27FC236}">
                <a16:creationId xmlns:a16="http://schemas.microsoft.com/office/drawing/2014/main" id="{B30DCF4F-94A3-4ECD-931B-78A92C777558}"/>
              </a:ext>
            </a:extLst>
          </p:cNvPr>
          <p:cNvSpPr txBox="1"/>
          <p:nvPr/>
        </p:nvSpPr>
        <p:spPr>
          <a:xfrm>
            <a:off x="319293" y="1485178"/>
            <a:ext cx="3134163" cy="553998"/>
          </a:xfrm>
          <a:prstGeom prst="rect">
            <a:avLst/>
          </a:prstGeom>
          <a:noFill/>
        </p:spPr>
        <p:txBody>
          <a:bodyPr wrap="square" lIns="0" tIns="0" rIns="0" bIns="0" rtlCol="0">
            <a:spAutoFit/>
          </a:bodyPr>
          <a:lstStyle/>
          <a:p>
            <a:r>
              <a:rPr lang="en-US" sz="3600" b="0" cap="all" baseline="0" noProof="0">
                <a:latin typeface="Delivery Cd Black" panose="020F0906020204020204" pitchFamily="34" charset="0"/>
              </a:rPr>
              <a:t>Thank you</a:t>
            </a:r>
          </a:p>
        </p:txBody>
      </p:sp>
    </p:spTree>
    <p:extLst>
      <p:ext uri="{BB962C8B-B14F-4D97-AF65-F5344CB8AC3E}">
        <p14:creationId xmlns:p14="http://schemas.microsoft.com/office/powerpoint/2010/main" val="24810315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half page gradient, full page picture">
    <p:bg>
      <p:bgPr>
        <a:gradFill flip="none" rotWithShape="1">
          <a:gsLst>
            <a:gs pos="40000">
              <a:schemeClr val="accent3"/>
            </a:gs>
            <a:gs pos="80000">
              <a:srgbClr val="FFEFB5"/>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0" y="0"/>
            <a:ext cx="9144000" cy="5148000"/>
          </a:xfrm>
          <a:prstGeom prst="rect">
            <a:avLst/>
          </a:prstGeom>
          <a:solidFill>
            <a:srgbClr val="CCCCCC"/>
          </a:solidFill>
        </p:spPr>
        <p:txBody>
          <a:bodyPr lIns="72000" tIns="72000" rIns="72000" bIns="72000"/>
          <a:lstStyle>
            <a:lvl1pPr algn="r">
              <a:defRPr/>
            </a:lvl1pPr>
          </a:lstStyle>
          <a:p>
            <a:r>
              <a:rPr lang="en-US" dirty="0"/>
              <a:t>Please click the icon to insert an image</a:t>
            </a:r>
          </a:p>
        </p:txBody>
      </p:sp>
      <p:sp>
        <p:nvSpPr>
          <p:cNvPr id="6" name="Text Placeholder 5">
            <a:extLst>
              <a:ext uri="{FF2B5EF4-FFF2-40B4-BE49-F238E27FC236}">
                <a16:creationId xmlns:a16="http://schemas.microsoft.com/office/drawing/2014/main" id="{779B50F6-B70A-4FAE-B403-A7AA47855973}"/>
              </a:ext>
            </a:extLst>
          </p:cNvPr>
          <p:cNvSpPr>
            <a:spLocks noGrp="1"/>
          </p:cNvSpPr>
          <p:nvPr>
            <p:ph type="body" sz="quarter" idx="15" hasCustomPrompt="1"/>
          </p:nvPr>
        </p:nvSpPr>
        <p:spPr>
          <a:xfrm>
            <a:off x="160020" y="519114"/>
            <a:ext cx="4804380" cy="4465790"/>
          </a:xfrm>
          <a:prstGeom prst="rect">
            <a:avLst/>
          </a:prstGeom>
          <a:gradFill>
            <a:gsLst>
              <a:gs pos="50000">
                <a:schemeClr val="accent3"/>
              </a:gs>
              <a:gs pos="100000">
                <a:schemeClr val="accent3">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00" smtClean="0">
                <a:solidFill>
                  <a:schemeClr val="accent3"/>
                </a:solidFill>
              </a:defRPr>
            </a:lvl1pPr>
            <a:lvl2pPr>
              <a:defRPr lang="en-US" sz="1350" smtClean="0">
                <a:solidFill>
                  <a:schemeClr val="lt1"/>
                </a:solidFill>
              </a:defRPr>
            </a:lvl2pPr>
            <a:lvl3pPr>
              <a:defRPr lang="en-US" sz="1350" smtClean="0">
                <a:solidFill>
                  <a:schemeClr val="lt1"/>
                </a:solidFill>
              </a:defRPr>
            </a:lvl3pPr>
            <a:lvl4pPr>
              <a:defRPr lang="en-US" sz="1350" smtClean="0">
                <a:solidFill>
                  <a:schemeClr val="lt1"/>
                </a:solidFill>
              </a:defRPr>
            </a:lvl4pPr>
            <a:lvl5pPr>
              <a:defRPr lang="en-US" sz="1350">
                <a:solidFill>
                  <a:schemeClr val="lt1"/>
                </a:solidFill>
              </a:defRPr>
            </a:lvl5pPr>
          </a:lstStyle>
          <a:p>
            <a:pPr lvl="0" algn="ctr"/>
            <a:r>
              <a:rPr lang="en-US" dirty="0"/>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0" y="2758969"/>
            <a:ext cx="4657246"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a:t>
            </a:r>
          </a:p>
          <a:p>
            <a:r>
              <a:rPr lang="en-US" dirty="0"/>
              <a:t>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1" y="1144018"/>
            <a:ext cx="4657245" cy="1614951"/>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323999" y="3339331"/>
            <a:ext cx="4657246"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802505"/>
            <a:ext cx="4657246" cy="196977"/>
          </a:xfrm>
          <a:prstGeom prst="rect">
            <a:avLst/>
          </a:prstGeom>
        </p:spPr>
        <p:txBody>
          <a:bodyPr>
            <a:noAutofit/>
          </a:bodyPr>
          <a:lstStyle>
            <a:lvl1pPr>
              <a:defRPr b="1">
                <a:latin typeface="+mn-lt"/>
              </a:defRPr>
            </a:lvl1pPr>
            <a:lvl2pPr marL="0" indent="0">
              <a:buNone/>
              <a:defRPr/>
            </a:lvl2pPr>
          </a:lstStyle>
          <a:p>
            <a:pPr lvl="0"/>
            <a:r>
              <a:rPr lang="en-US" dirty="0"/>
              <a:t>Business Identifier</a:t>
            </a:r>
          </a:p>
        </p:txBody>
      </p:sp>
      <p:sp>
        <p:nvSpPr>
          <p:cNvPr id="4" name="meta-classification">
            <a:extLst>
              <a:ext uri="{FF2B5EF4-FFF2-40B4-BE49-F238E27FC236}">
                <a16:creationId xmlns:a16="http://schemas.microsoft.com/office/drawing/2014/main" id="{4453C777-669F-4D78-BCD9-96F8D8935AB6}"/>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en-US" dirty="0"/>
              <a:t>Please insert classification HERE</a:t>
            </a:r>
          </a:p>
        </p:txBody>
      </p:sp>
      <p:sp>
        <p:nvSpPr>
          <p:cNvPr id="14" name="Text Placeholder 27">
            <a:extLst>
              <a:ext uri="{FF2B5EF4-FFF2-40B4-BE49-F238E27FC236}">
                <a16:creationId xmlns:a16="http://schemas.microsoft.com/office/drawing/2014/main" id="{401A01AB-C6AD-4209-A036-EB489E14DC63}"/>
              </a:ext>
            </a:extLst>
          </p:cNvPr>
          <p:cNvSpPr>
            <a:spLocks noGrp="1" noChangeAspect="1"/>
          </p:cNvSpPr>
          <p:nvPr>
            <p:ph type="body" sz="quarter" idx="6" hasCustomPrompt="1"/>
          </p:nvPr>
        </p:nvSpPr>
        <p:spPr>
          <a:xfrm>
            <a:off x="316581" y="4485477"/>
            <a:ext cx="1980648" cy="346950"/>
          </a:xfrm>
          <a:prstGeom prst="rect">
            <a:avLst/>
          </a:prstGeom>
          <a:blipFill>
            <a:blip r:embed="rId2"/>
            <a:stretch>
              <a:fillRect/>
            </a:stretch>
          </a:blipFill>
        </p:spPr>
        <p:txBody>
          <a:bodyPr/>
          <a:lstStyle>
            <a:lvl1pPr>
              <a:defRPr sz="100">
                <a:latin typeface="+mn-lt"/>
              </a:defRPr>
            </a:lvl1pPr>
            <a:lvl2pPr>
              <a:defRPr sz="100"/>
            </a:lvl2pPr>
            <a:lvl3pPr>
              <a:defRPr sz="100"/>
            </a:lvl3pPr>
            <a:lvl4pPr>
              <a:defRPr sz="100"/>
            </a:lvl4pPr>
            <a:lvl5pPr>
              <a:defRPr sz="100"/>
            </a:lvl5pPr>
          </a:lstStyle>
          <a:p>
            <a:pPr lvl="0"/>
            <a:r>
              <a:rPr lang="en-US" dirty="0"/>
              <a:t> </a:t>
            </a:r>
          </a:p>
        </p:txBody>
      </p:sp>
    </p:spTree>
    <p:extLst>
      <p:ext uri="{BB962C8B-B14F-4D97-AF65-F5344CB8AC3E}">
        <p14:creationId xmlns:p14="http://schemas.microsoft.com/office/powerpoint/2010/main" val="9706834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light picture, gradient bottom">
    <p:spTree>
      <p:nvGrpSpPr>
        <p:cNvPr id="1" name=""/>
        <p:cNvGrpSpPr/>
        <p:nvPr/>
      </p:nvGrpSpPr>
      <p:grpSpPr>
        <a:xfrm>
          <a:off x="0" y="0"/>
          <a:ext cx="0" cy="0"/>
          <a:chOff x="0" y="0"/>
          <a:chExt cx="0" cy="0"/>
        </a:xfrm>
      </p:grpSpPr>
      <p:sp>
        <p:nvSpPr>
          <p:cNvPr id="16" name="Picture Placeholder 4">
            <a:extLst>
              <a:ext uri="{FF2B5EF4-FFF2-40B4-BE49-F238E27FC236}">
                <a16:creationId xmlns:a16="http://schemas.microsoft.com/office/drawing/2014/main" id="{98196275-11AD-46AC-8347-3CB841C40A0A}"/>
              </a:ext>
            </a:extLst>
          </p:cNvPr>
          <p:cNvSpPr>
            <a:spLocks noGrp="1"/>
          </p:cNvSpPr>
          <p:nvPr>
            <p:ph type="pic" sz="quarter" idx="14"/>
          </p:nvPr>
        </p:nvSpPr>
        <p:spPr>
          <a:xfrm>
            <a:off x="0" y="0"/>
            <a:ext cx="9144000" cy="5148000"/>
          </a:xfrm>
          <a:prstGeom prst="rect">
            <a:avLst/>
          </a:prstGeom>
          <a:solidFill>
            <a:srgbClr val="CCCCCC"/>
          </a:solidFill>
        </p:spPr>
        <p:txBody>
          <a:bodyPr/>
          <a:lstStyle/>
          <a:p>
            <a:r>
              <a:rPr lang="en-US"/>
              <a:t>Click icon to add picture</a:t>
            </a:r>
            <a:endParaRPr lang="en-US" dirty="0"/>
          </a:p>
        </p:txBody>
      </p:sp>
      <p:sp>
        <p:nvSpPr>
          <p:cNvPr id="14" name="Text Placeholder 5">
            <a:extLst>
              <a:ext uri="{FF2B5EF4-FFF2-40B4-BE49-F238E27FC236}">
                <a16:creationId xmlns:a16="http://schemas.microsoft.com/office/drawing/2014/main" id="{F10E5B1B-9985-440E-A601-AAED5B9F6FBA}"/>
              </a:ext>
            </a:extLst>
          </p:cNvPr>
          <p:cNvSpPr>
            <a:spLocks noGrp="1"/>
          </p:cNvSpPr>
          <p:nvPr>
            <p:ph type="body" sz="quarter" idx="15" hasCustomPrompt="1"/>
          </p:nvPr>
        </p:nvSpPr>
        <p:spPr>
          <a:xfrm>
            <a:off x="160020" y="4340447"/>
            <a:ext cx="8658000" cy="644457"/>
          </a:xfrm>
          <a:prstGeom prst="rect">
            <a:avLst/>
          </a:prstGeo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00" smtClean="0">
                <a:solidFill>
                  <a:schemeClr val="accent3"/>
                </a:solidFill>
              </a:defRPr>
            </a:lvl1pPr>
            <a:lvl2pPr>
              <a:defRPr lang="en-US" sz="1350" smtClean="0">
                <a:solidFill>
                  <a:schemeClr val="lt1"/>
                </a:solidFill>
              </a:defRPr>
            </a:lvl2pPr>
            <a:lvl3pPr>
              <a:defRPr lang="en-US" sz="1350" smtClean="0">
                <a:solidFill>
                  <a:schemeClr val="lt1"/>
                </a:solidFill>
              </a:defRPr>
            </a:lvl3pPr>
            <a:lvl4pPr>
              <a:defRPr lang="en-US" sz="1350" smtClean="0">
                <a:solidFill>
                  <a:schemeClr val="lt1"/>
                </a:solidFill>
              </a:defRPr>
            </a:lvl4pPr>
            <a:lvl5pPr>
              <a:defRPr lang="en-US" sz="1350">
                <a:solidFill>
                  <a:schemeClr val="lt1"/>
                </a:solidFill>
              </a:defRPr>
            </a:lvl5pPr>
          </a:lstStyle>
          <a:p>
            <a:pPr lvl="0" algn="ctr"/>
            <a:r>
              <a:rPr lang="en-US" dirty="0"/>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0" y="2740802"/>
            <a:ext cx="8495999"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0" y="1241929"/>
            <a:ext cx="8495999"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323999" y="3345642"/>
            <a:ext cx="4644724" cy="400110"/>
          </a:xfrm>
          <a:prstGeom prst="rect">
            <a:avLst/>
          </a:prstGeo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808816"/>
            <a:ext cx="4644724" cy="196977"/>
          </a:xfrm>
          <a:prstGeom prst="rect">
            <a:avLst/>
          </a:prstGeom>
        </p:spPr>
        <p:txBody>
          <a:bodyPr>
            <a:noAutofit/>
          </a:bodyPr>
          <a:lstStyle>
            <a:lvl1pPr>
              <a:defRPr b="1">
                <a:latin typeface="+mn-lt"/>
              </a:defRPr>
            </a:lvl1pPr>
            <a:lvl2pPr marL="0" indent="0">
              <a:buNone/>
              <a:defRPr/>
            </a:lvl2pPr>
          </a:lstStyle>
          <a:p>
            <a:pPr lvl="0"/>
            <a:r>
              <a:rPr lang="en-US" dirty="0"/>
              <a:t>Business Identifier</a:t>
            </a:r>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en-US" dirty="0"/>
              <a:t>Please insert classification HERE</a:t>
            </a:r>
          </a:p>
        </p:txBody>
      </p:sp>
      <p:sp>
        <p:nvSpPr>
          <p:cNvPr id="20" name="Text Placeholder 27">
            <a:extLst>
              <a:ext uri="{FF2B5EF4-FFF2-40B4-BE49-F238E27FC236}">
                <a16:creationId xmlns:a16="http://schemas.microsoft.com/office/drawing/2014/main" id="{2ED25AC1-B563-45DC-999A-3BBBBDCC328C}"/>
              </a:ext>
            </a:extLst>
          </p:cNvPr>
          <p:cNvSpPr>
            <a:spLocks noGrp="1" noChangeAspect="1"/>
          </p:cNvSpPr>
          <p:nvPr>
            <p:ph type="body" sz="quarter" idx="6" hasCustomPrompt="1"/>
          </p:nvPr>
        </p:nvSpPr>
        <p:spPr>
          <a:xfrm>
            <a:off x="316581" y="4485477"/>
            <a:ext cx="1980648" cy="346950"/>
          </a:xfrm>
          <a:prstGeom prst="rect">
            <a:avLst/>
          </a:prstGeom>
          <a:blipFill>
            <a:blip r:embed="rId2"/>
            <a:stretch>
              <a:fillRect/>
            </a:stretch>
          </a:blipFill>
        </p:spPr>
        <p:txBody>
          <a:bodyPr/>
          <a:lstStyle>
            <a:lvl1pPr>
              <a:defRPr sz="100">
                <a:latin typeface="+mn-lt"/>
              </a:defRPr>
            </a:lvl1pPr>
            <a:lvl2pPr>
              <a:defRPr sz="100"/>
            </a:lvl2pPr>
            <a:lvl3pPr>
              <a:defRPr sz="100"/>
            </a:lvl3pPr>
            <a:lvl4pPr>
              <a:defRPr sz="100"/>
            </a:lvl4pPr>
            <a:lvl5pPr>
              <a:defRPr sz="100"/>
            </a:lvl5pPr>
          </a:lstStyle>
          <a:p>
            <a:pPr lvl="0"/>
            <a:r>
              <a:rPr lang="en-US" dirty="0"/>
              <a:t> </a:t>
            </a:r>
          </a:p>
        </p:txBody>
      </p:sp>
    </p:spTree>
    <p:extLst>
      <p:ext uri="{BB962C8B-B14F-4D97-AF65-F5344CB8AC3E}">
        <p14:creationId xmlns:p14="http://schemas.microsoft.com/office/powerpoint/2010/main" val="1676254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dark picture, gradient bottom">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2EB4A82-6837-42CB-8B67-FDC5119BE961}"/>
              </a:ext>
            </a:extLst>
          </p:cNvPr>
          <p:cNvSpPr>
            <a:spLocks noGrp="1"/>
          </p:cNvSpPr>
          <p:nvPr>
            <p:ph type="body" sz="quarter" idx="19" hasCustomPrompt="1"/>
          </p:nvPr>
        </p:nvSpPr>
        <p:spPr>
          <a:xfrm>
            <a:off x="0" y="0"/>
            <a:ext cx="9144000" cy="5148000"/>
          </a:xfrm>
          <a:prstGeom prst="rect">
            <a:avLst/>
          </a:prstGeom>
          <a:gradFill flip="none" rotWithShape="1">
            <a:gsLst>
              <a:gs pos="100000">
                <a:schemeClr val="tx1">
                  <a:alpha val="0"/>
                </a:schemeClr>
              </a:gs>
              <a:gs pos="40000">
                <a:schemeClr val="tx1">
                  <a:alpha val="30000"/>
                </a:schemeClr>
              </a:gs>
            </a:gsLst>
            <a:lin ang="0" scaled="1"/>
            <a:tileRect/>
          </a:gradFill>
        </p:spPr>
        <p:txBody>
          <a:bodyPr/>
          <a:lstStyle>
            <a:lvl1pPr>
              <a:defRPr sz="100"/>
            </a:lvl1pPr>
          </a:lstStyle>
          <a:p>
            <a:pPr lvl="0"/>
            <a:r>
              <a:rPr lang="en-GB" dirty="0"/>
              <a:t>1</a:t>
            </a:r>
          </a:p>
        </p:txBody>
      </p:sp>
      <p:sp>
        <p:nvSpPr>
          <p:cNvPr id="14" name="Picture Placeholder 4">
            <a:extLst>
              <a:ext uri="{FF2B5EF4-FFF2-40B4-BE49-F238E27FC236}">
                <a16:creationId xmlns:a16="http://schemas.microsoft.com/office/drawing/2014/main" id="{8EBE0D14-C041-444F-B729-073226190586}"/>
              </a:ext>
            </a:extLst>
          </p:cNvPr>
          <p:cNvSpPr>
            <a:spLocks noGrp="1"/>
          </p:cNvSpPr>
          <p:nvPr>
            <p:ph type="pic" sz="quarter" idx="14" hasCustomPrompt="1"/>
          </p:nvPr>
        </p:nvSpPr>
        <p:spPr>
          <a:xfrm>
            <a:off x="0" y="0"/>
            <a:ext cx="9144000" cy="5148000"/>
          </a:xfrm>
          <a:prstGeom prst="rect">
            <a:avLst/>
          </a:prstGeom>
          <a:solidFill>
            <a:srgbClr val="333333"/>
          </a:solidFill>
        </p:spPr>
        <p:txBody>
          <a:bodyPr lIns="324000" tIns="576000"/>
          <a:lstStyle>
            <a:lvl1pPr>
              <a:defRPr sz="1000" b="0" i="1">
                <a:solidFill>
                  <a:schemeClr val="bg1"/>
                </a:solidFill>
              </a:defRPr>
            </a:lvl1pPr>
          </a:lstStyle>
          <a:p>
            <a:r>
              <a:rPr lang="en-US" dirty="0"/>
              <a:t>Please use and adjust this transparent box to darken the background image for good readability. Please insert an image and send it to the background.</a:t>
            </a:r>
          </a:p>
        </p:txBody>
      </p:sp>
      <p:sp>
        <p:nvSpPr>
          <p:cNvPr id="13" name="Text Placeholder 5">
            <a:extLst>
              <a:ext uri="{FF2B5EF4-FFF2-40B4-BE49-F238E27FC236}">
                <a16:creationId xmlns:a16="http://schemas.microsoft.com/office/drawing/2014/main" id="{A1DFF7BB-5301-4F2D-9EE9-581891DB91F4}"/>
              </a:ext>
            </a:extLst>
          </p:cNvPr>
          <p:cNvSpPr>
            <a:spLocks noGrp="1"/>
          </p:cNvSpPr>
          <p:nvPr>
            <p:ph type="body" sz="quarter" idx="15" hasCustomPrompt="1"/>
          </p:nvPr>
        </p:nvSpPr>
        <p:spPr>
          <a:xfrm>
            <a:off x="160020" y="4340447"/>
            <a:ext cx="8658000" cy="644457"/>
          </a:xfrm>
          <a:prstGeom prst="rect">
            <a:avLst/>
          </a:prstGeo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00" smtClean="0">
                <a:solidFill>
                  <a:schemeClr val="accent3"/>
                </a:solidFill>
              </a:defRPr>
            </a:lvl1pPr>
            <a:lvl2pPr>
              <a:defRPr lang="en-US" sz="1350" smtClean="0">
                <a:solidFill>
                  <a:schemeClr val="lt1"/>
                </a:solidFill>
              </a:defRPr>
            </a:lvl2pPr>
            <a:lvl3pPr>
              <a:defRPr lang="en-US" sz="1350" smtClean="0">
                <a:solidFill>
                  <a:schemeClr val="lt1"/>
                </a:solidFill>
              </a:defRPr>
            </a:lvl3pPr>
            <a:lvl4pPr>
              <a:defRPr lang="en-US" sz="1350" smtClean="0">
                <a:solidFill>
                  <a:schemeClr val="lt1"/>
                </a:solidFill>
              </a:defRPr>
            </a:lvl4pPr>
            <a:lvl5pPr>
              <a:defRPr lang="en-US" sz="1350">
                <a:solidFill>
                  <a:schemeClr val="lt1"/>
                </a:solidFill>
              </a:defRPr>
            </a:lvl5pPr>
          </a:lstStyle>
          <a:p>
            <a:pPr lvl="0" algn="ctr"/>
            <a:r>
              <a:rPr lang="en-US" dirty="0"/>
              <a:t>1</a:t>
            </a:r>
          </a:p>
        </p:txBody>
      </p:sp>
      <p:sp>
        <p:nvSpPr>
          <p:cNvPr id="3" name="meta-subline">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0" y="2740802"/>
            <a:ext cx="8495999" cy="503215"/>
          </a:xfrm>
          <a:prstGeom prst="rect">
            <a:avLst/>
          </a:prstGeom>
        </p:spPr>
        <p:txBody>
          <a:bodyPr>
            <a:noAutofit/>
          </a:bodyPr>
          <a:lstStyle>
            <a:lvl1pPr marL="0" indent="0" algn="l">
              <a:lnSpc>
                <a:spcPct val="90000"/>
              </a:lnSpc>
              <a:spcAft>
                <a:spcPts val="0"/>
              </a:spcAft>
              <a:buNone/>
              <a:defRPr sz="1800" cap="all" baseline="0">
                <a:solidFill>
                  <a:schemeClr val="bg1"/>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0" y="1241929"/>
            <a:ext cx="8495999" cy="1498873"/>
          </a:xfrm>
        </p:spPr>
        <p:txBody>
          <a:bodyPr/>
          <a:lstStyle>
            <a:lvl1pPr>
              <a:lnSpc>
                <a:spcPct val="90000"/>
              </a:lnSpc>
              <a:defRPr sz="3600" b="0" i="0" cap="all" baseline="0">
                <a:solidFill>
                  <a:schemeClr val="bg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a16="http://schemas.microsoft.com/office/drawing/2014/main" id="{6EBD2539-ABD1-40DD-8933-464D93B77205}"/>
              </a:ext>
            </a:extLst>
          </p:cNvPr>
          <p:cNvSpPr>
            <a:spLocks noGrp="1"/>
          </p:cNvSpPr>
          <p:nvPr>
            <p:ph type="body" sz="quarter" idx="12" hasCustomPrompt="1"/>
          </p:nvPr>
        </p:nvSpPr>
        <p:spPr>
          <a:xfrm>
            <a:off x="323999" y="3345642"/>
            <a:ext cx="4644724" cy="400110"/>
          </a:xfrm>
          <a:prstGeom prst="rect">
            <a:avLst/>
          </a:prstGeom>
        </p:spPr>
        <p:txBody>
          <a:bodyPr>
            <a:noAutofit/>
          </a:bodyPr>
          <a:lstStyle>
            <a:lvl1pPr>
              <a:spcAft>
                <a:spcPts val="0"/>
              </a:spcAft>
              <a:defRPr>
                <a:solidFill>
                  <a:schemeClr val="bg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a16="http://schemas.microsoft.com/office/drawing/2014/main" id="{54E64FCC-3FE9-443B-AD0F-06908B8BA7C1}"/>
              </a:ext>
            </a:extLst>
          </p:cNvPr>
          <p:cNvSpPr>
            <a:spLocks noGrp="1"/>
          </p:cNvSpPr>
          <p:nvPr>
            <p:ph type="body" sz="quarter" idx="13" hasCustomPrompt="1"/>
          </p:nvPr>
        </p:nvSpPr>
        <p:spPr>
          <a:xfrm>
            <a:off x="323999" y="3808816"/>
            <a:ext cx="4644724" cy="196977"/>
          </a:xfrm>
          <a:prstGeom prst="rect">
            <a:avLst/>
          </a:prstGeom>
        </p:spPr>
        <p:txBody>
          <a:bodyPr>
            <a:noAutofit/>
          </a:bodyPr>
          <a:lstStyle>
            <a:lvl1pPr>
              <a:defRPr b="1">
                <a:solidFill>
                  <a:schemeClr val="bg1"/>
                </a:solidFill>
                <a:latin typeface="+mn-lt"/>
              </a:defRPr>
            </a:lvl1pPr>
            <a:lvl2pPr marL="0" indent="0">
              <a:buNone/>
              <a:defRPr/>
            </a:lvl2pPr>
          </a:lstStyle>
          <a:p>
            <a:pPr lvl="0"/>
            <a:r>
              <a:rPr lang="en-US" dirty="0"/>
              <a:t>Business Identifier</a:t>
            </a:r>
          </a:p>
        </p:txBody>
      </p:sp>
      <p:sp>
        <p:nvSpPr>
          <p:cNvPr id="11" name="meta-classification">
            <a:extLst>
              <a:ext uri="{FF2B5EF4-FFF2-40B4-BE49-F238E27FC236}">
                <a16:creationId xmlns:a16="http://schemas.microsoft.com/office/drawing/2014/main" id="{D9E8B1FE-DCB0-4CE3-9B7F-0C0FDE01873B}"/>
              </a:ext>
            </a:extLst>
          </p:cNvPr>
          <p:cNvSpPr>
            <a:spLocks noGrp="1"/>
          </p:cNvSpPr>
          <p:nvPr>
            <p:ph type="body" sz="quarter" idx="18" hasCustomPrompt="1"/>
          </p:nvPr>
        </p:nvSpPr>
        <p:spPr>
          <a:xfrm>
            <a:off x="324000" y="116119"/>
            <a:ext cx="2736000" cy="144000"/>
          </a:xfrm>
          <a:prstGeom prst="rect">
            <a:avLst/>
          </a:prstGeom>
        </p:spPr>
        <p:txBody>
          <a:bodyPr wrap="none" lIns="0" tIns="0" rIns="0" bIns="0" anchor="ctr">
            <a:noAutofit/>
          </a:bodyPr>
          <a:lstStyle>
            <a:lvl1pPr>
              <a:spcAft>
                <a:spcPts val="0"/>
              </a:spcAft>
              <a:defRPr lang="en-US" sz="800" b="1" i="0" u="none" strike="noStrike" cap="all" baseline="0" dirty="0" smtClean="0">
                <a:solidFill>
                  <a:schemeClr val="bg1"/>
                </a:solidFill>
              </a:defRPr>
            </a:lvl1pPr>
          </a:lstStyle>
          <a:p>
            <a:pPr marR="0" lvl="0">
              <a:lnSpc>
                <a:spcPct val="100000"/>
              </a:lnSpc>
            </a:pPr>
            <a:r>
              <a:rPr lang="en-US" dirty="0"/>
              <a:t>Please insert classification HERE</a:t>
            </a:r>
          </a:p>
        </p:txBody>
      </p:sp>
      <p:sp>
        <p:nvSpPr>
          <p:cNvPr id="16" name="Text Placeholder 27">
            <a:extLst>
              <a:ext uri="{FF2B5EF4-FFF2-40B4-BE49-F238E27FC236}">
                <a16:creationId xmlns:a16="http://schemas.microsoft.com/office/drawing/2014/main" id="{BED935AF-5BAB-468A-B27A-FC088569523F}"/>
              </a:ext>
            </a:extLst>
          </p:cNvPr>
          <p:cNvSpPr>
            <a:spLocks noGrp="1" noChangeAspect="1"/>
          </p:cNvSpPr>
          <p:nvPr>
            <p:ph type="body" sz="quarter" idx="6" hasCustomPrompt="1"/>
          </p:nvPr>
        </p:nvSpPr>
        <p:spPr>
          <a:xfrm>
            <a:off x="316581" y="4485477"/>
            <a:ext cx="1980648" cy="346950"/>
          </a:xfrm>
          <a:prstGeom prst="rect">
            <a:avLst/>
          </a:prstGeom>
          <a:blipFill>
            <a:blip r:embed="rId2"/>
            <a:stretch>
              <a:fillRect/>
            </a:stretch>
          </a:blipFill>
        </p:spPr>
        <p:txBody>
          <a:bodyPr/>
          <a:lstStyle>
            <a:lvl1pPr>
              <a:defRPr sz="100">
                <a:latin typeface="+mn-lt"/>
              </a:defRPr>
            </a:lvl1pPr>
            <a:lvl2pPr>
              <a:defRPr sz="100"/>
            </a:lvl2pPr>
            <a:lvl3pPr>
              <a:defRPr sz="100"/>
            </a:lvl3pPr>
            <a:lvl4pPr>
              <a:defRPr sz="100"/>
            </a:lvl4pPr>
            <a:lvl5pPr>
              <a:defRPr sz="100"/>
            </a:lvl5pPr>
          </a:lstStyle>
          <a:p>
            <a:pPr lvl="0"/>
            <a:r>
              <a:rPr lang="en-US" dirty="0"/>
              <a:t> </a:t>
            </a:r>
          </a:p>
        </p:txBody>
      </p:sp>
    </p:spTree>
    <p:extLst>
      <p:ext uri="{BB962C8B-B14F-4D97-AF65-F5344CB8AC3E}">
        <p14:creationId xmlns:p14="http://schemas.microsoft.com/office/powerpoint/2010/main" val="2776875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0" y="2017985"/>
            <a:ext cx="8495999"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0" y="519112"/>
            <a:ext cx="8495999"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ection divider with Gradient, Delivery CONDENSED BLACK, 36 </a:t>
            </a:r>
            <a:r>
              <a:rPr lang="en-US" dirty="0" err="1"/>
              <a:t>pt</a:t>
            </a:r>
            <a:endParaRPr lang="en-US" dirty="0"/>
          </a:p>
        </p:txBody>
      </p:sp>
      <p:sp>
        <p:nvSpPr>
          <p:cNvPr id="4" name="Footer Placeholder 3">
            <a:extLst>
              <a:ext uri="{FF2B5EF4-FFF2-40B4-BE49-F238E27FC236}">
                <a16:creationId xmlns:a16="http://schemas.microsoft.com/office/drawing/2014/main" id="{BF134C61-AE90-4876-9405-4282167F38EE}"/>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5" name="Slide Number Placeholder 4">
            <a:extLst>
              <a:ext uri="{FF2B5EF4-FFF2-40B4-BE49-F238E27FC236}">
                <a16:creationId xmlns:a16="http://schemas.microsoft.com/office/drawing/2014/main" id="{A2D195B8-0DD2-4278-B191-4D18AA251FFB}"/>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Tree>
    <p:extLst>
      <p:ext uri="{BB962C8B-B14F-4D97-AF65-F5344CB8AC3E}">
        <p14:creationId xmlns:p14="http://schemas.microsoft.com/office/powerpoint/2010/main" val="11645967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4533E2D-E3E8-4028-915B-4B522D9607C2}"/>
              </a:ext>
            </a:extLst>
          </p:cNvPr>
          <p:cNvSpPr>
            <a:spLocks noGrp="1"/>
          </p:cNvSpPr>
          <p:nvPr>
            <p:ph type="subTitle" idx="1" hasCustomPrompt="1"/>
          </p:nvPr>
        </p:nvSpPr>
        <p:spPr>
          <a:xfrm>
            <a:off x="324001" y="2758969"/>
            <a:ext cx="4644723"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a:t>
            </a:r>
          </a:p>
          <a:p>
            <a:r>
              <a:rPr lang="en-US" dirty="0"/>
              <a:t>Delivery CONDENSED LIGHT, 18 </a:t>
            </a:r>
            <a:r>
              <a:rPr lang="en-US" dirty="0" err="1"/>
              <a:t>pt</a:t>
            </a:r>
            <a:endParaRPr lang="en-US" dirty="0"/>
          </a:p>
        </p:txBody>
      </p:sp>
      <p:sp>
        <p:nvSpPr>
          <p:cNvPr id="12" name="Title 11">
            <a:extLst>
              <a:ext uri="{FF2B5EF4-FFF2-40B4-BE49-F238E27FC236}">
                <a16:creationId xmlns:a16="http://schemas.microsoft.com/office/drawing/2014/main" id="{243A0BD6-FFA5-412C-95AF-EC90EFB11468}"/>
              </a:ext>
            </a:extLst>
          </p:cNvPr>
          <p:cNvSpPr>
            <a:spLocks noGrp="1"/>
          </p:cNvSpPr>
          <p:nvPr>
            <p:ph type="title" hasCustomPrompt="1"/>
          </p:nvPr>
        </p:nvSpPr>
        <p:spPr>
          <a:xfrm>
            <a:off x="324001" y="1260096"/>
            <a:ext cx="4644723"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ection divider </a:t>
            </a:r>
            <a:br>
              <a:rPr lang="en-US" dirty="0"/>
            </a:br>
            <a:r>
              <a:rPr lang="en-US" dirty="0"/>
              <a:t>with image, 36 PT</a:t>
            </a:r>
          </a:p>
        </p:txBody>
      </p:sp>
      <p:sp>
        <p:nvSpPr>
          <p:cNvPr id="5" name="Picture Placeholder 4">
            <a:extLst>
              <a:ext uri="{FF2B5EF4-FFF2-40B4-BE49-F238E27FC236}">
                <a16:creationId xmlns:a16="http://schemas.microsoft.com/office/drawing/2014/main" id="{E4A5375F-57B6-4F34-B285-0212289DE52D}"/>
              </a:ext>
            </a:extLst>
          </p:cNvPr>
          <p:cNvSpPr>
            <a:spLocks noGrp="1"/>
          </p:cNvSpPr>
          <p:nvPr>
            <p:ph type="pic" sz="quarter" idx="14" hasCustomPrompt="1"/>
          </p:nvPr>
        </p:nvSpPr>
        <p:spPr>
          <a:xfrm>
            <a:off x="5292726" y="0"/>
            <a:ext cx="3851275" cy="5148000"/>
          </a:xfrm>
          <a:prstGeom prst="rect">
            <a:avLst/>
          </a:prstGeom>
          <a:solidFill>
            <a:srgbClr val="CCCCCC"/>
          </a:solidFill>
        </p:spPr>
        <p:txBody>
          <a:bodyPr lIns="72000" tIns="72000" rIns="72000" bIns="72000"/>
          <a:lstStyle>
            <a:lvl1pPr>
              <a:defRPr/>
            </a:lvl1pPr>
          </a:lstStyle>
          <a:p>
            <a:r>
              <a:rPr lang="en-US" dirty="0"/>
              <a:t>Please click the icon to insert an image</a:t>
            </a:r>
          </a:p>
        </p:txBody>
      </p:sp>
      <p:sp>
        <p:nvSpPr>
          <p:cNvPr id="2" name="Footer Placeholder 1">
            <a:extLst>
              <a:ext uri="{FF2B5EF4-FFF2-40B4-BE49-F238E27FC236}">
                <a16:creationId xmlns:a16="http://schemas.microsoft.com/office/drawing/2014/main" id="{DF55C8B4-1569-420F-94F8-0A45D58CC333}"/>
              </a:ext>
            </a:extLst>
          </p:cNvPr>
          <p:cNvSpPr>
            <a:spLocks noGrp="1"/>
          </p:cNvSpPr>
          <p:nvPr>
            <p:ph type="ftr" sz="quarter" idx="15"/>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999E2F84-6B48-4F57-8783-342F789CB32E}"/>
              </a:ext>
            </a:extLst>
          </p:cNvPr>
          <p:cNvSpPr>
            <a:spLocks noGrp="1"/>
          </p:cNvSpPr>
          <p:nvPr>
            <p:ph type="sldNum" sz="quarter" idx="16"/>
          </p:nvPr>
        </p:nvSpPr>
        <p:spPr/>
        <p:txBody>
          <a:bodyPr/>
          <a:lstStyle/>
          <a:p>
            <a:fld id="{C2245BC1-4D7B-4ED3-8F01-840FA35126C6}" type="slidenum">
              <a:rPr lang="en-US" smtClean="0"/>
              <a:pPr/>
              <a:t>‹Nr.›</a:t>
            </a:fld>
            <a:endParaRPr lang="en-US" dirty="0"/>
          </a:p>
        </p:txBody>
      </p:sp>
    </p:spTree>
    <p:extLst>
      <p:ext uri="{BB962C8B-B14F-4D97-AF65-F5344CB8AC3E}">
        <p14:creationId xmlns:p14="http://schemas.microsoft.com/office/powerpoint/2010/main" val="9837136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2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F55AA5-C875-4E2C-962B-7BF752DF5F22}"/>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
        <p:nvSpPr>
          <p:cNvPr id="3" name="Footer Placeholder 2">
            <a:extLst>
              <a:ext uri="{FF2B5EF4-FFF2-40B4-BE49-F238E27FC236}">
                <a16:creationId xmlns:a16="http://schemas.microsoft.com/office/drawing/2014/main" id="{9F3ED683-F9E2-432B-9EE5-F787159B7C2B}"/>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4690C2FE-3516-4404-9D7F-3E6C34243697}"/>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10" name="Text Placeholder 9">
            <a:extLst>
              <a:ext uri="{FF2B5EF4-FFF2-40B4-BE49-F238E27FC236}">
                <a16:creationId xmlns:a16="http://schemas.microsoft.com/office/drawing/2014/main" id="{6A3BBD46-F6A3-49DC-8F32-053AD1A88634}"/>
              </a:ext>
            </a:extLst>
          </p:cNvPr>
          <p:cNvSpPr>
            <a:spLocks noGrp="1"/>
          </p:cNvSpPr>
          <p:nvPr>
            <p:ph type="body" sz="quarter" idx="15" hasCustomPrompt="1"/>
          </p:nvPr>
        </p:nvSpPr>
        <p:spPr>
          <a:xfrm>
            <a:off x="323850" y="1150938"/>
            <a:ext cx="2722563" cy="3530600"/>
          </a:xfrm>
          <a:prstGeom prst="rect">
            <a:avLst/>
          </a:prstGeom>
        </p:spPr>
        <p:txBody>
          <a:bodyPr/>
          <a:lstStyle>
            <a:lvl1pPr marL="252000" indent="-252000">
              <a:spcBef>
                <a:spcPts val="1400"/>
              </a:spcBef>
              <a:spcAft>
                <a:spcPts val="0"/>
              </a:spcAft>
              <a:buAutoNum type="arabicPlain"/>
              <a:defRPr b="1"/>
            </a:lvl1pPr>
            <a:lvl2pPr marL="252000" indent="0">
              <a:lnSpc>
                <a:spcPct val="100000"/>
              </a:lnSpc>
              <a:spcAft>
                <a:spcPts val="0"/>
              </a:spcAft>
              <a:buNone/>
              <a:defRPr/>
            </a:lvl2pPr>
          </a:lstStyle>
          <a:p>
            <a:pPr lvl="0"/>
            <a:r>
              <a:rPr lang="en-US" dirty="0"/>
              <a:t>Sample section, Delivery Bold, </a:t>
            </a:r>
            <a:br>
              <a:rPr lang="en-US" dirty="0"/>
            </a:br>
            <a:r>
              <a:rPr lang="en-US" dirty="0"/>
              <a:t>12 </a:t>
            </a:r>
            <a:r>
              <a:rPr lang="en-US" dirty="0" err="1"/>
              <a:t>pt</a:t>
            </a:r>
            <a:endParaRPr lang="en-US" dirty="0"/>
          </a:p>
          <a:p>
            <a:pPr lvl="1"/>
            <a:r>
              <a:rPr lang="en-US" dirty="0"/>
              <a:t>Sample text, Delivery, 12 </a:t>
            </a:r>
            <a:r>
              <a:rPr lang="en-US" dirty="0" err="1"/>
              <a:t>pt</a:t>
            </a:r>
            <a:endParaRPr lang="en-US" dirty="0"/>
          </a:p>
          <a:p>
            <a:pPr lvl="0"/>
            <a:endParaRPr lang="en-GB" dirty="0"/>
          </a:p>
        </p:txBody>
      </p:sp>
      <p:sp>
        <p:nvSpPr>
          <p:cNvPr id="11" name="Text Placeholder 9">
            <a:extLst>
              <a:ext uri="{FF2B5EF4-FFF2-40B4-BE49-F238E27FC236}">
                <a16:creationId xmlns:a16="http://schemas.microsoft.com/office/drawing/2014/main" id="{4F39E3AB-4E3D-4482-A3E6-FBBC80DEA30E}"/>
              </a:ext>
            </a:extLst>
          </p:cNvPr>
          <p:cNvSpPr>
            <a:spLocks noGrp="1"/>
          </p:cNvSpPr>
          <p:nvPr>
            <p:ph type="body" sz="quarter" idx="16" hasCustomPrompt="1"/>
          </p:nvPr>
        </p:nvSpPr>
        <p:spPr>
          <a:xfrm>
            <a:off x="3208339" y="1150938"/>
            <a:ext cx="2722564" cy="3530600"/>
          </a:xfrm>
          <a:prstGeom prst="rect">
            <a:avLst/>
          </a:prstGeom>
        </p:spPr>
        <p:txBody>
          <a:bodyPr/>
          <a:lstStyle>
            <a:lvl1pPr marL="252000" indent="-252000">
              <a:spcBef>
                <a:spcPts val="1400"/>
              </a:spcBef>
              <a:spcAft>
                <a:spcPts val="0"/>
              </a:spcAft>
              <a:buAutoNum type="arabicPlain" startAt="7"/>
              <a:defRPr b="1"/>
            </a:lvl1pPr>
            <a:lvl2pPr marL="252000" indent="0">
              <a:lnSpc>
                <a:spcPct val="100000"/>
              </a:lnSpc>
              <a:spcAft>
                <a:spcPts val="0"/>
              </a:spcAft>
              <a:buNone/>
              <a:defRPr/>
            </a:lvl2pPr>
          </a:lstStyle>
          <a:p>
            <a:pPr lvl="0"/>
            <a:r>
              <a:rPr lang="en-US" dirty="0"/>
              <a:t>Sample section, Delivery Bold, </a:t>
            </a:r>
            <a:br>
              <a:rPr lang="en-US" dirty="0"/>
            </a:br>
            <a:r>
              <a:rPr lang="en-US" dirty="0"/>
              <a:t>12 </a:t>
            </a:r>
            <a:r>
              <a:rPr lang="en-US" dirty="0" err="1"/>
              <a:t>pt</a:t>
            </a:r>
            <a:endParaRPr lang="en-US" dirty="0"/>
          </a:p>
          <a:p>
            <a:pPr lvl="1"/>
            <a:r>
              <a:rPr lang="en-US" dirty="0"/>
              <a:t>Sample text, Delivery, 12 </a:t>
            </a:r>
            <a:r>
              <a:rPr lang="en-US" dirty="0" err="1"/>
              <a:t>pt</a:t>
            </a:r>
            <a:endParaRPr lang="en-US" dirty="0"/>
          </a:p>
          <a:p>
            <a:pPr lvl="0"/>
            <a:endParaRPr lang="en-US" dirty="0"/>
          </a:p>
          <a:p>
            <a:pPr lvl="0"/>
            <a:endParaRPr lang="en-GB" dirty="0"/>
          </a:p>
        </p:txBody>
      </p:sp>
    </p:spTree>
    <p:extLst>
      <p:ext uri="{BB962C8B-B14F-4D97-AF65-F5344CB8AC3E}">
        <p14:creationId xmlns:p14="http://schemas.microsoft.com/office/powerpoint/2010/main" val="29783370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a16="http://schemas.microsoft.com/office/drawing/2014/main" id="{3C27EF1F-9ACF-48EE-A949-EAF146453979}"/>
              </a:ext>
            </a:extLst>
          </p:cNvPr>
          <p:cNvSpPr>
            <a:spLocks noGrp="1"/>
          </p:cNvSpPr>
          <p:nvPr>
            <p:ph type="ftr" sz="quarter" idx="10"/>
          </p:nvPr>
        </p:nvSpPr>
        <p:spPr/>
        <p:txBody>
          <a:bodyPr/>
          <a:lstStyle/>
          <a:p>
            <a:r>
              <a:rPr lang="en-US"/>
              <a:t>DPDHL Group | Presentation title | Location | xx Month 20xx</a:t>
            </a:r>
            <a:endParaRPr lang="en-US" dirty="0"/>
          </a:p>
        </p:txBody>
      </p:sp>
      <p:sp>
        <p:nvSpPr>
          <p:cNvPr id="4" name="Slide Number Placeholder 3">
            <a:extLst>
              <a:ext uri="{FF2B5EF4-FFF2-40B4-BE49-F238E27FC236}">
                <a16:creationId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8" name="Content Placeholder 7">
            <a:extLst>
              <a:ext uri="{FF2B5EF4-FFF2-40B4-BE49-F238E27FC236}">
                <a16:creationId xmlns:a16="http://schemas.microsoft.com/office/drawing/2014/main" id="{3AB14529-BCAE-43FA-A029-C343F83E0454}"/>
              </a:ext>
            </a:extLst>
          </p:cNvPr>
          <p:cNvSpPr>
            <a:spLocks noGrp="1"/>
          </p:cNvSpPr>
          <p:nvPr>
            <p:ph sz="quarter" idx="14" hasCustomPrompt="1"/>
          </p:nvPr>
        </p:nvSpPr>
        <p:spPr>
          <a:xfrm>
            <a:off x="324000" y="1150938"/>
            <a:ext cx="8495999" cy="3528000"/>
          </a:xfrm>
          <a:prstGeom prst="rect">
            <a:avLst/>
          </a:prstGeo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sz="1200" dirty="0"/>
              <a:t>Bullet number, Delivery, 12 </a:t>
            </a:r>
            <a:r>
              <a:rPr lang="en-US" sz="1200" dirty="0" err="1"/>
              <a:t>pt</a:t>
            </a:r>
            <a:r>
              <a:rPr lang="en-US" sz="1200" dirty="0"/>
              <a:t> </a:t>
            </a:r>
          </a:p>
        </p:txBody>
      </p:sp>
      <p:sp>
        <p:nvSpPr>
          <p:cNvPr id="5" name="Rectangle 4">
            <a:extLst>
              <a:ext uri="{FF2B5EF4-FFF2-40B4-BE49-F238E27FC236}">
                <a16:creationId xmlns:a16="http://schemas.microsoft.com/office/drawing/2014/main" id="{9D5CED03-C33D-4356-A21D-74205078B24D}"/>
              </a:ext>
            </a:extLst>
          </p:cNvPr>
          <p:cNvSpPr/>
          <p:nvPr/>
        </p:nvSpPr>
        <p:spPr>
          <a:xfrm>
            <a:off x="2286000" y="1729212"/>
            <a:ext cx="4572000" cy="300082"/>
          </a:xfrm>
          <a:prstGeom prst="rect">
            <a:avLst/>
          </a:prstGeom>
        </p:spPr>
        <p:txBody>
          <a:bodyPr>
            <a:spAutoFit/>
          </a:bodyPr>
          <a:lstStyle/>
          <a:p>
            <a:pPr lvl="2"/>
            <a:r>
              <a:rPr lang="en-US" dirty="0"/>
              <a:t> </a:t>
            </a:r>
          </a:p>
        </p:txBody>
      </p:sp>
    </p:spTree>
    <p:extLst>
      <p:ext uri="{BB962C8B-B14F-4D97-AF65-F5344CB8AC3E}">
        <p14:creationId xmlns:p14="http://schemas.microsoft.com/office/powerpoint/2010/main" val="24704087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CA856C2E-8F2D-41A0-AE6C-F0526A45A6EE}"/>
              </a:ext>
            </a:extLst>
          </p:cNvPr>
          <p:cNvSpPr>
            <a:spLocks noGrp="1"/>
          </p:cNvSpPr>
          <p:nvPr>
            <p:ph type="ftr" sz="quarter" idx="3"/>
          </p:nvPr>
        </p:nvSpPr>
        <p:spPr>
          <a:xfrm>
            <a:off x="323999" y="4803982"/>
            <a:ext cx="8117532" cy="138499"/>
          </a:xfrm>
          <a:prstGeom prst="rect">
            <a:avLst/>
          </a:prstGeom>
        </p:spPr>
        <p:txBody>
          <a:bodyPr vert="horz" lIns="0" tIns="0" rIns="0" bIns="0" rtlCol="0" anchor="ctr">
            <a:noAutofit/>
          </a:bodyPr>
          <a:lstStyle>
            <a:lvl1pPr algn="l">
              <a:defRPr sz="900">
                <a:solidFill>
                  <a:schemeClr val="tx1"/>
                </a:solidFill>
              </a:defRPr>
            </a:lvl1pPr>
          </a:lstStyle>
          <a:p>
            <a:r>
              <a:rPr lang="en-US" dirty="0"/>
              <a:t>DPDHL Group | Handbook </a:t>
            </a:r>
            <a:r>
              <a:rPr lang="en-US" dirty="0" err="1"/>
              <a:t>MyVolunteering</a:t>
            </a:r>
            <a:r>
              <a:rPr lang="en-US" dirty="0"/>
              <a:t> Microsite for GoTeach Reporting|  January 2022</a:t>
            </a:r>
          </a:p>
        </p:txBody>
      </p:sp>
      <p:sp>
        <p:nvSpPr>
          <p:cNvPr id="11" name="Slide Number Placeholder 10">
            <a:extLst>
              <a:ext uri="{FF2B5EF4-FFF2-40B4-BE49-F238E27FC236}">
                <a16:creationId xmlns:a16="http://schemas.microsoft.com/office/drawing/2014/main" id="{8C9B7831-1594-4A3A-AB85-33FDCF3EA950}"/>
              </a:ext>
            </a:extLst>
          </p:cNvPr>
          <p:cNvSpPr>
            <a:spLocks noGrp="1"/>
          </p:cNvSpPr>
          <p:nvPr>
            <p:ph type="sldNum" sz="quarter" idx="4"/>
          </p:nvPr>
        </p:nvSpPr>
        <p:spPr>
          <a:xfrm>
            <a:off x="8441531" y="4803982"/>
            <a:ext cx="378469" cy="138499"/>
          </a:xfrm>
          <a:prstGeom prst="rect">
            <a:avLst/>
          </a:prstGeom>
        </p:spPr>
        <p:txBody>
          <a:bodyPr vert="horz" lIns="0" tIns="0" rIns="0" bIns="0" rtlCol="0" anchor="ctr"/>
          <a:lstStyle>
            <a:lvl1pPr algn="r">
              <a:defRPr sz="900">
                <a:solidFill>
                  <a:schemeClr val="tx1"/>
                </a:solidFill>
              </a:defRPr>
            </a:lvl1pPr>
          </a:lstStyle>
          <a:p>
            <a:fld id="{C2245BC1-4D7B-4ED3-8F01-840FA35126C6}" type="slidenum">
              <a:rPr lang="en-US" smtClean="0"/>
              <a:pPr/>
              <a:t>‹Nr.›</a:t>
            </a:fld>
            <a:endParaRPr lang="en-US" dirty="0"/>
          </a:p>
        </p:txBody>
      </p:sp>
      <p:sp>
        <p:nvSpPr>
          <p:cNvPr id="18" name="meta-classification">
            <a:extLst>
              <a:ext uri="{FF2B5EF4-FFF2-40B4-BE49-F238E27FC236}">
                <a16:creationId xmlns:a16="http://schemas.microsoft.com/office/drawing/2014/main" id="{CB3C5A58-B5FD-41CE-A3B3-6112D71801CF}"/>
              </a:ext>
            </a:extLst>
          </p:cNvPr>
          <p:cNvSpPr/>
          <p:nvPr/>
        </p:nvSpPr>
        <p:spPr>
          <a:xfrm>
            <a:off x="324000" y="116119"/>
            <a:ext cx="2736000" cy="144000"/>
          </a:xfrm>
          <a:prstGeom prst="rect">
            <a:avLst/>
          </a:prstGeom>
        </p:spPr>
        <p:txBody>
          <a:bodyPr wrap="none" lIns="0" tIns="0" rIns="0" bIns="0" anchor="ctr">
            <a:noAutofit/>
          </a:bodyPr>
          <a:lstStyle/>
          <a:p>
            <a:pPr marR="0" algn="l" rtl="0">
              <a:lnSpc>
                <a:spcPct val="100000"/>
              </a:lnSpc>
              <a:spcBef>
                <a:spcPts val="0"/>
              </a:spcBef>
            </a:pPr>
            <a:r>
              <a:rPr lang="en-US" sz="800" b="1" i="0" u="none" strike="noStrike" cap="all" baseline="0" dirty="0">
                <a:solidFill>
                  <a:schemeClr val="accent1"/>
                </a:solidFill>
                <a:latin typeface="+mn-lt"/>
              </a:rPr>
              <a:t>UNCLASSIFIED </a:t>
            </a:r>
            <a:r>
              <a:rPr lang="de-DE" sz="800" b="1" i="0" u="none" strike="noStrike" cap="all" baseline="0" dirty="0">
                <a:solidFill>
                  <a:schemeClr val="accent1"/>
                </a:solidFill>
                <a:latin typeface="+mn-lt"/>
              </a:rPr>
              <a:t>(PUBLIC)</a:t>
            </a:r>
            <a:endParaRPr lang="en-US" sz="800" b="1" i="0" u="none" strike="noStrike" cap="all" baseline="0" dirty="0">
              <a:solidFill>
                <a:schemeClr val="accent1"/>
              </a:solidFill>
              <a:latin typeface="+mn-lt"/>
            </a:endParaRPr>
          </a:p>
        </p:txBody>
      </p:sp>
      <p:sp>
        <p:nvSpPr>
          <p:cNvPr id="7" name="Title Placeholder 6">
            <a:extLst>
              <a:ext uri="{FF2B5EF4-FFF2-40B4-BE49-F238E27FC236}">
                <a16:creationId xmlns:a16="http://schemas.microsoft.com/office/drawing/2014/main" id="{82927099-8B95-48F9-92CE-1BDC9AB08BDE}"/>
              </a:ext>
            </a:extLst>
          </p:cNvPr>
          <p:cNvSpPr>
            <a:spLocks noGrp="1"/>
          </p:cNvSpPr>
          <p:nvPr>
            <p:ph type="title"/>
          </p:nvPr>
        </p:nvSpPr>
        <p:spPr>
          <a:xfrm>
            <a:off x="324000" y="385163"/>
            <a:ext cx="8495999" cy="493950"/>
          </a:xfrm>
          <a:prstGeom prst="rect">
            <a:avLst/>
          </a:prstGeom>
        </p:spPr>
        <p:txBody>
          <a:bodyPr vert="horz" lIns="0" tIns="0" rIns="0" bIns="0" rtlCol="0" anchor="b">
            <a:noAutofit/>
          </a:bodyPr>
          <a:lstStyle/>
          <a:p>
            <a:r>
              <a:rPr lang="en-US" dirty="0"/>
              <a:t>Double headline with one or two lines, Delivery Bold, 18 </a:t>
            </a:r>
            <a:r>
              <a:rPr lang="en-US" dirty="0" err="1"/>
              <a:t>pt</a:t>
            </a:r>
            <a:endParaRPr lang="en-US" dirty="0"/>
          </a:p>
        </p:txBody>
      </p:sp>
      <p:sp>
        <p:nvSpPr>
          <p:cNvPr id="2" name="Textplatzhalter 1">
            <a:extLst>
              <a:ext uri="{FF2B5EF4-FFF2-40B4-BE49-F238E27FC236}">
                <a16:creationId xmlns:a16="http://schemas.microsoft.com/office/drawing/2014/main" id="{9DEDFD48-B429-4CD5-AA46-FEBF5EB2A447}"/>
              </a:ext>
            </a:extLst>
          </p:cNvPr>
          <p:cNvSpPr>
            <a:spLocks noGrp="1"/>
          </p:cNvSpPr>
          <p:nvPr>
            <p:ph type="body" idx="1"/>
          </p:nvPr>
        </p:nvSpPr>
        <p:spPr>
          <a:xfrm>
            <a:off x="323999" y="1150938"/>
            <a:ext cx="8495999" cy="3530600"/>
          </a:xfrm>
          <a:prstGeom prst="rect">
            <a:avLst/>
          </a:prstGeom>
        </p:spPr>
        <p:txBody>
          <a:bodyPr vert="horz" lIns="0" tIns="0" rIns="0" bIns="0" rtlCol="0">
            <a:noAutofit/>
          </a:bodyPr>
          <a:lstStyle/>
          <a:p>
            <a:pPr lvl="0"/>
            <a:r>
              <a:rPr lang="de-DE" dirty="0"/>
              <a:t>Body </a:t>
            </a:r>
            <a:r>
              <a:rPr lang="de-DE" dirty="0" err="1"/>
              <a:t>text</a:t>
            </a:r>
            <a:r>
              <a:rPr lang="de-DE" dirty="0"/>
              <a:t> in </a:t>
            </a:r>
            <a:r>
              <a:rPr lang="de-DE" dirty="0" err="1"/>
              <a:t>Delivery</a:t>
            </a:r>
            <a:r>
              <a:rPr lang="de-DE" dirty="0"/>
              <a:t>, 12 </a:t>
            </a:r>
            <a:r>
              <a:rPr lang="de-DE" dirty="0" err="1"/>
              <a:t>pt</a:t>
            </a:r>
            <a:endParaRPr lang="de-DE" dirty="0"/>
          </a:p>
          <a:p>
            <a:pPr lvl="1"/>
            <a:r>
              <a:rPr lang="de-DE" dirty="0"/>
              <a:t>Bullet </a:t>
            </a:r>
            <a:r>
              <a:rPr lang="de-DE" dirty="0" err="1"/>
              <a:t>text</a:t>
            </a:r>
            <a:r>
              <a:rPr lang="de-DE" dirty="0"/>
              <a:t>, </a:t>
            </a:r>
            <a:r>
              <a:rPr lang="de-DE" dirty="0" err="1"/>
              <a:t>Delivery</a:t>
            </a:r>
            <a:r>
              <a:rPr lang="de-DE" dirty="0"/>
              <a:t>, 12 </a:t>
            </a:r>
            <a:r>
              <a:rPr lang="de-DE" dirty="0" err="1"/>
              <a:t>pt</a:t>
            </a:r>
            <a:endParaRPr lang="de-DE" dirty="0"/>
          </a:p>
          <a:p>
            <a:pPr lvl="2"/>
            <a:r>
              <a:rPr lang="de-DE" dirty="0"/>
              <a:t>Bullet </a:t>
            </a:r>
            <a:r>
              <a:rPr lang="de-DE" dirty="0" err="1"/>
              <a:t>text</a:t>
            </a:r>
            <a:r>
              <a:rPr lang="de-DE" dirty="0"/>
              <a:t>, </a:t>
            </a:r>
            <a:r>
              <a:rPr lang="de-DE" dirty="0" err="1"/>
              <a:t>Delivery</a:t>
            </a:r>
            <a:r>
              <a:rPr lang="de-DE" dirty="0"/>
              <a:t>, 12 </a:t>
            </a:r>
            <a:r>
              <a:rPr lang="de-DE" dirty="0" err="1"/>
              <a:t>pt</a:t>
            </a:r>
            <a:endParaRPr lang="de-DE" dirty="0"/>
          </a:p>
          <a:p>
            <a:pPr lvl="3"/>
            <a:r>
              <a:rPr lang="de-DE" dirty="0"/>
              <a:t>Bullet </a:t>
            </a:r>
            <a:r>
              <a:rPr lang="de-DE" dirty="0" err="1"/>
              <a:t>text</a:t>
            </a:r>
            <a:r>
              <a:rPr lang="de-DE" dirty="0"/>
              <a:t>, </a:t>
            </a:r>
            <a:r>
              <a:rPr lang="de-DE" dirty="0" err="1"/>
              <a:t>Delivery</a:t>
            </a:r>
            <a:r>
              <a:rPr lang="de-DE" dirty="0"/>
              <a:t>, 12</a:t>
            </a:r>
          </a:p>
          <a:p>
            <a:pPr lvl="4"/>
            <a:r>
              <a:rPr lang="de-DE" dirty="0"/>
              <a:t>Action title, </a:t>
            </a:r>
            <a:r>
              <a:rPr lang="de-DE" dirty="0" err="1"/>
              <a:t>Delivery</a:t>
            </a:r>
            <a:r>
              <a:rPr lang="de-DE" dirty="0"/>
              <a:t> Regular, 15 </a:t>
            </a:r>
            <a:r>
              <a:rPr lang="de-DE" dirty="0" err="1"/>
              <a:t>pt</a:t>
            </a:r>
            <a:endParaRPr lang="de-DE" dirty="0"/>
          </a:p>
          <a:p>
            <a:pPr lvl="5"/>
            <a:r>
              <a:rPr lang="de-DE" dirty="0"/>
              <a:t>Paragraph </a:t>
            </a:r>
            <a:r>
              <a:rPr lang="de-DE" dirty="0" err="1"/>
              <a:t>Healine</a:t>
            </a:r>
            <a:r>
              <a:rPr lang="de-DE" dirty="0"/>
              <a:t>, </a:t>
            </a:r>
            <a:r>
              <a:rPr lang="de-DE" dirty="0" err="1"/>
              <a:t>Delivery</a:t>
            </a:r>
            <a:r>
              <a:rPr lang="de-DE" dirty="0"/>
              <a:t> </a:t>
            </a:r>
            <a:r>
              <a:rPr lang="de-DE" dirty="0" err="1"/>
              <a:t>Bold</a:t>
            </a:r>
            <a:r>
              <a:rPr lang="de-DE" dirty="0"/>
              <a:t>, 12 </a:t>
            </a:r>
            <a:r>
              <a:rPr lang="de-DE" dirty="0" err="1"/>
              <a:t>pt</a:t>
            </a:r>
            <a:endParaRPr lang="de-DE" dirty="0"/>
          </a:p>
          <a:p>
            <a:pPr lvl="6"/>
            <a:r>
              <a:rPr lang="de-DE" dirty="0"/>
              <a:t>Bullet </a:t>
            </a:r>
            <a:r>
              <a:rPr lang="de-DE" dirty="0" err="1"/>
              <a:t>number</a:t>
            </a:r>
            <a:r>
              <a:rPr lang="de-DE" dirty="0"/>
              <a:t>, </a:t>
            </a:r>
            <a:r>
              <a:rPr lang="de-DE" dirty="0" err="1"/>
              <a:t>Delivery</a:t>
            </a:r>
            <a:r>
              <a:rPr lang="de-DE" dirty="0"/>
              <a:t>, 12 </a:t>
            </a:r>
            <a:r>
              <a:rPr lang="de-DE" dirty="0" err="1"/>
              <a:t>pt</a:t>
            </a:r>
            <a:endParaRPr lang="de-DE" dirty="0"/>
          </a:p>
        </p:txBody>
      </p:sp>
      <p:sp>
        <p:nvSpPr>
          <p:cNvPr id="3" name="MSIPCMContentMarking" descr="{&quot;HashCode&quot;:905108722,&quot;Placement&quot;:&quot;Header&quot;,&quot;Top&quot;:0.0,&quot;Left&quot;:0.0,&quot;SlideWidth&quot;:720,&quot;SlideHeight&quot;:405}"/>
          <p:cNvSpPr txBox="1"/>
          <p:nvPr userDrawn="1"/>
        </p:nvSpPr>
        <p:spPr>
          <a:xfrm>
            <a:off x="0" y="0"/>
            <a:ext cx="1387009" cy="234315"/>
          </a:xfrm>
          <a:prstGeom prst="rect">
            <a:avLst/>
          </a:prstGeom>
          <a:noFill/>
        </p:spPr>
        <p:txBody>
          <a:bodyPr vert="horz" wrap="square" lIns="0" tIns="0" rIns="0" bIns="0" rtlCol="0" anchor="ctr" anchorCtr="1">
            <a:noAutofit/>
          </a:bodyPr>
          <a:lstStyle/>
          <a:p>
            <a:pPr algn="l">
              <a:lnSpc>
                <a:spcPct val="110000"/>
              </a:lnSpc>
              <a:spcBef>
                <a:spcPts val="0"/>
              </a:spcBef>
              <a:spcAft>
                <a:spcPts val="0"/>
              </a:spcAft>
            </a:pPr>
            <a:r>
              <a:rPr lang="en-US" sz="1000">
                <a:solidFill>
                  <a:srgbClr val="747474"/>
                </a:solidFill>
                <a:latin typeface="Delivery" panose="020F0503020204020204" pitchFamily="34" charset="0"/>
              </a:rPr>
              <a:t>FOR INTERNAL USE</a:t>
            </a:r>
            <a:endParaRPr lang="en-US" sz="1000" dirty="0" err="1">
              <a:solidFill>
                <a:srgbClr val="747474"/>
              </a:solidFill>
              <a:latin typeface="Delivery" panose="020F0503020204020204" pitchFamily="34" charset="0"/>
            </a:endParaRPr>
          </a:p>
        </p:txBody>
      </p:sp>
    </p:spTree>
    <p:extLst>
      <p:ext uri="{BB962C8B-B14F-4D97-AF65-F5344CB8AC3E}">
        <p14:creationId xmlns:p14="http://schemas.microsoft.com/office/powerpoint/2010/main" val="1384466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69" r:id="rId5"/>
    <p:sldLayoutId id="2147483653" r:id="rId6"/>
    <p:sldLayoutId id="2147483654" r:id="rId7"/>
    <p:sldLayoutId id="2147483666" r:id="rId8"/>
    <p:sldLayoutId id="2147483655" r:id="rId9"/>
    <p:sldLayoutId id="2147483656" r:id="rId10"/>
    <p:sldLayoutId id="2147483657" r:id="rId11"/>
    <p:sldLayoutId id="2147483658" r:id="rId12"/>
    <p:sldLayoutId id="2147483670" r:id="rId13"/>
    <p:sldLayoutId id="2147483671" r:id="rId14"/>
    <p:sldLayoutId id="2147483672" r:id="rId15"/>
    <p:sldLayoutId id="2147483661" r:id="rId16"/>
    <p:sldLayoutId id="2147483662" r:id="rId17"/>
    <p:sldLayoutId id="2147483663" r:id="rId18"/>
    <p:sldLayoutId id="2147483668" r:id="rId19"/>
    <p:sldLayoutId id="2147483664" r:id="rId20"/>
    <p:sldLayoutId id="2147483665" r:id="rId21"/>
  </p:sldLayoutIdLst>
  <p:hf hdr="0" dt="0"/>
  <p:txStyles>
    <p:titleStyle>
      <a:lvl1pPr algn="l" defTabSz="685800" rtl="0" eaLnBrk="1" latinLnBrk="0" hangingPunct="1">
        <a:lnSpc>
          <a:spcPct val="100000"/>
        </a:lnSpc>
        <a:spcBef>
          <a:spcPct val="0"/>
        </a:spcBef>
        <a:buNone/>
        <a:defRPr sz="1800" b="1" kern="1200">
          <a:solidFill>
            <a:schemeClr val="tx1"/>
          </a:solidFill>
          <a:latin typeface="+mj-lt"/>
          <a:ea typeface="+mj-ea"/>
          <a:cs typeface="+mj-cs"/>
        </a:defRPr>
      </a:lvl1pPr>
    </p:titleStyle>
    <p:body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000" kern="10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04" userDrawn="1">
          <p15:clr>
            <a:srgbClr val="F26B43"/>
          </p15:clr>
        </p15:guide>
        <p15:guide id="3" pos="5556" userDrawn="1">
          <p15:clr>
            <a:srgbClr val="F26B43"/>
          </p15:clr>
        </p15:guide>
        <p15:guide id="6" orient="horz" pos="725" userDrawn="1">
          <p15:clr>
            <a:srgbClr val="F26B43"/>
          </p15:clr>
        </p15:guide>
        <p15:guide id="17" orient="horz" pos="2949" userDrawn="1">
          <p15:clr>
            <a:srgbClr val="F26B43"/>
          </p15:clr>
        </p15:guide>
        <p15:guide id="18" orient="horz" pos="2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5.jpe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hemeOverride" Target="../theme/themeOverride2.xml"/><Relationship Id="rId5" Type="http://schemas.openxmlformats.org/officeDocument/2006/relationships/image" Target="../media/image23.png"/><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1.xml"/><Relationship Id="rId7" Type="http://schemas.microsoft.com/office/2007/relationships/hdphoto" Target="../media/hdphoto2.wdp"/><Relationship Id="rId2" Type="http://schemas.openxmlformats.org/officeDocument/2006/relationships/slideLayout" Target="../slideLayouts/slideLayout9.xml"/><Relationship Id="rId1" Type="http://schemas.openxmlformats.org/officeDocument/2006/relationships/themeOverride" Target="../theme/themeOverride3.xml"/><Relationship Id="rId6" Type="http://schemas.openxmlformats.org/officeDocument/2006/relationships/image" Target="../media/image24.png"/><Relationship Id="rId5" Type="http://schemas.openxmlformats.org/officeDocument/2006/relationships/image" Target="../media/image21.png"/><Relationship Id="rId4" Type="http://schemas.openxmlformats.org/officeDocument/2006/relationships/image" Target="../media/image6.png"/><Relationship Id="rId9" Type="http://schemas.openxmlformats.org/officeDocument/2006/relationships/image" Target="../media/image26.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9.xml"/><Relationship Id="rId1" Type="http://schemas.openxmlformats.org/officeDocument/2006/relationships/themeOverride" Target="../theme/themeOverride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6.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hemeOverride" Target="../theme/themeOverride5.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31.png"/><Relationship Id="rId2" Type="http://schemas.openxmlformats.org/officeDocument/2006/relationships/slideLayout" Target="../slideLayouts/slideLayout9.xml"/><Relationship Id="rId1" Type="http://schemas.openxmlformats.org/officeDocument/2006/relationships/themeOverride" Target="../theme/themeOverride6.xml"/><Relationship Id="rId6" Type="http://schemas.openxmlformats.org/officeDocument/2006/relationships/image" Target="../media/image15.png"/><Relationship Id="rId5" Type="http://schemas.openxmlformats.org/officeDocument/2006/relationships/image" Target="../media/image27.png"/><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hemeOverride" Target="../theme/themeOverride7.xml"/><Relationship Id="rId6" Type="http://schemas.openxmlformats.org/officeDocument/2006/relationships/image" Target="../media/image27.png"/><Relationship Id="rId5" Type="http://schemas.openxmlformats.org/officeDocument/2006/relationships/image" Target="../media/image32.png"/><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27.png"/><Relationship Id="rId2" Type="http://schemas.openxmlformats.org/officeDocument/2006/relationships/slideLayout" Target="../slideLayouts/slideLayout9.xml"/><Relationship Id="rId1" Type="http://schemas.openxmlformats.org/officeDocument/2006/relationships/themeOverride" Target="../theme/themeOverride8.xml"/><Relationship Id="rId6" Type="http://schemas.openxmlformats.org/officeDocument/2006/relationships/image" Target="../media/image13.png"/><Relationship Id="rId5" Type="http://schemas.openxmlformats.org/officeDocument/2006/relationships/image" Target="../media/image6.png"/><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17.xml"/><Relationship Id="rId7" Type="http://schemas.microsoft.com/office/2007/relationships/hdphoto" Target="../media/hdphoto3.wdp"/><Relationship Id="rId2" Type="http://schemas.openxmlformats.org/officeDocument/2006/relationships/slideLayout" Target="../slideLayouts/slideLayout9.xml"/><Relationship Id="rId1" Type="http://schemas.openxmlformats.org/officeDocument/2006/relationships/themeOverride" Target="../theme/themeOverride9.xml"/><Relationship Id="rId6" Type="http://schemas.openxmlformats.org/officeDocument/2006/relationships/image" Target="../media/image34.png"/><Relationship Id="rId5" Type="http://schemas.openxmlformats.org/officeDocument/2006/relationships/image" Target="../media/image29.png"/><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9.xml"/><Relationship Id="rId1" Type="http://schemas.openxmlformats.org/officeDocument/2006/relationships/themeOverride" Target="../theme/themeOverride10.xml"/><Relationship Id="rId6" Type="http://schemas.openxmlformats.org/officeDocument/2006/relationships/image" Target="../media/image36.png"/><Relationship Id="rId5" Type="http://schemas.openxmlformats.org/officeDocument/2006/relationships/image" Target="../media/image10.pn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38.png"/><Relationship Id="rId2" Type="http://schemas.openxmlformats.org/officeDocument/2006/relationships/slideLayout" Target="../slideLayouts/slideLayout9.xml"/><Relationship Id="rId1" Type="http://schemas.openxmlformats.org/officeDocument/2006/relationships/themeOverride" Target="../theme/themeOverride11.xml"/><Relationship Id="rId6" Type="http://schemas.microsoft.com/office/2007/relationships/hdphoto" Target="../media/hdphoto4.wdp"/><Relationship Id="rId5" Type="http://schemas.openxmlformats.org/officeDocument/2006/relationships/image" Target="../media/image37.pn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9.xml"/><Relationship Id="rId1" Type="http://schemas.openxmlformats.org/officeDocument/2006/relationships/themeOverride" Target="../theme/themeOverride12.xml"/><Relationship Id="rId6" Type="http://schemas.openxmlformats.org/officeDocument/2006/relationships/image" Target="../media/image39.png"/><Relationship Id="rId5" Type="http://schemas.openxmlformats.org/officeDocument/2006/relationships/image" Target="../media/image10.png"/><Relationship Id="rId4" Type="http://schemas.openxmlformats.org/officeDocument/2006/relationships/image" Target="../media/image6.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9.xml"/><Relationship Id="rId1" Type="http://schemas.openxmlformats.org/officeDocument/2006/relationships/themeOverride" Target="../theme/themeOverride13.xml"/><Relationship Id="rId6" Type="http://schemas.openxmlformats.org/officeDocument/2006/relationships/hyperlink" Target="https://www.dpdhl-brands.com/dpdhl-group/en/guides/design-basics/imagery.html" TargetMode="External"/><Relationship Id="rId5" Type="http://schemas.openxmlformats.org/officeDocument/2006/relationships/image" Target="../media/image27.png"/><Relationship Id="rId4" Type="http://schemas.openxmlformats.org/officeDocument/2006/relationships/image" Target="../media/image6.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9.xml"/><Relationship Id="rId1" Type="http://schemas.openxmlformats.org/officeDocument/2006/relationships/themeOverride" Target="../theme/themeOverride1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microsoft.com/office/2007/relationships/hdphoto" Target="../media/hdphoto3.wdp"/><Relationship Id="rId2" Type="http://schemas.openxmlformats.org/officeDocument/2006/relationships/slideLayout" Target="../slideLayouts/slideLayout9.xml"/><Relationship Id="rId1" Type="http://schemas.openxmlformats.org/officeDocument/2006/relationships/themeOverride" Target="../theme/themeOverride15.xml"/><Relationship Id="rId6" Type="http://schemas.openxmlformats.org/officeDocument/2006/relationships/image" Target="../media/image34.png"/><Relationship Id="rId5" Type="http://schemas.openxmlformats.org/officeDocument/2006/relationships/image" Target="../media/image42.png"/><Relationship Id="rId4" Type="http://schemas.openxmlformats.org/officeDocument/2006/relationships/image" Target="../media/image6.png"/></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6.xml"/><Relationship Id="rId5" Type="http://schemas.microsoft.com/office/2007/relationships/hdphoto" Target="../media/hdphoto5.wdp"/><Relationship Id="rId4" Type="http://schemas.openxmlformats.org/officeDocument/2006/relationships/image" Target="../media/image44.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10.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6.png"/><Relationship Id="rId7"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13.png"/><Relationship Id="rId5" Type="http://schemas.openxmlformats.org/officeDocument/2006/relationships/image" Target="../media/image12.jp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20.png"/><Relationship Id="rId5" Type="http://schemas.microsoft.com/office/2007/relationships/hdphoto" Target="../media/hdphoto1.wdp"/><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hemeOverride" Target="../theme/themeOverride1.xml"/><Relationship Id="rId5" Type="http://schemas.openxmlformats.org/officeDocument/2006/relationships/image" Target="../media/image6.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3B85018E-F0AE-4950-8103-367927E5E8F4}"/>
              </a:ext>
            </a:extLst>
          </p:cNvPr>
          <p:cNvSpPr>
            <a:spLocks noGrp="1"/>
          </p:cNvSpPr>
          <p:nvPr>
            <p:ph type="subTitle" idx="1"/>
          </p:nvPr>
        </p:nvSpPr>
        <p:spPr/>
        <p:txBody>
          <a:bodyPr/>
          <a:lstStyle/>
          <a:p>
            <a:pPr algn="l" rtl="0"/>
            <a:r>
              <a:rPr lang="x-es-XL" b="0" i="0" u="none" baseline="0"/>
              <a:t>MANUAL</a:t>
            </a:r>
            <a:endParaRPr lang="x-es-XL" dirty="0"/>
          </a:p>
        </p:txBody>
      </p:sp>
      <p:sp>
        <p:nvSpPr>
          <p:cNvPr id="4" name="Titel 3">
            <a:extLst>
              <a:ext uri="{FF2B5EF4-FFF2-40B4-BE49-F238E27FC236}">
                <a16:creationId xmlns:a16="http://schemas.microsoft.com/office/drawing/2014/main" id="{D6607C8E-10F0-4A73-BAC8-B34247A11D3D}"/>
              </a:ext>
            </a:extLst>
          </p:cNvPr>
          <p:cNvSpPr>
            <a:spLocks noGrp="1"/>
          </p:cNvSpPr>
          <p:nvPr>
            <p:ph type="title"/>
          </p:nvPr>
        </p:nvSpPr>
        <p:spPr/>
        <p:txBody>
          <a:bodyPr/>
          <a:lstStyle/>
          <a:p>
            <a:pPr algn="l" rtl="0"/>
            <a:r>
              <a:rPr lang="x-es-XL" b="0" i="0" u="none" baseline="0"/>
              <a:t>REDACCIÓN DE INFORMES PARA GoTEACH</a:t>
            </a:r>
          </a:p>
        </p:txBody>
      </p:sp>
      <p:pic>
        <p:nvPicPr>
          <p:cNvPr id="10" name="Picture 9"/>
          <p:cNvPicPr>
            <a:picLocks noChangeAspect="1"/>
          </p:cNvPicPr>
          <p:nvPr/>
        </p:nvPicPr>
        <p:blipFill>
          <a:blip r:embed="rId5"/>
          <a:stretch>
            <a:fillRect/>
          </a:stretch>
        </p:blipFill>
        <p:spPr>
          <a:xfrm>
            <a:off x="320400" y="4503600"/>
            <a:ext cx="1469263" cy="359695"/>
          </a:xfrm>
          <a:prstGeom prst="rect">
            <a:avLst/>
          </a:prstGeom>
        </p:spPr>
      </p:pic>
      <p:pic>
        <p:nvPicPr>
          <p:cNvPr id="2" name="Audio 1">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318500" y="4318000"/>
            <a:ext cx="609600" cy="609600"/>
          </a:xfrm>
          <a:prstGeom prst="rect">
            <a:avLst/>
          </a:prstGeom>
        </p:spPr>
      </p:pic>
      <p:pic>
        <p:nvPicPr>
          <p:cNvPr id="8" name="Bildplatzhalter 7"/>
          <p:cNvPicPr>
            <a:picLocks noGrp="1" noChangeAspect="1"/>
          </p:cNvPicPr>
          <p:nvPr>
            <p:ph type="pic" sz="quarter" idx="14"/>
          </p:nvPr>
        </p:nvPicPr>
        <p:blipFill>
          <a:blip r:embed="rId7">
            <a:extLst>
              <a:ext uri="{28A0092B-C50C-407E-A947-70E740481C1C}">
                <a14:useLocalDpi xmlns:a14="http://schemas.microsoft.com/office/drawing/2010/main" val="0"/>
              </a:ext>
            </a:extLst>
          </a:blip>
          <a:srcRect l="21947" r="21947"/>
          <a:stretch>
            <a:fillRect/>
          </a:stretch>
        </p:blipFill>
        <p:spPr>
          <a:prstGeom prst="rect">
            <a:avLst/>
          </a:prstGeom>
        </p:spPr>
      </p:pic>
    </p:spTree>
    <p:extLst>
      <p:ext uri="{BB962C8B-B14F-4D97-AF65-F5344CB8AC3E}">
        <p14:creationId xmlns:p14="http://schemas.microsoft.com/office/powerpoint/2010/main" val="228470923"/>
      </p:ext>
    </p:extLst>
  </p:cSld>
  <p:clrMapOvr>
    <a:masterClrMapping/>
  </p:clrMapOvr>
  <mc:AlternateContent xmlns:mc="http://schemas.openxmlformats.org/markup-compatibility/2006" xmlns:p14="http://schemas.microsoft.com/office/powerpoint/2010/main">
    <mc:Choice Requires="p14">
      <p:transition spd="slow" p14:dur="2000" advTm="2622"/>
    </mc:Choice>
    <mc:Fallback xmlns="">
      <p:transition spd="slow" advTm="262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2"/>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pPr algn="l" rtl="0"/>
            <a:r>
              <a:rPr lang="x-es-XL" b="1" i="0" u="none" baseline="0"/>
              <a:t>PASO 1: Información general</a:t>
            </a:r>
            <a:endParaRPr lang="x-es-XL" dirty="0"/>
          </a:p>
        </p:txBody>
      </p:sp>
      <p:sp>
        <p:nvSpPr>
          <p:cNvPr id="11"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pPr algn="l" rtl="0"/>
            <a:r>
              <a:rPr lang="x-es-XL" b="0" i="0" u="none" baseline="0"/>
              <a:t>DPDHL Group | Manual de redacción de informes para GoTeach | Enero de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10</a:t>
            </a:fld>
            <a:endParaRPr lang="x-es-XL" dirty="0"/>
          </a:p>
        </p:txBody>
      </p:sp>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3" name="Grafik 2"/>
          <p:cNvPicPr>
            <a:picLocks noChangeAspect="1"/>
          </p:cNvPicPr>
          <p:nvPr/>
        </p:nvPicPr>
        <p:blipFill>
          <a:blip r:embed="rId5"/>
          <a:stretch>
            <a:fillRect/>
          </a:stretch>
        </p:blipFill>
        <p:spPr>
          <a:xfrm>
            <a:off x="604899" y="1150821"/>
            <a:ext cx="8025866" cy="3412738"/>
          </a:xfrm>
          <a:prstGeom prst="rect">
            <a:avLst/>
          </a:prstGeom>
        </p:spPr>
      </p:pic>
    </p:spTree>
    <p:extLst>
      <p:ext uri="{BB962C8B-B14F-4D97-AF65-F5344CB8AC3E}">
        <p14:creationId xmlns:p14="http://schemas.microsoft.com/office/powerpoint/2010/main" val="668996403"/>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pPr algn="l" rtl="0"/>
            <a:r>
              <a:rPr lang="x-es-XL" b="1" i="0" u="none" baseline="0"/>
              <a:t>PASO 1: Información general</a:t>
            </a:r>
            <a:endParaRPr lang="x-es-XL" dirty="0"/>
          </a:p>
        </p:txBody>
      </p:sp>
      <p:sp>
        <p:nvSpPr>
          <p:cNvPr id="8"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pPr algn="l" rtl="0"/>
            <a:r>
              <a:rPr lang="x-es-XL" b="0" i="0" u="none" baseline="0"/>
              <a:t>DPDHL Group | Manual de redacción de informes para GoTeach | Enero de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11</a:t>
            </a:fld>
            <a:endParaRPr lang="x-es-XL" dirty="0"/>
          </a:p>
        </p:txBody>
      </p:sp>
      <p:sp>
        <p:nvSpPr>
          <p:cNvPr id="6" name="Content Placeholder 5">
            <a:extLst>
              <a:ext uri="{FF2B5EF4-FFF2-40B4-BE49-F238E27FC236}">
                <a16:creationId xmlns:a16="http://schemas.microsoft.com/office/drawing/2014/main" id="{26E948DC-A59B-4A39-BF1E-E43D60D11028}"/>
              </a:ext>
            </a:extLst>
          </p:cNvPr>
          <p:cNvSpPr>
            <a:spLocks noGrp="1"/>
          </p:cNvSpPr>
          <p:nvPr>
            <p:ph sz="quarter" idx="14"/>
          </p:nvPr>
        </p:nvSpPr>
        <p:spPr/>
        <p:txBody>
          <a:bodyPr/>
          <a:lstStyle/>
          <a:p>
            <a:pPr lvl="4" algn="l" rtl="0"/>
            <a:endParaRPr lang="x-es-XL" dirty="0"/>
          </a:p>
          <a:p>
            <a:pPr lvl="4" algn="l" rtl="0"/>
            <a:endParaRPr lang="x-es-XL" dirty="0"/>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sp>
        <p:nvSpPr>
          <p:cNvPr id="11" name="Content Placeholder 5">
            <a:extLst>
              <a:ext uri="{FF2B5EF4-FFF2-40B4-BE49-F238E27FC236}">
                <a16:creationId xmlns:a16="http://schemas.microsoft.com/office/drawing/2014/main" id="{26E948DC-A59B-4A39-BF1E-E43D60D11028}"/>
              </a:ext>
            </a:extLst>
          </p:cNvPr>
          <p:cNvSpPr txBox="1">
            <a:spLocks/>
          </p:cNvSpPr>
          <p:nvPr/>
        </p:nvSpPr>
        <p:spPr>
          <a:xfrm>
            <a:off x="411126" y="1303338"/>
            <a:ext cx="8561273" cy="298885"/>
          </a:xfrm>
          <a:prstGeom prst="rect">
            <a:avLst/>
          </a:prstGeom>
        </p:spPr>
        <p:txBody>
          <a:bodyPr vert="horz" lIns="0" tIns="0" rIns="0" bIns="0" rtlCol="0">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4" algn="l" rtl="0">
              <a:spcAft>
                <a:spcPts val="375"/>
              </a:spcAft>
            </a:pPr>
            <a:r>
              <a:rPr lang="x-es-XL" sz="1400" b="1" i="0" u="none" baseline="0">
                <a:latin typeface="Delivery" panose="020F0503020204020204" pitchFamily="34" charset="0"/>
                <a:ea typeface="Delivery" panose="020F0503020204020204" pitchFamily="34" charset="0"/>
                <a:cs typeface="Delivery" panose="020F0503020204020204" pitchFamily="34" charset="0"/>
              </a:rPr>
              <a:t>Elige «Colaboración con Teach For All» o «Colaboración con SOS» como área de enfoque </a:t>
            </a:r>
          </a:p>
          <a:p>
            <a:pPr lvl="5" algn="l" rtl="0"/>
            <a:endParaRPr lang="x-es-XL" sz="1400" dirty="0"/>
          </a:p>
        </p:txBody>
      </p:sp>
      <p:sp>
        <p:nvSpPr>
          <p:cNvPr id="13" name="Content Placeholder 5">
            <a:extLst>
              <a:ext uri="{FF2B5EF4-FFF2-40B4-BE49-F238E27FC236}">
                <a16:creationId xmlns:a16="http://schemas.microsoft.com/office/drawing/2014/main" id="{26E948DC-A59B-4A39-BF1E-E43D60D11028}"/>
              </a:ext>
            </a:extLst>
          </p:cNvPr>
          <p:cNvSpPr txBox="1">
            <a:spLocks/>
          </p:cNvSpPr>
          <p:nvPr/>
        </p:nvSpPr>
        <p:spPr>
          <a:xfrm>
            <a:off x="476399" y="2945177"/>
            <a:ext cx="8495999" cy="298885"/>
          </a:xfrm>
          <a:prstGeom prst="rect">
            <a:avLst/>
          </a:prstGeom>
        </p:spPr>
        <p:txBody>
          <a:bodyPr vert="horz" lIns="0" tIns="0" rIns="0" bIns="0" rtlCol="0">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4" algn="l" rtl="0"/>
            <a:r>
              <a:rPr lang="x-es-XL" sz="1300" b="1" i="0" u="none" baseline="0" dirty="0">
                <a:latin typeface="+mj-lt"/>
                <a:ea typeface="+mj-lt"/>
                <a:cs typeface="+mj-lt"/>
              </a:rPr>
              <a:t>Selecciona el tipo de actividad en función de la descripción de la </a:t>
            </a:r>
            <a:r>
              <a:rPr lang="x-es-XL" sz="1300" b="1" i="0" u="none" baseline="0" dirty="0" smtClean="0">
                <a:latin typeface="+mj-lt"/>
                <a:ea typeface="+mj-lt"/>
                <a:cs typeface="+mj-lt"/>
              </a:rPr>
              <a:t>transparencia </a:t>
            </a:r>
            <a:r>
              <a:rPr lang="x-es-XL" sz="1300" b="1" i="0" u="none" baseline="0" dirty="0">
                <a:latin typeface="+mj-lt"/>
                <a:ea typeface="+mj-lt"/>
                <a:cs typeface="+mj-lt"/>
              </a:rPr>
              <a:t>7</a:t>
            </a:r>
          </a:p>
        </p:txBody>
      </p:sp>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6292926" y="458884"/>
            <a:ext cx="2337840" cy="4675680"/>
          </a:xfrm>
          <a:prstGeom prst="rect">
            <a:avLst/>
          </a:prstGeom>
        </p:spPr>
      </p:pic>
      <p:sp>
        <p:nvSpPr>
          <p:cNvPr id="15" name="Oval Callout 14"/>
          <p:cNvSpPr/>
          <p:nvPr/>
        </p:nvSpPr>
        <p:spPr>
          <a:xfrm flipH="1">
            <a:off x="6038589" y="1528432"/>
            <a:ext cx="1821206" cy="1652540"/>
          </a:xfrm>
          <a:prstGeom prst="wedgeEllipseCallout">
            <a:avLst/>
          </a:prstGeom>
          <a:solidFill>
            <a:schemeClr val="tx2">
              <a:lumMod val="40000"/>
              <a:lumOff val="60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rtl="0">
              <a:lnSpc>
                <a:spcPct val="110000"/>
              </a:lnSpc>
              <a:spcAft>
                <a:spcPts val="500"/>
              </a:spcAft>
            </a:pPr>
            <a:r>
              <a:rPr lang="x-es-XL" sz="1200" b="0" i="0" u="none" baseline="0" dirty="0">
                <a:solidFill>
                  <a:schemeClr val="tx1"/>
                </a:solidFill>
              </a:rPr>
              <a:t>Para obtener información adicional al respecto, haz clic en</a:t>
            </a:r>
          </a:p>
        </p:txBody>
      </p:sp>
      <p:pic>
        <p:nvPicPr>
          <p:cNvPr id="18" name="Picture 17"/>
          <p:cNvPicPr>
            <a:picLocks noChangeAspect="1"/>
          </p:cNvPicPr>
          <p:nvPr/>
        </p:nvPicPr>
        <p:blipFill rotWithShape="1">
          <a:blip r:embed="rId6">
            <a:extLst>
              <a:ext uri="{BEBA8EAE-BF5A-486C-A8C5-ECC9F3942E4B}">
                <a14:imgProps xmlns:a14="http://schemas.microsoft.com/office/drawing/2010/main">
                  <a14:imgLayer r:embed="rId7">
                    <a14:imgEffect>
                      <a14:backgroundRemoval t="12556" b="26996" l="91355" r="95787"/>
                    </a14:imgEffect>
                  </a14:imgLayer>
                </a14:imgProps>
              </a:ext>
            </a:extLst>
          </a:blip>
          <a:srcRect l="90801" t="10751" r="3659" b="71199"/>
          <a:stretch/>
        </p:blipFill>
        <p:spPr>
          <a:xfrm>
            <a:off x="6882040" y="2881294"/>
            <a:ext cx="267037" cy="275129"/>
          </a:xfrm>
          <a:prstGeom prst="rect">
            <a:avLst/>
          </a:prstGeom>
        </p:spPr>
      </p:pic>
      <p:pic>
        <p:nvPicPr>
          <p:cNvPr id="3" name="Grafik 2"/>
          <p:cNvPicPr>
            <a:picLocks noChangeAspect="1"/>
          </p:cNvPicPr>
          <p:nvPr/>
        </p:nvPicPr>
        <p:blipFill>
          <a:blip r:embed="rId8"/>
          <a:stretch>
            <a:fillRect/>
          </a:stretch>
        </p:blipFill>
        <p:spPr>
          <a:xfrm>
            <a:off x="411126" y="1722610"/>
            <a:ext cx="4733925" cy="1190625"/>
          </a:xfrm>
          <a:prstGeom prst="rect">
            <a:avLst/>
          </a:prstGeom>
        </p:spPr>
      </p:pic>
      <p:pic>
        <p:nvPicPr>
          <p:cNvPr id="5" name="Grafik 4"/>
          <p:cNvPicPr>
            <a:picLocks noChangeAspect="1"/>
          </p:cNvPicPr>
          <p:nvPr/>
        </p:nvPicPr>
        <p:blipFill>
          <a:blip r:embed="rId9"/>
          <a:stretch>
            <a:fillRect/>
          </a:stretch>
        </p:blipFill>
        <p:spPr>
          <a:xfrm>
            <a:off x="458750" y="3183513"/>
            <a:ext cx="4638675" cy="1495425"/>
          </a:xfrm>
          <a:prstGeom prst="rect">
            <a:avLst/>
          </a:prstGeom>
        </p:spPr>
      </p:pic>
    </p:spTree>
    <p:extLst>
      <p:ext uri="{BB962C8B-B14F-4D97-AF65-F5344CB8AC3E}">
        <p14:creationId xmlns:p14="http://schemas.microsoft.com/office/powerpoint/2010/main" val="886891433"/>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pPr algn="l" rtl="0"/>
            <a:r>
              <a:rPr lang="x-es-XL" b="0" i="0" u="none" baseline="0"/>
              <a:t>DPDHL Group | Manual de redacción de informes para GoTeach | Enero de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12</a:t>
            </a:fld>
            <a:endParaRPr lang="x-es-XL"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sp>
        <p:nvSpPr>
          <p:cNvPr id="13" name="Content Placeholder 5">
            <a:extLst>
              <a:ext uri="{FF2B5EF4-FFF2-40B4-BE49-F238E27FC236}">
                <a16:creationId xmlns:a16="http://schemas.microsoft.com/office/drawing/2014/main" id="{26E948DC-A59B-4A39-BF1E-E43D60D11028}"/>
              </a:ext>
            </a:extLst>
          </p:cNvPr>
          <p:cNvSpPr txBox="1">
            <a:spLocks/>
          </p:cNvSpPr>
          <p:nvPr/>
        </p:nvSpPr>
        <p:spPr>
          <a:xfrm>
            <a:off x="334809" y="2394680"/>
            <a:ext cx="5598343" cy="2248193"/>
          </a:xfrm>
          <a:prstGeom prst="rect">
            <a:avLst/>
          </a:prstGeom>
        </p:spPr>
        <p:txBody>
          <a:bodyPr vert="horz" lIns="0" tIns="0" rIns="0" bIns="0" rtlCol="0">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rtl="0">
              <a:spcAft>
                <a:spcPts val="375"/>
              </a:spcAft>
            </a:pPr>
            <a:r>
              <a:rPr lang="x-es-XL" b="0" i="0" u="none" baseline="0">
                <a:latin typeface="Delivery" panose="020F0503020204020204" pitchFamily="34" charset="0"/>
                <a:ea typeface="Delivery" panose="020F0503020204020204" pitchFamily="34" charset="0"/>
                <a:cs typeface="Delivery" panose="020F0503020204020204" pitchFamily="34" charset="0"/>
              </a:rPr>
              <a:t>Introduce por separado el número total de horas de voluntariado que dedicaron los empleados al proyecto durante la jornada laboral y durante su tiempo libre. Indica una cifra que refleje el desempeño de todos los empleados que participaron, por ejemplo: 3 empleados trabajaron durante 5 horas = 15 </a:t>
            </a:r>
          </a:p>
          <a:p>
            <a:pPr algn="l" rtl="0">
              <a:spcAft>
                <a:spcPts val="375"/>
              </a:spcAft>
            </a:pPr>
            <a:endParaRPr lang="x-es-XL" dirty="0">
              <a:latin typeface="Delivery" panose="020F0503020204020204" pitchFamily="34" charset="0"/>
            </a:endParaRPr>
          </a:p>
          <a:p>
            <a:pPr algn="l" rtl="0">
              <a:spcAft>
                <a:spcPts val="375"/>
              </a:spcAft>
            </a:pPr>
            <a:r>
              <a:rPr lang="x-es-XL" b="1" i="0" u="none" baseline="0">
                <a:latin typeface="Delivery" panose="020F0503020204020204" pitchFamily="34" charset="0"/>
                <a:ea typeface="Delivery" panose="020F0503020204020204" pitchFamily="34" charset="0"/>
                <a:cs typeface="Delivery" panose="020F0503020204020204" pitchFamily="34" charset="0"/>
              </a:rPr>
              <a:t>Efectúa el cálculo de la manera siguiente </a:t>
            </a:r>
          </a:p>
          <a:p>
            <a:pPr algn="l" rtl="0">
              <a:spcAft>
                <a:spcPts val="375"/>
              </a:spcAft>
            </a:pPr>
            <a:r>
              <a:rPr lang="x-es-XL" b="1" i="0" u="none" baseline="0"/>
              <a:t>Actividades de prácticas: </a:t>
            </a:r>
            <a:r>
              <a:rPr lang="x-es-XL" b="0" i="0" u="none" baseline="0"/>
              <a:t>número de jóvenes * número de días de prácticas * 1 h de tiempo de voluntariado por joven en prácticas por día </a:t>
            </a:r>
            <a:r>
              <a:rPr lang="x-es-XL" b="1"/>
              <a:t/>
            </a:r>
            <a:br>
              <a:rPr lang="x-es-XL" b="1"/>
            </a:br>
            <a:endParaRPr lang="x-es-XL" b="1" dirty="0"/>
          </a:p>
          <a:p>
            <a:pPr algn="l" rtl="0">
              <a:spcAft>
                <a:spcPts val="375"/>
              </a:spcAft>
            </a:pPr>
            <a:r>
              <a:rPr lang="x-es-XL" b="1" i="0" u="none" baseline="0"/>
              <a:t>Actividades de simulación de empleo: </a:t>
            </a:r>
            <a:r>
              <a:rPr lang="x-es-XL" b="0" i="0" u="none" baseline="0"/>
              <a:t>número de jóvenes * número de días de prácticas * 2 h de tiempo de voluntariado por joven en prácticas por día</a:t>
            </a:r>
            <a:endParaRPr lang="x-es-XL" dirty="0"/>
          </a:p>
        </p:txBody>
      </p:sp>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02006" y="2093983"/>
            <a:ext cx="1424793" cy="2849585"/>
          </a:xfrm>
          <a:prstGeom prst="rect">
            <a:avLst/>
          </a:prstGeom>
        </p:spPr>
      </p:pic>
      <p:sp>
        <p:nvSpPr>
          <p:cNvPr id="34" name="Title 1">
            <a:extLst>
              <a:ext uri="{FF2B5EF4-FFF2-40B4-BE49-F238E27FC236}">
                <a16:creationId xmlns:a16="http://schemas.microsoft.com/office/drawing/2014/main" id="{B6B6FB23-BFF1-4F14-9E78-7D16429C0629}"/>
              </a:ext>
            </a:extLst>
          </p:cNvPr>
          <p:cNvSpPr>
            <a:spLocks noGrp="1"/>
          </p:cNvSpPr>
          <p:nvPr>
            <p:ph type="title"/>
          </p:nvPr>
        </p:nvSpPr>
        <p:spPr>
          <a:xfrm>
            <a:off x="324000" y="385163"/>
            <a:ext cx="8495999" cy="493950"/>
          </a:xfrm>
        </p:spPr>
        <p:txBody>
          <a:bodyPr/>
          <a:lstStyle/>
          <a:p>
            <a:pPr algn="l" rtl="0"/>
            <a:r>
              <a:rPr lang="x-es-XL" b="1" i="0" u="none" baseline="0"/>
              <a:t>PASO 1: Información general: cómo contar las horas de voluntariado</a:t>
            </a:r>
            <a:endParaRPr lang="x-es-XL" dirty="0"/>
          </a:p>
        </p:txBody>
      </p:sp>
      <p:pic>
        <p:nvPicPr>
          <p:cNvPr id="3" name="Grafik 2"/>
          <p:cNvPicPr>
            <a:picLocks noChangeAspect="1"/>
          </p:cNvPicPr>
          <p:nvPr/>
        </p:nvPicPr>
        <p:blipFill>
          <a:blip r:embed="rId6"/>
          <a:stretch>
            <a:fillRect/>
          </a:stretch>
        </p:blipFill>
        <p:spPr>
          <a:xfrm>
            <a:off x="452396" y="1040222"/>
            <a:ext cx="4743450" cy="1104900"/>
          </a:xfrm>
          <a:prstGeom prst="rect">
            <a:avLst/>
          </a:prstGeom>
        </p:spPr>
      </p:pic>
    </p:spTree>
    <p:extLst>
      <p:ext uri="{BB962C8B-B14F-4D97-AF65-F5344CB8AC3E}">
        <p14:creationId xmlns:p14="http://schemas.microsoft.com/office/powerpoint/2010/main" val="2645004745"/>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pPr algn="l" rtl="0"/>
            <a:r>
              <a:rPr lang="x-es-XL" b="0" i="0" u="none" baseline="0"/>
              <a:t>DPDHL Group | Manual de redacción de informes para GoTeach | Enero de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13</a:t>
            </a:fld>
            <a:endParaRPr lang="x-es-XL"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sp>
        <p:nvSpPr>
          <p:cNvPr id="17" name="Oval Callout 16"/>
          <p:cNvSpPr/>
          <p:nvPr/>
        </p:nvSpPr>
        <p:spPr>
          <a:xfrm flipH="1">
            <a:off x="4651605" y="907214"/>
            <a:ext cx="2472208" cy="1585333"/>
          </a:xfrm>
          <a:prstGeom prst="wedgeEllipseCallout">
            <a:avLst/>
          </a:prstGeom>
          <a:solidFill>
            <a:schemeClr val="tx2">
              <a:lumMod val="40000"/>
              <a:lumOff val="60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rtl="0">
              <a:lnSpc>
                <a:spcPct val="110000"/>
              </a:lnSpc>
              <a:spcAft>
                <a:spcPts val="500"/>
              </a:spcAft>
            </a:pPr>
            <a:r>
              <a:rPr lang="x-es-XL" sz="1100" b="0" i="0" u="none" baseline="0" dirty="0">
                <a:solidFill>
                  <a:schemeClr val="tx1"/>
                </a:solidFill>
              </a:rPr>
              <a:t>Los formatos híbridos generalmente hacen referencia a actividades de </a:t>
            </a:r>
            <a:r>
              <a:rPr lang="x-es-XL" sz="1100" b="0" i="1" u="none" baseline="0" dirty="0">
                <a:solidFill>
                  <a:schemeClr val="tx1"/>
                </a:solidFill>
              </a:rPr>
              <a:t>mentoring</a:t>
            </a:r>
            <a:r>
              <a:rPr lang="x-es-XL" sz="1100" b="0" i="0" u="none" baseline="0" dirty="0">
                <a:solidFill>
                  <a:schemeClr val="tx1"/>
                </a:solidFill>
              </a:rPr>
              <a:t> o de capacitación que emplean enfoques </a:t>
            </a:r>
            <a:r>
              <a:rPr lang="x-es-XL" sz="1100" b="0" i="1" u="none" baseline="0" dirty="0">
                <a:solidFill>
                  <a:schemeClr val="tx1"/>
                </a:solidFill>
              </a:rPr>
              <a:t>online</a:t>
            </a:r>
            <a:r>
              <a:rPr lang="x-es-XL" sz="1100" b="0" i="0" u="none" baseline="0" dirty="0">
                <a:solidFill>
                  <a:schemeClr val="tx1"/>
                </a:solidFill>
              </a:rPr>
              <a:t> y en persona</a:t>
            </a:r>
            <a:r>
              <a:rPr lang="x-es-XL" sz="1200" b="0" i="0" u="none" baseline="0" dirty="0">
                <a:solidFill>
                  <a:schemeClr val="tx1"/>
                </a:solidFill>
              </a:rPr>
              <a:t>.</a:t>
            </a:r>
            <a:endParaRPr lang="x-es-XL" sz="1200" dirty="0">
              <a:solidFill>
                <a:schemeClr val="tx1"/>
              </a:solidFill>
            </a:endParaRPr>
          </a:p>
        </p:txBody>
      </p:sp>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92829" y="1071507"/>
            <a:ext cx="1784091" cy="3568182"/>
          </a:xfrm>
          <a:prstGeom prst="rect">
            <a:avLst/>
          </a:prstGeom>
        </p:spPr>
      </p:pic>
      <p:sp>
        <p:nvSpPr>
          <p:cNvPr id="33" name="Title 1">
            <a:extLst>
              <a:ext uri="{FF2B5EF4-FFF2-40B4-BE49-F238E27FC236}">
                <a16:creationId xmlns:a16="http://schemas.microsoft.com/office/drawing/2014/main" id="{B6B6FB23-BFF1-4F14-9E78-7D16429C0629}"/>
              </a:ext>
            </a:extLst>
          </p:cNvPr>
          <p:cNvSpPr>
            <a:spLocks noGrp="1"/>
          </p:cNvSpPr>
          <p:nvPr>
            <p:ph type="title"/>
          </p:nvPr>
        </p:nvSpPr>
        <p:spPr>
          <a:xfrm>
            <a:off x="324000" y="385163"/>
            <a:ext cx="8495999" cy="493950"/>
          </a:xfrm>
        </p:spPr>
        <p:txBody>
          <a:bodyPr/>
          <a:lstStyle/>
          <a:p>
            <a:pPr algn="l" rtl="0"/>
            <a:r>
              <a:rPr lang="x-es-XL" b="1" i="0" u="none" baseline="0"/>
              <a:t>PASO 1: Información general: formato/modo de realización</a:t>
            </a:r>
            <a:endParaRPr lang="x-es-XL" dirty="0"/>
          </a:p>
        </p:txBody>
      </p:sp>
      <p:pic>
        <p:nvPicPr>
          <p:cNvPr id="2" name="Grafik 1"/>
          <p:cNvPicPr>
            <a:picLocks noChangeAspect="1"/>
          </p:cNvPicPr>
          <p:nvPr/>
        </p:nvPicPr>
        <p:blipFill>
          <a:blip r:embed="rId6"/>
          <a:stretch>
            <a:fillRect/>
          </a:stretch>
        </p:blipFill>
        <p:spPr>
          <a:xfrm>
            <a:off x="323999" y="2348123"/>
            <a:ext cx="4514931" cy="1382305"/>
          </a:xfrm>
          <a:prstGeom prst="rect">
            <a:avLst/>
          </a:prstGeom>
        </p:spPr>
      </p:pic>
    </p:spTree>
    <p:extLst>
      <p:ext uri="{BB962C8B-B14F-4D97-AF65-F5344CB8AC3E}">
        <p14:creationId xmlns:p14="http://schemas.microsoft.com/office/powerpoint/2010/main" val="1577077003"/>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pPr algn="l" rtl="0"/>
            <a:r>
              <a:rPr lang="x-es-XL" b="0" i="0" u="none" baseline="0"/>
              <a:t>DPDHL Group | Manual de redacción de informes para GoTeach | Enero de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14</a:t>
            </a:fld>
            <a:endParaRPr lang="x-es-XL"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78331" y="1340898"/>
            <a:ext cx="1700014" cy="3400027"/>
          </a:xfrm>
          <a:prstGeom prst="rect">
            <a:avLst/>
          </a:prstGeom>
        </p:spPr>
      </p:pic>
      <p:sp>
        <p:nvSpPr>
          <p:cNvPr id="17" name="Oval Callout 16"/>
          <p:cNvSpPr/>
          <p:nvPr/>
        </p:nvSpPr>
        <p:spPr>
          <a:xfrm flipH="1">
            <a:off x="110298" y="879113"/>
            <a:ext cx="2930614" cy="1880005"/>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rtl="0">
              <a:spcAft>
                <a:spcPts val="375"/>
              </a:spcAft>
            </a:pPr>
            <a:endParaRPr lang="x-es-XL" sz="1100" dirty="0">
              <a:latin typeface="Delivery" panose="020F0503020204020204" pitchFamily="34" charset="0"/>
            </a:endParaRPr>
          </a:p>
          <a:p>
            <a:pPr algn="ctr" rtl="0">
              <a:spcAft>
                <a:spcPts val="375"/>
              </a:spcAft>
            </a:pPr>
            <a:r>
              <a:rPr lang="x-es-XL" sz="1100" b="0" i="0" u="none" baseline="0" dirty="0">
                <a:solidFill>
                  <a:schemeClr val="tx1"/>
                </a:solidFill>
              </a:rPr>
              <a:t>Mejorar la igualdad de género (ODS 5) es un nuevo objetivo estratégico de GoTeach. Indica si tu actividad de voluntariado se centró en el tema de la gualdad de género.</a:t>
            </a:r>
            <a:endParaRPr lang="x-es-XL" sz="1100" dirty="0">
              <a:solidFill>
                <a:schemeClr val="tx1"/>
              </a:solidFill>
            </a:endParaRPr>
          </a:p>
        </p:txBody>
      </p:sp>
      <p:sp>
        <p:nvSpPr>
          <p:cNvPr id="14" name="Content Placeholder 5">
            <a:extLst>
              <a:ext uri="{FF2B5EF4-FFF2-40B4-BE49-F238E27FC236}">
                <a16:creationId xmlns:a16="http://schemas.microsoft.com/office/drawing/2014/main" id="{26E948DC-A59B-4A39-BF1E-E43D60D11028}"/>
              </a:ext>
            </a:extLst>
          </p:cNvPr>
          <p:cNvSpPr txBox="1">
            <a:spLocks/>
          </p:cNvSpPr>
          <p:nvPr/>
        </p:nvSpPr>
        <p:spPr>
          <a:xfrm>
            <a:off x="980083" y="1479311"/>
            <a:ext cx="1667626" cy="298885"/>
          </a:xfrm>
          <a:prstGeom prst="rect">
            <a:avLst/>
          </a:prstGeom>
        </p:spPr>
        <p:txBody>
          <a:bodyPr vert="horz" lIns="0" tIns="0" rIns="0" bIns="0" rtlCol="0">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rtl="0">
              <a:spcAft>
                <a:spcPts val="375"/>
              </a:spcAft>
            </a:pPr>
            <a:endParaRPr lang="x-es-XL" dirty="0">
              <a:solidFill>
                <a:srgbClr val="FF0000"/>
              </a:solidFill>
            </a:endParaRPr>
          </a:p>
        </p:txBody>
      </p:sp>
      <p:sp>
        <p:nvSpPr>
          <p:cNvPr id="34" name="Title 1">
            <a:extLst>
              <a:ext uri="{FF2B5EF4-FFF2-40B4-BE49-F238E27FC236}">
                <a16:creationId xmlns:a16="http://schemas.microsoft.com/office/drawing/2014/main" id="{B6B6FB23-BFF1-4F14-9E78-7D16429C0629}"/>
              </a:ext>
            </a:extLst>
          </p:cNvPr>
          <p:cNvSpPr>
            <a:spLocks noGrp="1"/>
          </p:cNvSpPr>
          <p:nvPr>
            <p:ph type="title"/>
          </p:nvPr>
        </p:nvSpPr>
        <p:spPr>
          <a:xfrm>
            <a:off x="324000" y="385163"/>
            <a:ext cx="8495999" cy="493950"/>
          </a:xfrm>
        </p:spPr>
        <p:txBody>
          <a:bodyPr/>
          <a:lstStyle/>
          <a:p>
            <a:pPr algn="l" rtl="0"/>
            <a:r>
              <a:rPr lang="x-es-XL" b="1" i="0" u="none" baseline="0"/>
              <a:t>PASO 1: Información general: igualdad de género</a:t>
            </a:r>
            <a:endParaRPr lang="x-es-XL" dirty="0"/>
          </a:p>
        </p:txBody>
      </p:sp>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54401" y="2522888"/>
            <a:ext cx="1432424" cy="1432424"/>
          </a:xfrm>
          <a:prstGeom prst="rect">
            <a:avLst/>
          </a:prstGeom>
        </p:spPr>
      </p:pic>
      <p:sp>
        <p:nvSpPr>
          <p:cNvPr id="2" name="TextBox 1"/>
          <p:cNvSpPr txBox="1"/>
          <p:nvPr/>
        </p:nvSpPr>
        <p:spPr>
          <a:xfrm>
            <a:off x="6811926" y="3040912"/>
            <a:ext cx="2381693" cy="1644492"/>
          </a:xfrm>
          <a:prstGeom prst="rect">
            <a:avLst/>
          </a:prstGeom>
          <a:noFill/>
        </p:spPr>
        <p:txBody>
          <a:bodyPr wrap="square" lIns="0" tIns="0" rIns="0" bIns="0" rtlCol="0">
            <a:noAutofit/>
          </a:bodyPr>
          <a:lstStyle/>
          <a:p>
            <a:pPr algn="l" rtl="0">
              <a:lnSpc>
                <a:spcPct val="110000"/>
              </a:lnSpc>
              <a:spcAft>
                <a:spcPts val="500"/>
              </a:spcAft>
            </a:pPr>
            <a:endParaRPr lang="x-es-XL" sz="1200" dirty="0" err="1"/>
          </a:p>
        </p:txBody>
      </p:sp>
      <p:sp>
        <p:nvSpPr>
          <p:cNvPr id="15" name="Textfeld 105"/>
          <p:cNvSpPr txBox="1"/>
          <p:nvPr/>
        </p:nvSpPr>
        <p:spPr>
          <a:xfrm>
            <a:off x="6231297" y="2682018"/>
            <a:ext cx="2524669" cy="923330"/>
          </a:xfrm>
          <a:prstGeom prst="rect">
            <a:avLst/>
          </a:prstGeom>
          <a:noFill/>
        </p:spPr>
        <p:txBody>
          <a:bodyPr wrap="square" lIns="0" tIns="0" rIns="0" bIns="0" rtlCol="0">
            <a:spAutoFit/>
          </a:bodyPr>
          <a:lstStyle/>
          <a:p>
            <a:pPr algn="l" rtl="0"/>
            <a:r>
              <a:rPr lang="x-es-XL" sz="1200" b="0" i="0" u="none" baseline="0"/>
              <a:t>Realizar actividades destinadas a empoderar a las niñas y a las mujeres jóvenes </a:t>
            </a:r>
            <a:r>
              <a:rPr lang="x-es-XL" sz="1200" b="0" i="0" u="none" baseline="0">
                <a:latin typeface="Arial"/>
                <a:ea typeface="Arial"/>
                <a:cs typeface="Arial"/>
              </a:rPr>
              <a:t>para que </a:t>
            </a:r>
            <a:r>
              <a:rPr lang="x-es-XL" sz="1200" b="1" i="0" u="none" baseline="0">
                <a:latin typeface="Arial"/>
                <a:ea typeface="Arial"/>
                <a:cs typeface="Arial"/>
              </a:rPr>
              <a:t>puedan aprovechar al máximo sus aptitudes y capacidades </a:t>
            </a:r>
            <a:r>
              <a:rPr lang="x-es-XL" sz="1200" b="0" i="0" u="none" kern="1000" baseline="0">
                <a:latin typeface="Arial"/>
                <a:ea typeface="Arial"/>
                <a:cs typeface="Arial"/>
              </a:rPr>
              <a:t>y así reducir la brecha de género en empleabilidad juvenil</a:t>
            </a:r>
            <a:endParaRPr lang="x-es-XL" sz="1200" dirty="0">
              <a:cs typeface="Arial"/>
            </a:endParaRPr>
          </a:p>
        </p:txBody>
      </p:sp>
      <p:pic>
        <p:nvPicPr>
          <p:cNvPr id="3" name="Grafik 2"/>
          <p:cNvPicPr>
            <a:picLocks noChangeAspect="1"/>
          </p:cNvPicPr>
          <p:nvPr/>
        </p:nvPicPr>
        <p:blipFill>
          <a:blip r:embed="rId7"/>
          <a:stretch>
            <a:fillRect/>
          </a:stretch>
        </p:blipFill>
        <p:spPr>
          <a:xfrm>
            <a:off x="3040912" y="1109327"/>
            <a:ext cx="6034289" cy="500330"/>
          </a:xfrm>
          <a:prstGeom prst="rect">
            <a:avLst/>
          </a:prstGeom>
        </p:spPr>
      </p:pic>
    </p:spTree>
    <p:extLst>
      <p:ext uri="{BB962C8B-B14F-4D97-AF65-F5344CB8AC3E}">
        <p14:creationId xmlns:p14="http://schemas.microsoft.com/office/powerpoint/2010/main" val="4022588110"/>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34"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pPr algn="l" rtl="0"/>
            <a:r>
              <a:rPr lang="x-es-XL" b="1" i="0" u="none" baseline="0"/>
              <a:t>PASO 1: Información general: Código de Conducta</a:t>
            </a:r>
            <a:endParaRPr lang="x-es-XL"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pPr algn="l" rtl="0"/>
            <a:r>
              <a:rPr lang="x-es-XL" b="0" i="0" u="none" baseline="0"/>
              <a:t>DPDHL Group | Manual de redacción de informes para GoTeach | Enero de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15</a:t>
            </a:fld>
            <a:endParaRPr lang="x-es-XL"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11" name="Picture 10"/>
          <p:cNvPicPr>
            <a:picLocks noChangeAspect="1"/>
          </p:cNvPicPr>
          <p:nvPr/>
        </p:nvPicPr>
        <p:blipFill rotWithShape="1">
          <a:blip r:embed="rId5"/>
          <a:srcRect t="45560"/>
          <a:stretch/>
        </p:blipFill>
        <p:spPr>
          <a:xfrm>
            <a:off x="323999" y="1462641"/>
            <a:ext cx="3600953" cy="560103"/>
          </a:xfrm>
          <a:prstGeom prst="rect">
            <a:avLst/>
          </a:prstGeom>
          <a:effectLst>
            <a:outerShdw blurRad="50800" dist="38100" algn="l" rotWithShape="0">
              <a:prstClr val="black">
                <a:alpha val="40000"/>
              </a:prstClr>
            </a:outerShdw>
          </a:effectLst>
        </p:spPr>
      </p:pic>
      <p:pic>
        <p:nvPicPr>
          <p:cNvPr id="16" name="Picture 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49781" y="1462641"/>
            <a:ext cx="1700014" cy="3400027"/>
          </a:xfrm>
          <a:prstGeom prst="rect">
            <a:avLst/>
          </a:prstGeom>
        </p:spPr>
      </p:pic>
      <p:sp>
        <p:nvSpPr>
          <p:cNvPr id="17" name="Oval Callout 16"/>
          <p:cNvSpPr/>
          <p:nvPr/>
        </p:nvSpPr>
        <p:spPr>
          <a:xfrm flipH="1">
            <a:off x="4859104" y="1071524"/>
            <a:ext cx="2587260" cy="1709271"/>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rtl="0">
              <a:spcAft>
                <a:spcPts val="375"/>
              </a:spcAft>
            </a:pPr>
            <a:r>
              <a:rPr lang="x-es-XL" sz="1100" b="1" i="0" u="none" baseline="0" dirty="0">
                <a:solidFill>
                  <a:schemeClr val="tx1"/>
                </a:solidFill>
              </a:rPr>
              <a:t>Relevante únicamente para las actividades con SOS:</a:t>
            </a:r>
            <a:r>
              <a:rPr lang="x-es-XL" sz="1100" b="0" i="0" u="none" baseline="0" dirty="0">
                <a:solidFill>
                  <a:schemeClr val="tx1"/>
                </a:solidFill>
              </a:rPr>
              <a:t>	</a:t>
            </a:r>
          </a:p>
          <a:p>
            <a:pPr algn="ctr" rtl="0">
              <a:spcAft>
                <a:spcPts val="375"/>
              </a:spcAft>
            </a:pPr>
            <a:r>
              <a:rPr lang="x-es-XL" sz="1100" b="0" i="0" u="none" baseline="0" dirty="0">
                <a:solidFill>
                  <a:schemeClr val="tx1"/>
                </a:solidFill>
              </a:rPr>
              <a:t>Deberás haber completado la capacitación sobre el Código de Conducta.</a:t>
            </a:r>
          </a:p>
        </p:txBody>
      </p:sp>
      <p:sp>
        <p:nvSpPr>
          <p:cNvPr id="14" name="Content Placeholder 5">
            <a:extLst>
              <a:ext uri="{FF2B5EF4-FFF2-40B4-BE49-F238E27FC236}">
                <a16:creationId xmlns:a16="http://schemas.microsoft.com/office/drawing/2014/main" id="{26E948DC-A59B-4A39-BF1E-E43D60D11028}"/>
              </a:ext>
            </a:extLst>
          </p:cNvPr>
          <p:cNvSpPr txBox="1">
            <a:spLocks/>
          </p:cNvSpPr>
          <p:nvPr/>
        </p:nvSpPr>
        <p:spPr>
          <a:xfrm>
            <a:off x="980083" y="1479311"/>
            <a:ext cx="1667626" cy="298885"/>
          </a:xfrm>
          <a:prstGeom prst="rect">
            <a:avLst/>
          </a:prstGeom>
        </p:spPr>
        <p:txBody>
          <a:bodyPr vert="horz" lIns="0" tIns="0" rIns="0" bIns="0" rtlCol="0">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l" rtl="0">
              <a:spcAft>
                <a:spcPts val="375"/>
              </a:spcAft>
            </a:pPr>
            <a:endParaRPr lang="x-es-XL" dirty="0">
              <a:solidFill>
                <a:srgbClr val="FF0000"/>
              </a:solidFill>
            </a:endParaRPr>
          </a:p>
        </p:txBody>
      </p:sp>
      <p:sp>
        <p:nvSpPr>
          <p:cNvPr id="2" name="TextBox 1"/>
          <p:cNvSpPr txBox="1"/>
          <p:nvPr/>
        </p:nvSpPr>
        <p:spPr>
          <a:xfrm>
            <a:off x="4352258" y="1785534"/>
            <a:ext cx="3600953" cy="432391"/>
          </a:xfrm>
          <a:prstGeom prst="rect">
            <a:avLst/>
          </a:prstGeom>
          <a:noFill/>
        </p:spPr>
        <p:txBody>
          <a:bodyPr wrap="square" lIns="0" tIns="0" rIns="0" bIns="0" rtlCol="0">
            <a:noAutofit/>
          </a:bodyPr>
          <a:lstStyle/>
          <a:p>
            <a:pPr algn="l" rtl="0">
              <a:lnSpc>
                <a:spcPct val="110000"/>
              </a:lnSpc>
              <a:spcAft>
                <a:spcPts val="500"/>
              </a:spcAft>
            </a:pPr>
            <a:endParaRPr lang="x-es-XL" sz="1100" dirty="0"/>
          </a:p>
        </p:txBody>
      </p:sp>
      <p:sp>
        <p:nvSpPr>
          <p:cNvPr id="3" name="Rectangle 2"/>
          <p:cNvSpPr/>
          <p:nvPr/>
        </p:nvSpPr>
        <p:spPr>
          <a:xfrm>
            <a:off x="0" y="2379874"/>
            <a:ext cx="4572000" cy="1131079"/>
          </a:xfrm>
          <a:prstGeom prst="rect">
            <a:avLst/>
          </a:prstGeom>
        </p:spPr>
        <p:txBody>
          <a:bodyPr>
            <a:spAutoFit/>
          </a:bodyPr>
          <a:lstStyle/>
          <a:p>
            <a:pPr algn="ctr" rtl="0">
              <a:spcAft>
                <a:spcPts val="375"/>
              </a:spcAft>
            </a:pPr>
            <a:r>
              <a:rPr lang="x-es-XL" b="0" i="0" u="none" baseline="0"/>
              <a:t>El objetivo de un código de conducta es garantizar que todos los colegas de DHL que participan en un programa o una actividad de GoTeach comprendan la importancia de proteger a los niños y jóvenes a los que ayudamos en el programa GoTeach, a nuestros colegas y a nosotros mismos.</a:t>
            </a:r>
            <a:endParaRPr lang="x-es-XL" sz="1200" dirty="0"/>
          </a:p>
        </p:txBody>
      </p:sp>
    </p:spTree>
    <p:extLst>
      <p:ext uri="{BB962C8B-B14F-4D97-AF65-F5344CB8AC3E}">
        <p14:creationId xmlns:p14="http://schemas.microsoft.com/office/powerpoint/2010/main" val="2733688594"/>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pic>
        <p:nvPicPr>
          <p:cNvPr id="5" name="Grafik 4"/>
          <p:cNvPicPr>
            <a:picLocks noChangeAspect="1"/>
          </p:cNvPicPr>
          <p:nvPr/>
        </p:nvPicPr>
        <p:blipFill>
          <a:blip r:embed="rId4"/>
          <a:stretch>
            <a:fillRect/>
          </a:stretch>
        </p:blipFill>
        <p:spPr>
          <a:xfrm>
            <a:off x="323999" y="1058977"/>
            <a:ext cx="2577140" cy="3283861"/>
          </a:xfrm>
          <a:prstGeom prst="rect">
            <a:avLst/>
          </a:prstGeom>
        </p:spPr>
      </p:pic>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pPr algn="l" rtl="0"/>
            <a:r>
              <a:rPr lang="x-es-XL" b="1" i="0" u="none" baseline="0"/>
              <a:t>PASO 1: Información general</a:t>
            </a:r>
            <a:endParaRPr lang="x-es-XL"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pPr algn="l" rtl="0"/>
            <a:r>
              <a:rPr lang="x-es-XL" b="0" i="0" u="none" baseline="0"/>
              <a:t>DPDHL Group | Manual de redacción de informes para GoTeach | Enero de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16</a:t>
            </a:fld>
            <a:endParaRPr lang="x-es-XL" dirty="0"/>
          </a:p>
        </p:txBody>
      </p:sp>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2183" y="1171905"/>
            <a:ext cx="1685286" cy="3370572"/>
          </a:xfrm>
          <a:prstGeom prst="rect">
            <a:avLst/>
          </a:prstGeom>
        </p:spPr>
      </p:pic>
      <p:sp>
        <p:nvSpPr>
          <p:cNvPr id="8" name="Oval Callout 7"/>
          <p:cNvSpPr/>
          <p:nvPr/>
        </p:nvSpPr>
        <p:spPr>
          <a:xfrm flipH="1">
            <a:off x="4811464" y="1003873"/>
            <a:ext cx="2111056" cy="1565000"/>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rtl="0">
              <a:spcAft>
                <a:spcPts val="375"/>
              </a:spcAft>
            </a:pPr>
            <a:r>
              <a:rPr lang="x-es-XL" sz="1100" b="0" i="0" u="none" baseline="0" dirty="0">
                <a:solidFill>
                  <a:schemeClr val="tx1"/>
                </a:solidFill>
                <a:latin typeface="Delivery" panose="020F0503020204020204" pitchFamily="34" charset="0"/>
                <a:ea typeface="Delivery" panose="020F0503020204020204" pitchFamily="34" charset="0"/>
                <a:cs typeface="Delivery" panose="020F0503020204020204" pitchFamily="34" charset="0"/>
              </a:rPr>
              <a:t>Área de gestión o división: indica tu departamento (departamento del voluntario que rellena el informe del proyecto)</a:t>
            </a:r>
            <a:endParaRPr lang="x-es-XL" sz="1100" dirty="0">
              <a:solidFill>
                <a:schemeClr val="tx1"/>
              </a:solidFill>
            </a:endParaRPr>
          </a:p>
        </p:txBody>
      </p:sp>
      <p:sp>
        <p:nvSpPr>
          <p:cNvPr id="11" name="Rectangle 10"/>
          <p:cNvSpPr/>
          <p:nvPr/>
        </p:nvSpPr>
        <p:spPr>
          <a:xfrm>
            <a:off x="323999" y="4056565"/>
            <a:ext cx="2362494" cy="286273"/>
          </a:xfrm>
          <a:prstGeom prst="rect">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rtl="0"/>
            <a:endParaRPr lang="x-es-XL" sz="1200" dirty="0" err="1">
              <a:solidFill>
                <a:schemeClr val="tx1"/>
              </a:solidFill>
            </a:endParaRPr>
          </a:p>
        </p:txBody>
      </p:sp>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979677" y="2529652"/>
            <a:ext cx="479596" cy="959192"/>
          </a:xfrm>
          <a:prstGeom prst="rect">
            <a:avLst/>
          </a:prstGeom>
        </p:spPr>
      </p:pic>
      <p:sp>
        <p:nvSpPr>
          <p:cNvPr id="13" name="Oval Callout 12"/>
          <p:cNvSpPr/>
          <p:nvPr/>
        </p:nvSpPr>
        <p:spPr>
          <a:xfrm>
            <a:off x="2963091" y="1545265"/>
            <a:ext cx="1672704" cy="1239020"/>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rtl="0">
              <a:spcAft>
                <a:spcPts val="375"/>
              </a:spcAft>
            </a:pPr>
            <a:r>
              <a:rPr lang="x-es-XL" sz="1200" b="0" i="0" u="none" baseline="0">
                <a:solidFill>
                  <a:schemeClr val="tx1"/>
                </a:solidFill>
              </a:rPr>
              <a:t>Indica la duración de tu proyecto: 1, 2-5, 6-19 o &gt;20 días. </a:t>
            </a:r>
          </a:p>
        </p:txBody>
      </p:sp>
      <p:sp>
        <p:nvSpPr>
          <p:cNvPr id="14" name="Rectangle 13"/>
          <p:cNvSpPr/>
          <p:nvPr/>
        </p:nvSpPr>
        <p:spPr>
          <a:xfrm>
            <a:off x="323999" y="3714552"/>
            <a:ext cx="2362494" cy="286273"/>
          </a:xfrm>
          <a:prstGeom prst="rect">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rtl="0"/>
            <a:endParaRPr lang="x-es-XL" sz="1200" dirty="0" err="1">
              <a:solidFill>
                <a:schemeClr val="tx1"/>
              </a:solidFill>
            </a:endParaRPr>
          </a:p>
        </p:txBody>
      </p:sp>
      <p:cxnSp>
        <p:nvCxnSpPr>
          <p:cNvPr id="6" name="Straight Connector 5"/>
          <p:cNvCxnSpPr/>
          <p:nvPr/>
        </p:nvCxnSpPr>
        <p:spPr>
          <a:xfrm flipV="1">
            <a:off x="2686493" y="3310270"/>
            <a:ext cx="439479" cy="559981"/>
          </a:xfrm>
          <a:prstGeom prst="line">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cxnSp>
      <p:cxnSp>
        <p:nvCxnSpPr>
          <p:cNvPr id="17" name="Straight Connector 16"/>
          <p:cNvCxnSpPr/>
          <p:nvPr/>
        </p:nvCxnSpPr>
        <p:spPr>
          <a:xfrm flipV="1">
            <a:off x="2686493" y="3844056"/>
            <a:ext cx="2915690" cy="391646"/>
          </a:xfrm>
          <a:prstGeom prst="line">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973286111"/>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pPr algn="l" rtl="0"/>
            <a:r>
              <a:rPr lang="x-es-XL" b="1" i="0" u="none" baseline="0"/>
              <a:t>PASO 2: Información sobre el proyecto</a:t>
            </a:r>
            <a:endParaRPr lang="x-es-XL"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pPr algn="l" rtl="0"/>
            <a:r>
              <a:rPr lang="x-es-XL" b="0" i="0" u="none" baseline="0"/>
              <a:t>DPDHL Group | Manual de redacción de informes para GoTeach | Enero de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17</a:t>
            </a:fld>
            <a:endParaRPr lang="x-es-XL"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sp>
        <p:nvSpPr>
          <p:cNvPr id="14" name="Oval Callout 13"/>
          <p:cNvSpPr/>
          <p:nvPr/>
        </p:nvSpPr>
        <p:spPr>
          <a:xfrm>
            <a:off x="323999" y="1015173"/>
            <a:ext cx="3036811" cy="2494140"/>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rtl="0">
              <a:spcAft>
                <a:spcPts val="375"/>
              </a:spcAft>
            </a:pPr>
            <a:r>
              <a:rPr lang="x-es-XL" sz="1050" b="0" i="0" u="none" baseline="0">
                <a:solidFill>
                  <a:schemeClr val="tx1"/>
                </a:solidFill>
              </a:rPr>
              <a:t>Indica un breve resumen del proyecto. ¿Cuál es el objetivo del proyecto? ¿Qué impacto tiene en la sociedad/el entorno? ¿Cuáles fueron las medidas realizadas? ¿Qué tiene de especial tu proyecto? ¿Cuáles son las tareas de los voluntarios en el proyecto? ¿De qué manera ofrecen apoyo concreto? ¿Cuáles son las aptitudes y fortalezas que aportan los voluntarios al proyecto?</a:t>
            </a:r>
            <a:endParaRPr lang="x-es-XL" sz="1050" dirty="0">
              <a:solidFill>
                <a:schemeClr val="tx1"/>
              </a:solidFill>
            </a:endParaRPr>
          </a:p>
        </p:txBody>
      </p:sp>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302328" y="2637520"/>
            <a:ext cx="1040362" cy="2080724"/>
          </a:xfrm>
          <a:prstGeom prst="rect">
            <a:avLst/>
          </a:prstGeom>
        </p:spPr>
      </p:pic>
      <p:pic>
        <p:nvPicPr>
          <p:cNvPr id="16" name="Picture 15"/>
          <p:cNvPicPr>
            <a:picLocks noChangeAspect="1"/>
          </p:cNvPicPr>
          <p:nvPr/>
        </p:nvPicPr>
        <p:blipFill>
          <a:blip r:embed="rId6">
            <a:extLst>
              <a:ext uri="{BEBA8EAE-BF5A-486C-A8C5-ECC9F3942E4B}">
                <a14:imgProps xmlns:a14="http://schemas.microsoft.com/office/drawing/2010/main">
                  <a14:imgLayer r:embed="rId7">
                    <a14:imgEffect>
                      <a14:backgroundRemoval t="2660" b="98320" l="4104" r="97240"/>
                    </a14:imgEffect>
                  </a14:imgLayer>
                </a14:imgProps>
              </a:ext>
              <a:ext uri="{28A0092B-C50C-407E-A947-70E740481C1C}">
                <a14:useLocalDpi xmlns:a14="http://schemas.microsoft.com/office/drawing/2010/main" val="0"/>
              </a:ext>
            </a:extLst>
          </a:blip>
          <a:stretch>
            <a:fillRect/>
          </a:stretch>
        </p:blipFill>
        <p:spPr>
          <a:xfrm>
            <a:off x="7250483" y="3172795"/>
            <a:ext cx="1271804" cy="1526043"/>
          </a:xfrm>
          <a:prstGeom prst="rect">
            <a:avLst/>
          </a:prstGeom>
        </p:spPr>
      </p:pic>
      <p:sp>
        <p:nvSpPr>
          <p:cNvPr id="17" name="Oval Callout 16"/>
          <p:cNvSpPr/>
          <p:nvPr/>
        </p:nvSpPr>
        <p:spPr>
          <a:xfrm flipH="1">
            <a:off x="6152706" y="2232239"/>
            <a:ext cx="1883042" cy="1113473"/>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rtl="0">
              <a:spcAft>
                <a:spcPts val="375"/>
              </a:spcAft>
            </a:pPr>
            <a:r>
              <a:rPr lang="x-es-XL" sz="1000" b="0" i="0" u="none" baseline="0" dirty="0">
                <a:solidFill>
                  <a:schemeClr val="tx1"/>
                </a:solidFill>
                <a:latin typeface="Delivery" panose="020F0503020204020204" pitchFamily="34" charset="0"/>
                <a:ea typeface="Delivery" panose="020F0503020204020204" pitchFamily="34" charset="0"/>
                <a:cs typeface="Delivery" panose="020F0503020204020204" pitchFamily="34" charset="0"/>
              </a:rPr>
              <a:t>Describe brevemente a tu organización contraparte y los objetivos generales de la misma.</a:t>
            </a:r>
          </a:p>
        </p:txBody>
      </p:sp>
      <p:pic>
        <p:nvPicPr>
          <p:cNvPr id="3" name="Grafik 2"/>
          <p:cNvPicPr>
            <a:picLocks noChangeAspect="1"/>
          </p:cNvPicPr>
          <p:nvPr/>
        </p:nvPicPr>
        <p:blipFill>
          <a:blip r:embed="rId8"/>
          <a:stretch>
            <a:fillRect/>
          </a:stretch>
        </p:blipFill>
        <p:spPr>
          <a:xfrm>
            <a:off x="3382481" y="1030086"/>
            <a:ext cx="2687628" cy="3622923"/>
          </a:xfrm>
          <a:prstGeom prst="rect">
            <a:avLst/>
          </a:prstGeom>
        </p:spPr>
      </p:pic>
    </p:spTree>
    <p:extLst>
      <p:ext uri="{BB962C8B-B14F-4D97-AF65-F5344CB8AC3E}">
        <p14:creationId xmlns:p14="http://schemas.microsoft.com/office/powerpoint/2010/main" val="3914776752"/>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pPr algn="l" rtl="0"/>
            <a:r>
              <a:rPr lang="x-es-XL" b="1" i="0" u="none" baseline="0"/>
              <a:t>PASO 3: Número de voluntarios de las divisiones</a:t>
            </a:r>
            <a:endParaRPr lang="x-es-XL"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pPr algn="l" rtl="0"/>
            <a:r>
              <a:rPr lang="x-es-XL" b="0" i="0" u="none" baseline="0"/>
              <a:t>DPDHL Group | Manual de redacción de informes para GoTeach | Enero de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18</a:t>
            </a:fld>
            <a:endParaRPr lang="x-es-XL"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97305" y="-596334"/>
            <a:ext cx="2571750" cy="5143500"/>
          </a:xfrm>
          <a:prstGeom prst="rect">
            <a:avLst/>
          </a:prstGeom>
        </p:spPr>
      </p:pic>
      <p:sp>
        <p:nvSpPr>
          <p:cNvPr id="8" name="Oval Callout 7"/>
          <p:cNvSpPr/>
          <p:nvPr/>
        </p:nvSpPr>
        <p:spPr>
          <a:xfrm flipH="1">
            <a:off x="4182137" y="1800447"/>
            <a:ext cx="2388781" cy="956813"/>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rtl="0">
              <a:spcAft>
                <a:spcPts val="375"/>
              </a:spcAft>
            </a:pPr>
            <a:r>
              <a:rPr lang="x-es-XL" sz="1050" b="0" i="0" u="none" baseline="0">
                <a:solidFill>
                  <a:schemeClr val="tx1"/>
                </a:solidFill>
                <a:latin typeface="Delivery" panose="020F0503020204020204" pitchFamily="34" charset="0"/>
                <a:ea typeface="Delivery" panose="020F0503020204020204" pitchFamily="34" charset="0"/>
                <a:cs typeface="Delivery" panose="020F0503020204020204" pitchFamily="34" charset="0"/>
              </a:rPr>
              <a:t>Introduce el número de voluntarios de cada unidad organizativa. </a:t>
            </a:r>
          </a:p>
        </p:txBody>
      </p:sp>
      <p:pic>
        <p:nvPicPr>
          <p:cNvPr id="3" name="Grafik 2"/>
          <p:cNvPicPr>
            <a:picLocks noChangeAspect="1"/>
          </p:cNvPicPr>
          <p:nvPr/>
        </p:nvPicPr>
        <p:blipFill>
          <a:blip r:embed="rId6"/>
          <a:stretch>
            <a:fillRect/>
          </a:stretch>
        </p:blipFill>
        <p:spPr>
          <a:xfrm>
            <a:off x="547884" y="976753"/>
            <a:ext cx="2479318" cy="3570413"/>
          </a:xfrm>
          <a:prstGeom prst="rect">
            <a:avLst/>
          </a:prstGeom>
        </p:spPr>
      </p:pic>
    </p:spTree>
    <p:extLst>
      <p:ext uri="{BB962C8B-B14F-4D97-AF65-F5344CB8AC3E}">
        <p14:creationId xmlns:p14="http://schemas.microsoft.com/office/powerpoint/2010/main" val="247403723"/>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a:xfrm>
            <a:off x="324001" y="385163"/>
            <a:ext cx="6481402" cy="493950"/>
          </a:xfrm>
        </p:spPr>
        <p:txBody>
          <a:bodyPr/>
          <a:lstStyle/>
          <a:p>
            <a:pPr algn="l" rtl="0"/>
            <a:r>
              <a:rPr lang="x-es-XL" b="1" i="0" u="none" baseline="0" dirty="0"/>
              <a:t>PASO 4: Información adicional para actividades de recaudación de fondos</a:t>
            </a:r>
            <a:endParaRPr lang="x-es-XL"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pPr algn="l" rtl="0"/>
            <a:r>
              <a:rPr lang="x-es-XL" b="0" i="0" u="none" baseline="0"/>
              <a:t>DPDHL Group | Manual de redacción de informes para GoTeach | Enero de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19</a:t>
            </a:fld>
            <a:endParaRPr lang="x-es-XL"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sp>
        <p:nvSpPr>
          <p:cNvPr id="3" name="Oval Callout 2"/>
          <p:cNvSpPr/>
          <p:nvPr/>
        </p:nvSpPr>
        <p:spPr>
          <a:xfrm>
            <a:off x="5754971" y="1077715"/>
            <a:ext cx="2154865" cy="1226288"/>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rtl="0"/>
            <a:endParaRPr lang="x-es-XL" sz="1200" dirty="0">
              <a:solidFill>
                <a:schemeClr val="tx1"/>
              </a:solidFill>
            </a:endParaRPr>
          </a:p>
          <a:p>
            <a:pPr algn="ctr" rtl="0"/>
            <a:r>
              <a:rPr lang="x-es-XL" sz="1200" b="0" i="0" u="none" baseline="0" dirty="0">
                <a:solidFill>
                  <a:schemeClr val="tx1"/>
                </a:solidFill>
              </a:rPr>
              <a:t>Donaciones económicas a las organizaciones en euros.</a:t>
            </a:r>
            <a:endParaRPr lang="x-es-XL" sz="1200" dirty="0">
              <a:solidFill>
                <a:schemeClr val="tx1"/>
              </a:solidFill>
            </a:endParaRPr>
          </a:p>
        </p:txBody>
      </p:sp>
      <p:pic>
        <p:nvPicPr>
          <p:cNvPr id="5" name="Picture 4"/>
          <p:cNvPicPr>
            <a:picLocks noChangeAspect="1"/>
          </p:cNvPicPr>
          <p:nvPr/>
        </p:nvPicPr>
        <p:blipFill>
          <a:blip r:embed="rId5">
            <a:extLst>
              <a:ext uri="{BEBA8EAE-BF5A-486C-A8C5-ECC9F3942E4B}">
                <a14:imgProps xmlns:a14="http://schemas.microsoft.com/office/drawing/2010/main">
                  <a14:imgLayer r:embed="rId6">
                    <a14:imgEffect>
                      <a14:backgroundRemoval t="980" b="100000" l="7703" r="93329"/>
                    </a14:imgEffect>
                  </a14:imgLayer>
                </a14:imgProps>
              </a:ext>
              <a:ext uri="{28A0092B-C50C-407E-A947-70E740481C1C}">
                <a14:useLocalDpi xmlns:a14="http://schemas.microsoft.com/office/drawing/2010/main" val="0"/>
              </a:ext>
            </a:extLst>
          </a:blip>
          <a:stretch>
            <a:fillRect/>
          </a:stretch>
        </p:blipFill>
        <p:spPr>
          <a:xfrm>
            <a:off x="4571999" y="1690859"/>
            <a:ext cx="1998136" cy="2397571"/>
          </a:xfrm>
          <a:prstGeom prst="rect">
            <a:avLst/>
          </a:prstGeom>
        </p:spPr>
      </p:pic>
      <p:pic>
        <p:nvPicPr>
          <p:cNvPr id="6" name="Grafik 5"/>
          <p:cNvPicPr>
            <a:picLocks noChangeAspect="1"/>
          </p:cNvPicPr>
          <p:nvPr/>
        </p:nvPicPr>
        <p:blipFill>
          <a:blip r:embed="rId7"/>
          <a:stretch>
            <a:fillRect/>
          </a:stretch>
        </p:blipFill>
        <p:spPr>
          <a:xfrm>
            <a:off x="529310" y="1690859"/>
            <a:ext cx="4042689" cy="2143956"/>
          </a:xfrm>
          <a:prstGeom prst="rect">
            <a:avLst/>
          </a:prstGeom>
        </p:spPr>
      </p:pic>
    </p:spTree>
    <p:extLst>
      <p:ext uri="{BB962C8B-B14F-4D97-AF65-F5344CB8AC3E}">
        <p14:creationId xmlns:p14="http://schemas.microsoft.com/office/powerpoint/2010/main" val="2917256834"/>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3247EEC-B9A4-451B-AC04-75D8C26B7793}"/>
              </a:ext>
            </a:extLst>
          </p:cNvPr>
          <p:cNvSpPr>
            <a:spLocks noGrp="1"/>
          </p:cNvSpPr>
          <p:nvPr>
            <p:ph type="title"/>
          </p:nvPr>
        </p:nvSpPr>
        <p:spPr/>
        <p:txBody>
          <a:bodyPr/>
          <a:lstStyle/>
          <a:p>
            <a:pPr algn="l" rtl="0"/>
            <a:r>
              <a:rPr lang="x-es-XL" b="1" i="0" u="none" baseline="0"/>
              <a:t>Programa</a:t>
            </a:r>
          </a:p>
        </p:txBody>
      </p:sp>
      <p:sp>
        <p:nvSpPr>
          <p:cNvPr id="4" name="Slide Number Placeholder 3">
            <a:extLst>
              <a:ext uri="{FF2B5EF4-FFF2-40B4-BE49-F238E27FC236}">
                <a16:creationId xmlns:a16="http://schemas.microsoft.com/office/drawing/2014/main" id="{1E4C86B5-FFBA-4256-BFE1-57E43E97137D}"/>
              </a:ext>
            </a:extLst>
          </p:cNvPr>
          <p:cNvSpPr>
            <a:spLocks noGrp="1"/>
          </p:cNvSpPr>
          <p:nvPr>
            <p:ph type="sldNum" sz="quarter" idx="11"/>
          </p:nvPr>
        </p:nvSpPr>
        <p:spPr/>
        <p:txBody>
          <a:bodyPr/>
          <a:lstStyle/>
          <a:p>
            <a:pPr algn="r" rtl="0"/>
            <a:fld id="{C2245BC1-4D7B-4ED3-8F01-840FA35126C6}" type="slidenum">
              <a:rPr/>
              <a:pPr/>
              <a:t>2</a:t>
            </a:fld>
            <a:endParaRPr lang="x-es-XL" dirty="0"/>
          </a:p>
        </p:txBody>
      </p:sp>
      <p:graphicFrame>
        <p:nvGraphicFramePr>
          <p:cNvPr id="12" name="Table 12">
            <a:extLst>
              <a:ext uri="{FF2B5EF4-FFF2-40B4-BE49-F238E27FC236}">
                <a16:creationId xmlns:a16="http://schemas.microsoft.com/office/drawing/2014/main" id="{655A3FC9-30FA-4A27-9F98-93393205A648}"/>
              </a:ext>
            </a:extLst>
          </p:cNvPr>
          <p:cNvGraphicFramePr>
            <a:graphicFrameLocks noGrp="1"/>
          </p:cNvGraphicFramePr>
          <p:nvPr>
            <p:ph sz="quarter" idx="14"/>
            <p:extLst>
              <p:ext uri="{D42A27DB-BD31-4B8C-83A1-F6EECF244321}">
                <p14:modId xmlns:p14="http://schemas.microsoft.com/office/powerpoint/2010/main" val="3135936614"/>
              </p:ext>
            </p:extLst>
          </p:nvPr>
        </p:nvGraphicFramePr>
        <p:xfrm>
          <a:off x="323850" y="1150938"/>
          <a:ext cx="8496149" cy="3530600"/>
        </p:xfrm>
        <a:graphic>
          <a:graphicData uri="http://schemas.openxmlformats.org/drawingml/2006/table">
            <a:tbl>
              <a:tblPr firstRow="1" bandRow="1">
                <a:tableStyleId>{09810C2D-2C2F-4581-8AFF-CD78C2D722A2}</a:tableStyleId>
              </a:tblPr>
              <a:tblGrid>
                <a:gridCol w="447359">
                  <a:extLst>
                    <a:ext uri="{9D8B030D-6E8A-4147-A177-3AD203B41FA5}">
                      <a16:colId xmlns:a16="http://schemas.microsoft.com/office/drawing/2014/main" val="195205509"/>
                    </a:ext>
                  </a:extLst>
                </a:gridCol>
                <a:gridCol w="8048790">
                  <a:extLst>
                    <a:ext uri="{9D8B030D-6E8A-4147-A177-3AD203B41FA5}">
                      <a16:colId xmlns:a16="http://schemas.microsoft.com/office/drawing/2014/main" val="3668394721"/>
                    </a:ext>
                  </a:extLst>
                </a:gridCol>
              </a:tblGrid>
              <a:tr h="706120">
                <a:tc>
                  <a:txBody>
                    <a:bodyPr/>
                    <a:lstStyle/>
                    <a:p>
                      <a:pPr algn="l" rtl="0"/>
                      <a:r>
                        <a:rPr lang="x-es-XL" sz="1500" b="1" i="0" u="none" baseline="0">
                          <a:solidFill>
                            <a:schemeClr val="tx1"/>
                          </a:solidFill>
                        </a:rPr>
                        <a:t>1</a:t>
                      </a:r>
                    </a:p>
                  </a:txBody>
                  <a:tcPr marL="72000" marR="72000" marT="72000" marB="72000" anchor="ctr">
                    <a:solidFill>
                      <a:schemeClr val="bg1"/>
                    </a:solidFill>
                  </a:tcPr>
                </a:tc>
                <a:tc>
                  <a:txBody>
                    <a:bodyPr/>
                    <a:lstStyle/>
                    <a:p>
                      <a:pPr algn="l" rtl="0"/>
                      <a:r>
                        <a:rPr lang="x-es-XL" sz="1500" b="0" i="0" u="none" baseline="0">
                          <a:solidFill>
                            <a:schemeClr val="tx1"/>
                          </a:solidFill>
                        </a:rPr>
                        <a:t>¿Qué es la plataforma MyVolunteering?</a:t>
                      </a:r>
                      <a:endParaRPr lang="x-es-XL" sz="1500" b="0" dirty="0">
                        <a:solidFill>
                          <a:schemeClr val="tx1"/>
                        </a:solidFill>
                      </a:endParaRPr>
                    </a:p>
                  </a:txBody>
                  <a:tcPr marL="72000" marR="72000" marT="72000" marB="72000" anchor="ctr">
                    <a:solidFill>
                      <a:schemeClr val="bg1"/>
                    </a:solidFill>
                  </a:tcPr>
                </a:tc>
                <a:extLst>
                  <a:ext uri="{0D108BD9-81ED-4DB2-BD59-A6C34878D82A}">
                    <a16:rowId xmlns:a16="http://schemas.microsoft.com/office/drawing/2014/main" val="2928387267"/>
                  </a:ext>
                </a:extLst>
              </a:tr>
              <a:tr h="706120">
                <a:tc>
                  <a:txBody>
                    <a:bodyPr/>
                    <a:lstStyle/>
                    <a:p>
                      <a:pPr algn="l" rtl="0"/>
                      <a:r>
                        <a:rPr lang="x-es-XL" sz="1500" b="1" i="0" u="none" baseline="0">
                          <a:solidFill>
                            <a:schemeClr val="tx1"/>
                          </a:solidFill>
                        </a:rPr>
                        <a:t>2</a:t>
                      </a:r>
                    </a:p>
                  </a:txBody>
                  <a:tcPr marL="72000" marR="72000" marT="72000" marB="72000"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x-es-XL" sz="1500" b="0" i="0" u="none" baseline="0">
                          <a:solidFill>
                            <a:schemeClr val="tx1"/>
                          </a:solidFill>
                        </a:rPr>
                        <a:t>Requerimientos para la redacción de informes</a:t>
                      </a:r>
                    </a:p>
                  </a:txBody>
                  <a:tcPr marL="72000" marR="72000" marT="72000" marB="72000" anchor="ctr"/>
                </a:tc>
                <a:extLst>
                  <a:ext uri="{0D108BD9-81ED-4DB2-BD59-A6C34878D82A}">
                    <a16:rowId xmlns:a16="http://schemas.microsoft.com/office/drawing/2014/main" val="38596448"/>
                  </a:ext>
                </a:extLst>
              </a:tr>
              <a:tr h="706120">
                <a:tc>
                  <a:txBody>
                    <a:bodyPr/>
                    <a:lstStyle/>
                    <a:p>
                      <a:pPr algn="l" rtl="0"/>
                      <a:r>
                        <a:rPr lang="x-es-XL" sz="1500" b="1" i="0" u="none" baseline="0">
                          <a:solidFill>
                            <a:schemeClr val="tx1"/>
                          </a:solidFill>
                        </a:rPr>
                        <a:t>3</a:t>
                      </a:r>
                    </a:p>
                  </a:txBody>
                  <a:tcPr marL="72000" marR="72000" marT="72000" marB="72000"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x-es-XL" sz="1500" b="0" i="0" u="none" baseline="0">
                          <a:solidFill>
                            <a:schemeClr val="tx1"/>
                          </a:solidFill>
                        </a:rPr>
                        <a:t>Actividades</a:t>
                      </a:r>
                    </a:p>
                  </a:txBody>
                  <a:tcPr marL="72000" marR="72000" marT="72000" marB="72000" anchor="ctr"/>
                </a:tc>
                <a:extLst>
                  <a:ext uri="{0D108BD9-81ED-4DB2-BD59-A6C34878D82A}">
                    <a16:rowId xmlns:a16="http://schemas.microsoft.com/office/drawing/2014/main" val="1727171639"/>
                  </a:ext>
                </a:extLst>
              </a:tr>
              <a:tr h="706120">
                <a:tc>
                  <a:txBody>
                    <a:bodyPr/>
                    <a:lstStyle/>
                    <a:p>
                      <a:pPr algn="l" rtl="0"/>
                      <a:r>
                        <a:rPr lang="x-es-XL" sz="1500" b="1" i="0" u="none" baseline="0">
                          <a:solidFill>
                            <a:schemeClr val="tx1"/>
                          </a:solidFill>
                        </a:rPr>
                        <a:t>4</a:t>
                      </a:r>
                    </a:p>
                  </a:txBody>
                  <a:tcPr marL="72000" marR="72000" marT="72000" marB="72000"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x-es-XL" sz="1500" b="0" i="0" u="none" baseline="0">
                          <a:solidFill>
                            <a:schemeClr val="tx1"/>
                          </a:solidFill>
                        </a:rPr>
                        <a:t>Tutorial: cómo emplear el micrositio para redactar informes</a:t>
                      </a:r>
                    </a:p>
                  </a:txBody>
                  <a:tcPr marL="72000" marR="72000" marT="72000" marB="72000" anchor="ctr"/>
                </a:tc>
                <a:extLst>
                  <a:ext uri="{0D108BD9-81ED-4DB2-BD59-A6C34878D82A}">
                    <a16:rowId xmlns:a16="http://schemas.microsoft.com/office/drawing/2014/main" val="2205282626"/>
                  </a:ext>
                </a:extLst>
              </a:tr>
              <a:tr h="706120">
                <a:tc>
                  <a:txBody>
                    <a:bodyPr/>
                    <a:lstStyle/>
                    <a:p>
                      <a:pPr algn="l" rtl="0"/>
                      <a:r>
                        <a:rPr lang="x-es-XL" sz="1500" b="1" i="0" u="none" baseline="0">
                          <a:solidFill>
                            <a:schemeClr val="tx1"/>
                          </a:solidFill>
                        </a:rPr>
                        <a:t>5</a:t>
                      </a:r>
                    </a:p>
                  </a:txBody>
                  <a:tcPr marL="72000" marR="72000" marT="72000" marB="72000"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x-es-XL" sz="1500" b="0" dirty="0">
                        <a:solidFill>
                          <a:schemeClr val="tx1"/>
                        </a:solidFill>
                      </a:endParaRPr>
                    </a:p>
                  </a:txBody>
                  <a:tcPr marL="72000" marR="72000" marT="72000" marB="72000" anchor="ctr"/>
                </a:tc>
                <a:extLst>
                  <a:ext uri="{0D108BD9-81ED-4DB2-BD59-A6C34878D82A}">
                    <a16:rowId xmlns:a16="http://schemas.microsoft.com/office/drawing/2014/main" val="4043036019"/>
                  </a:ext>
                </a:extLst>
              </a:tr>
            </a:tbl>
          </a:graphicData>
        </a:graphic>
      </p:graphicFrame>
      <p:sp>
        <p:nvSpPr>
          <p:cNvPr id="27"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xfrm>
            <a:off x="323999" y="4803982"/>
            <a:ext cx="8117532" cy="138499"/>
          </a:xfrm>
        </p:spPr>
        <p:txBody>
          <a:bodyPr/>
          <a:lstStyle/>
          <a:p>
            <a:pPr algn="l" rtl="0"/>
            <a:r>
              <a:rPr lang="x-es-XL" b="0" i="0" u="none" baseline="0"/>
              <a:t>DPDHL Group | Manual de redacción de informes para GoTeach | Enero de 2022</a:t>
            </a:r>
          </a:p>
        </p:txBody>
      </p:sp>
    </p:spTree>
    <p:extLst>
      <p:ext uri="{BB962C8B-B14F-4D97-AF65-F5344CB8AC3E}">
        <p14:creationId xmlns:p14="http://schemas.microsoft.com/office/powerpoint/2010/main" val="472314049"/>
      </p:ext>
    </p:extLst>
  </p:cSld>
  <p:clrMapOvr>
    <a:masterClrMapping/>
  </p:clrMapOvr>
  <mc:AlternateContent xmlns:mc="http://schemas.openxmlformats.org/markup-compatibility/2006" xmlns:p14="http://schemas.microsoft.com/office/powerpoint/2010/main">
    <mc:Choice Requires="p14">
      <p:transition spd="slow" p14:dur="2000" advTm="456"/>
    </mc:Choice>
    <mc:Fallback xmlns="">
      <p:transition spd="slow" advTm="456"/>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pPr algn="l" rtl="0"/>
            <a:r>
              <a:rPr lang="x-es-XL" b="1" i="0" u="none" baseline="0"/>
              <a:t>PASO 5: Sube todas las fotos que tengas de la actividad</a:t>
            </a:r>
            <a:endParaRPr lang="x-es-XL"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pPr algn="l" rtl="0"/>
            <a:r>
              <a:rPr lang="x-es-XL" b="0" i="0" u="none" baseline="0"/>
              <a:t>DPDHL Group | Manual de redacción de informes para GoTeach | Enero de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20</a:t>
            </a:fld>
            <a:endParaRPr lang="x-es-XL"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95747" y="-339518"/>
            <a:ext cx="2571750" cy="5143500"/>
          </a:xfrm>
          <a:prstGeom prst="rect">
            <a:avLst/>
          </a:prstGeom>
        </p:spPr>
      </p:pic>
      <p:sp>
        <p:nvSpPr>
          <p:cNvPr id="8" name="Oval Callout 7"/>
          <p:cNvSpPr/>
          <p:nvPr/>
        </p:nvSpPr>
        <p:spPr>
          <a:xfrm>
            <a:off x="645659" y="1235030"/>
            <a:ext cx="3926340" cy="1606517"/>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rtl="0"/>
            <a:r>
              <a:rPr lang="x-es-XL" sz="1100" b="0" i="0" u="none" baseline="0">
                <a:solidFill>
                  <a:schemeClr val="tx1"/>
                </a:solidFill>
              </a:rPr>
              <a:t>Estamos siempre en busca de imágenes de gran calidad sobre nuestras actividades de GoTeach. </a:t>
            </a:r>
          </a:p>
          <a:p>
            <a:pPr algn="ctr" rtl="0"/>
            <a:r>
              <a:rPr lang="x-es-XL" sz="1100" b="0" i="0" u="none" baseline="0">
                <a:solidFill>
                  <a:schemeClr val="tx1"/>
                </a:solidFill>
              </a:rPr>
              <a:t>En la próxima página encontrarás información sobre cómo obtener las mejores imágenes. Por favor, da un nombre adecuado a los archivos, p.ej., </a:t>
            </a:r>
            <a:r>
              <a:rPr lang="x-es-XL" sz="1100" b="1" i="0" u="none" baseline="0">
                <a:solidFill>
                  <a:schemeClr val="tx1"/>
                </a:solidFill>
              </a:rPr>
              <a:t>País_Actividad_Año.</a:t>
            </a:r>
            <a:endParaRPr lang="x-es-XL" sz="1100" b="1" dirty="0">
              <a:solidFill>
                <a:schemeClr val="tx1"/>
              </a:solidFill>
            </a:endParaRPr>
          </a:p>
        </p:txBody>
      </p:sp>
      <p:pic>
        <p:nvPicPr>
          <p:cNvPr id="6" name="Grafik 5"/>
          <p:cNvPicPr>
            <a:picLocks noChangeAspect="1"/>
          </p:cNvPicPr>
          <p:nvPr/>
        </p:nvPicPr>
        <p:blipFill>
          <a:blip r:embed="rId6"/>
          <a:stretch>
            <a:fillRect/>
          </a:stretch>
        </p:blipFill>
        <p:spPr>
          <a:xfrm>
            <a:off x="4805088" y="1562972"/>
            <a:ext cx="3636443" cy="2619723"/>
          </a:xfrm>
          <a:prstGeom prst="rect">
            <a:avLst/>
          </a:prstGeom>
        </p:spPr>
      </p:pic>
    </p:spTree>
    <p:extLst>
      <p:ext uri="{BB962C8B-B14F-4D97-AF65-F5344CB8AC3E}">
        <p14:creationId xmlns:p14="http://schemas.microsoft.com/office/powerpoint/2010/main" val="2181946310"/>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pPr algn="l" rtl="0"/>
            <a:r>
              <a:rPr lang="x-es-XL" b="1" i="0" u="none" baseline="0"/>
              <a:t>PASO 5: Cómo obtener unas imágenes fantásticas</a:t>
            </a:r>
            <a:endParaRPr lang="x-es-XL"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pPr algn="l" rtl="0"/>
            <a:r>
              <a:rPr lang="x-es-XL" b="0" i="0" u="none" baseline="0"/>
              <a:t>DPDHL Group | Manual de redacción de informes para GoTeach | Enero de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21</a:t>
            </a:fld>
            <a:endParaRPr lang="x-es-XL"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05634" y="3171954"/>
            <a:ext cx="825131" cy="1650262"/>
          </a:xfrm>
          <a:prstGeom prst="rect">
            <a:avLst/>
          </a:prstGeom>
        </p:spPr>
      </p:pic>
      <p:sp>
        <p:nvSpPr>
          <p:cNvPr id="11" name="Oval Callout 10"/>
          <p:cNvSpPr/>
          <p:nvPr/>
        </p:nvSpPr>
        <p:spPr>
          <a:xfrm flipH="1">
            <a:off x="5117805" y="1001557"/>
            <a:ext cx="4049188" cy="2311074"/>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rtl="0">
              <a:spcAft>
                <a:spcPts val="375"/>
              </a:spcAft>
            </a:pPr>
            <a:r>
              <a:rPr lang="x-es-XL" sz="1100" b="1" i="0" u="none" baseline="0" dirty="0">
                <a:solidFill>
                  <a:schemeClr val="tx1"/>
                </a:solidFill>
                <a:latin typeface="Delivery" panose="020F0503020204020204" pitchFamily="34" charset="0"/>
                <a:ea typeface="Delivery" panose="020F0503020204020204" pitchFamily="34" charset="0"/>
                <a:cs typeface="Delivery" panose="020F0503020204020204" pitchFamily="34" charset="0"/>
              </a:rPr>
              <a:t>IMPORTANTE</a:t>
            </a:r>
            <a:r>
              <a:rPr lang="x-es-XL" sz="1100" b="0" i="0" u="none" baseline="0" dirty="0">
                <a:solidFill>
                  <a:schemeClr val="tx1"/>
                </a:solidFill>
                <a:latin typeface="Delivery" panose="020F0503020204020204" pitchFamily="34" charset="0"/>
                <a:ea typeface="Delivery" panose="020F0503020204020204" pitchFamily="34" charset="0"/>
                <a:cs typeface="Delivery" panose="020F0503020204020204" pitchFamily="34" charset="0"/>
              </a:rPr>
              <a:t>:</a:t>
            </a:r>
            <a:r>
              <a:rPr lang="x-es-XL" sz="1100" dirty="0">
                <a:solidFill>
                  <a:schemeClr val="tx1"/>
                </a:solidFill>
                <a:latin typeface="Delivery" panose="020F0503020204020204" pitchFamily="34" charset="0"/>
              </a:rPr>
              <a:t/>
            </a:r>
            <a:br>
              <a:rPr lang="x-es-XL" sz="1100" dirty="0">
                <a:solidFill>
                  <a:schemeClr val="tx1"/>
                </a:solidFill>
                <a:latin typeface="Delivery" panose="020F0503020204020204" pitchFamily="34" charset="0"/>
              </a:rPr>
            </a:br>
            <a:r>
              <a:rPr lang="x-es-XL" sz="1100" b="0" i="0" u="none" baseline="0" dirty="0">
                <a:solidFill>
                  <a:schemeClr val="tx1"/>
                </a:solidFill>
                <a:latin typeface="Delivery" panose="020F0503020204020204" pitchFamily="34" charset="0"/>
                <a:ea typeface="Delivery" panose="020F0503020204020204" pitchFamily="34" charset="0"/>
                <a:cs typeface="Delivery" panose="020F0503020204020204" pitchFamily="34" charset="0"/>
              </a:rPr>
              <a:t>Pregunta a tu contraparte de GoTeach si puedes publicar fotografías de los jóvenes que participaron. Verifica también si tus contrapartes tienen alguna directriz que debas aplicar; por ejemplo, tal vez no esté permitido mostrar primeros planos de los rostros de los jóvenes. Otros tal vez no permitan que se tomen fotografías. ¡Siempre es importante verificar este aspecto!</a:t>
            </a:r>
          </a:p>
          <a:p>
            <a:pPr algn="ctr" rtl="0">
              <a:spcAft>
                <a:spcPts val="375"/>
              </a:spcAft>
            </a:pPr>
            <a:r>
              <a:rPr lang="x-es-XL" sz="1100" b="0" i="0" u="none" baseline="0" dirty="0">
                <a:solidFill>
                  <a:schemeClr val="tx1"/>
                </a:solidFill>
                <a:latin typeface="Delivery" panose="020F0503020204020204" pitchFamily="34" charset="0"/>
                <a:ea typeface="Delivery" panose="020F0503020204020204" pitchFamily="34" charset="0"/>
                <a:cs typeface="Delivery" panose="020F0503020204020204" pitchFamily="34" charset="0"/>
              </a:rPr>
              <a:t> </a:t>
            </a:r>
            <a:endParaRPr lang="x-es-XL" sz="1100" dirty="0">
              <a:solidFill>
                <a:srgbClr val="FF0000"/>
              </a:solidFill>
            </a:endParaRPr>
          </a:p>
        </p:txBody>
      </p:sp>
      <p:sp>
        <p:nvSpPr>
          <p:cNvPr id="12" name="Content Placeholder 5">
            <a:extLst>
              <a:ext uri="{FF2B5EF4-FFF2-40B4-BE49-F238E27FC236}">
                <a16:creationId xmlns:a16="http://schemas.microsoft.com/office/drawing/2014/main" id="{26E948DC-A59B-4A39-BF1E-E43D60D11028}"/>
              </a:ext>
            </a:extLst>
          </p:cNvPr>
          <p:cNvSpPr>
            <a:spLocks noGrp="1"/>
          </p:cNvSpPr>
          <p:nvPr>
            <p:ph sz="quarter" idx="4294967295"/>
          </p:nvPr>
        </p:nvSpPr>
        <p:spPr>
          <a:xfrm>
            <a:off x="324000" y="1150938"/>
            <a:ext cx="6268186" cy="3530600"/>
          </a:xfrm>
          <a:prstGeom prst="rect">
            <a:avLst/>
          </a:prstGeom>
        </p:spPr>
        <p:txBody>
          <a:bodyPr/>
          <a:lstStyle/>
          <a:p>
            <a:pPr lvl="5" algn="l" rtl="0"/>
            <a:r>
              <a:rPr lang="x-es-XL" sz="1100" b="0" i="0" u="none" baseline="0" dirty="0"/>
              <a:t>Directrices sobre las fotografías</a:t>
            </a:r>
          </a:p>
          <a:p>
            <a:pPr lvl="1" algn="l" rtl="0"/>
            <a:r>
              <a:rPr lang="x-es-XL" sz="1100" b="0" i="0" u="none" baseline="0" dirty="0"/>
              <a:t>Muestra tu actividad de voluntariado en acción</a:t>
            </a:r>
            <a:endParaRPr lang="x-es-XL" sz="1100" dirty="0"/>
          </a:p>
          <a:p>
            <a:pPr lvl="1" algn="l" rtl="0"/>
            <a:r>
              <a:rPr lang="x-es-XL" sz="1100" b="0" i="0" u="none" baseline="0" dirty="0"/>
              <a:t>Muestra la interacción entre los voluntarios de DPDHL/DHL y los beneficiarios</a:t>
            </a:r>
            <a:endParaRPr lang="x-es-XL" sz="1100" dirty="0"/>
          </a:p>
          <a:p>
            <a:pPr lvl="1" algn="l" rtl="0"/>
            <a:r>
              <a:rPr lang="x-es-XL" sz="1100" b="0" i="0" u="none" baseline="0" dirty="0"/>
              <a:t>Toma fotos de grupo de los voluntarios y/o beneficiarios</a:t>
            </a:r>
            <a:endParaRPr lang="x-es-XL" sz="1100" dirty="0"/>
          </a:p>
          <a:p>
            <a:pPr lvl="1" algn="l" rtl="0"/>
            <a:r>
              <a:rPr lang="x-es-XL" sz="1100" b="0" i="0" u="none" baseline="0" dirty="0"/>
              <a:t>A ser posible, incluye en la imagen algún logotipo de DPDHL/DHL en banderolas</a:t>
            </a:r>
            <a:r>
              <a:rPr lang="x-es-XL" sz="1100" dirty="0"/>
              <a:t/>
            </a:r>
            <a:br>
              <a:rPr lang="x-es-XL" sz="1100" dirty="0"/>
            </a:br>
            <a:r>
              <a:rPr lang="x-es-XL" sz="1100" b="0" i="0" u="none" baseline="0" dirty="0"/>
              <a:t>o pancartas</a:t>
            </a:r>
            <a:endParaRPr lang="x-es-XL" sz="1100" dirty="0"/>
          </a:p>
          <a:p>
            <a:pPr marL="0" lvl="1" indent="0" algn="l" rtl="0">
              <a:buNone/>
            </a:pPr>
            <a:endParaRPr lang="x-es-XL" sz="1100" dirty="0"/>
          </a:p>
          <a:p>
            <a:pPr lvl="5" algn="l" rtl="0"/>
            <a:r>
              <a:rPr lang="x-es-XL" sz="1100" b="0" i="0" u="none" baseline="0" dirty="0"/>
              <a:t>Colores y luz</a:t>
            </a:r>
          </a:p>
          <a:p>
            <a:pPr lvl="1" algn="l" rtl="0"/>
            <a:r>
              <a:rPr lang="x-es-XL" sz="1100" b="0" i="0" u="none" baseline="0" dirty="0"/>
              <a:t>Preferimos las imágenes con luz natural, tomadas al aire libre o durante el día</a:t>
            </a:r>
            <a:endParaRPr lang="x-es-XL" sz="1100" dirty="0"/>
          </a:p>
          <a:p>
            <a:pPr lvl="1" algn="l" rtl="0"/>
            <a:r>
              <a:rPr lang="x-es-XL" sz="1100" b="0" i="0" u="none" baseline="0" dirty="0"/>
              <a:t>Queremos que la gente vea todo el colorido que tiene GoTeach: intenta que las imágenes sean coloridas, pero sin exagerar</a:t>
            </a:r>
            <a:endParaRPr lang="x-es-XL" sz="1100" dirty="0"/>
          </a:p>
          <a:p>
            <a:pPr lvl="1" algn="l" rtl="0"/>
            <a:r>
              <a:rPr lang="x-es-XL" sz="1100" b="0" i="0" u="none" baseline="0" dirty="0"/>
              <a:t>No las modifiques de manera artificial </a:t>
            </a:r>
          </a:p>
          <a:p>
            <a:pPr lvl="1" algn="l" rtl="0"/>
            <a:endParaRPr lang="x-es-XL" sz="1100" dirty="0"/>
          </a:p>
          <a:p>
            <a:pPr marL="0" lvl="1" indent="0" algn="l" rtl="0">
              <a:buNone/>
            </a:pPr>
            <a:r>
              <a:rPr lang="x-es-XL" sz="1100" b="0" i="0" u="none" baseline="0" dirty="0"/>
              <a:t>Para obtener más información sobre cómo tomar unas fotos excelentes, visita: </a:t>
            </a:r>
            <a:r>
              <a:rPr lang="x-es-XL" sz="1100" b="0" i="0" u="none" baseline="0" dirty="0">
                <a:hlinkClick r:id="rId6"/>
              </a:rPr>
              <a:t>Imágenes (dpdhl-brands.com)</a:t>
            </a:r>
            <a:endParaRPr lang="x-es-XL" sz="1100" dirty="0"/>
          </a:p>
          <a:p>
            <a:pPr lvl="1" algn="l" rtl="0"/>
            <a:endParaRPr lang="x-es-XL" sz="1100" dirty="0"/>
          </a:p>
        </p:txBody>
      </p:sp>
    </p:spTree>
    <p:extLst>
      <p:ext uri="{BB962C8B-B14F-4D97-AF65-F5344CB8AC3E}">
        <p14:creationId xmlns:p14="http://schemas.microsoft.com/office/powerpoint/2010/main" val="4015944383"/>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pPr algn="l" rtl="0"/>
            <a:r>
              <a:rPr lang="x-es-XL" b="1" i="0" u="none" baseline="0"/>
              <a:t>PASO 6: Marca la casilla</a:t>
            </a:r>
            <a:endParaRPr lang="x-es-XL"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pPr algn="l" rtl="0"/>
            <a:r>
              <a:rPr lang="x-es-XL" b="0" i="0" u="none" baseline="0"/>
              <a:t>DPDHL Group | Manual de redacción de informes para GoTeach | Enero de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22</a:t>
            </a:fld>
            <a:endParaRPr lang="x-es-XL"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5739" y="1078679"/>
            <a:ext cx="2775959" cy="3330884"/>
          </a:xfrm>
          <a:prstGeom prst="rect">
            <a:avLst/>
          </a:prstGeom>
        </p:spPr>
      </p:pic>
      <p:pic>
        <p:nvPicPr>
          <p:cNvPr id="3" name="Grafik 2"/>
          <p:cNvPicPr>
            <a:picLocks noChangeAspect="1"/>
          </p:cNvPicPr>
          <p:nvPr/>
        </p:nvPicPr>
        <p:blipFill>
          <a:blip r:embed="rId6"/>
          <a:stretch>
            <a:fillRect/>
          </a:stretch>
        </p:blipFill>
        <p:spPr>
          <a:xfrm>
            <a:off x="3647780" y="292429"/>
            <a:ext cx="2744009" cy="4314343"/>
          </a:xfrm>
          <a:prstGeom prst="rect">
            <a:avLst/>
          </a:prstGeom>
        </p:spPr>
      </p:pic>
    </p:spTree>
    <p:extLst>
      <p:ext uri="{BB962C8B-B14F-4D97-AF65-F5344CB8AC3E}">
        <p14:creationId xmlns:p14="http://schemas.microsoft.com/office/powerpoint/2010/main" val="2066302238"/>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pPr algn="l" rtl="0"/>
            <a:r>
              <a:rPr lang="x-es-XL" b="1" i="0" u="none" baseline="0"/>
              <a:t>LISTO</a:t>
            </a:r>
            <a:endParaRPr lang="x-es-XL" dirty="0"/>
          </a:p>
        </p:txBody>
      </p:sp>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p:txBody>
          <a:bodyPr/>
          <a:lstStyle/>
          <a:p>
            <a:pPr algn="l" rtl="0"/>
            <a:r>
              <a:rPr lang="x-es-XL" b="0" i="0" u="none" baseline="0"/>
              <a:t>DPDHL Group | Manual de redacción de informes para GoTeach | Enero de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23</a:t>
            </a:fld>
            <a:endParaRPr lang="x-es-XL" dirty="0"/>
          </a:p>
        </p:txBody>
      </p:sp>
      <p:sp>
        <p:nvSpPr>
          <p:cNvPr id="7" name="Content Placeholder 5">
            <a:extLst>
              <a:ext uri="{FF2B5EF4-FFF2-40B4-BE49-F238E27FC236}">
                <a16:creationId xmlns:a16="http://schemas.microsoft.com/office/drawing/2014/main" id="{26E948DC-A59B-4A39-BF1E-E43D60D11028}"/>
              </a:ext>
            </a:extLst>
          </p:cNvPr>
          <p:cNvSpPr>
            <a:spLocks noGrp="1"/>
          </p:cNvSpPr>
          <p:nvPr>
            <p:ph sz="quarter" idx="14"/>
          </p:nvPr>
        </p:nvSpPr>
        <p:spPr/>
        <p:txBody>
          <a:bodyPr/>
          <a:lstStyle/>
          <a:p>
            <a:pPr lvl="4" algn="l" rtl="0"/>
            <a:endParaRPr lang="x-es-XL" dirty="0"/>
          </a:p>
          <a:p>
            <a:pPr lvl="4" algn="l" rtl="0"/>
            <a:endParaRPr lang="x-es-XL" dirty="0"/>
          </a:p>
          <a:p>
            <a:pPr lvl="4" algn="l" rtl="0"/>
            <a:endParaRPr lang="x-es-XL" dirty="0"/>
          </a:p>
          <a:p>
            <a:pPr lvl="4" algn="l" rtl="0"/>
            <a:endParaRPr lang="x-es-XL" dirty="0"/>
          </a:p>
        </p:txBody>
      </p:sp>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pic>
        <p:nvPicPr>
          <p:cNvPr id="3" name="Picture 2"/>
          <p:cNvPicPr>
            <a:picLocks noChangeAspect="1"/>
          </p:cNvPicPr>
          <p:nvPr/>
        </p:nvPicPr>
        <p:blipFill>
          <a:blip r:embed="rId5"/>
          <a:stretch>
            <a:fillRect/>
          </a:stretch>
        </p:blipFill>
        <p:spPr>
          <a:xfrm>
            <a:off x="3747669" y="1035443"/>
            <a:ext cx="4693862" cy="3264760"/>
          </a:xfrm>
          <a:prstGeom prst="rect">
            <a:avLst/>
          </a:prstGeom>
          <a:effectLst>
            <a:outerShdw blurRad="50800" dist="38100" dir="18900000" algn="bl" rotWithShape="0">
              <a:prstClr val="black">
                <a:alpha val="40000"/>
              </a:prstClr>
            </a:outerShdw>
          </a:effectLst>
        </p:spPr>
      </p:pic>
      <p:pic>
        <p:nvPicPr>
          <p:cNvPr id="5" name="Picture 4"/>
          <p:cNvPicPr>
            <a:picLocks noChangeAspect="1"/>
          </p:cNvPicPr>
          <p:nvPr/>
        </p:nvPicPr>
        <p:blipFill>
          <a:blip r:embed="rId6">
            <a:extLst>
              <a:ext uri="{BEBA8EAE-BF5A-486C-A8C5-ECC9F3942E4B}">
                <a14:imgProps xmlns:a14="http://schemas.microsoft.com/office/drawing/2010/main">
                  <a14:imgLayer r:embed="rId7">
                    <a14:imgEffect>
                      <a14:backgroundRemoval t="2660" b="98320" l="4104" r="97240"/>
                    </a14:imgEffect>
                  </a14:imgLayer>
                </a14:imgProps>
              </a:ext>
              <a:ext uri="{28A0092B-C50C-407E-A947-70E740481C1C}">
                <a14:useLocalDpi xmlns:a14="http://schemas.microsoft.com/office/drawing/2010/main" val="0"/>
              </a:ext>
            </a:extLst>
          </a:blip>
          <a:stretch>
            <a:fillRect/>
          </a:stretch>
        </p:blipFill>
        <p:spPr>
          <a:xfrm>
            <a:off x="153397" y="1886674"/>
            <a:ext cx="2359171" cy="2830779"/>
          </a:xfrm>
          <a:prstGeom prst="rect">
            <a:avLst/>
          </a:prstGeom>
        </p:spPr>
      </p:pic>
      <p:sp>
        <p:nvSpPr>
          <p:cNvPr id="11" name="Oval Callout 10"/>
          <p:cNvSpPr/>
          <p:nvPr/>
        </p:nvSpPr>
        <p:spPr>
          <a:xfrm>
            <a:off x="1124353" y="573954"/>
            <a:ext cx="2299315" cy="1753640"/>
          </a:xfrm>
          <a:prstGeom prst="wedgeEllipseCallou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rtl="0"/>
            <a:r>
              <a:rPr lang="x-es-XL" sz="1100" b="0" i="0" u="none" baseline="0" dirty="0">
                <a:solidFill>
                  <a:schemeClr val="tx1"/>
                </a:solidFill>
              </a:rPr>
              <a:t>Ya pueden ver, los demás y tú, todos los detalles del informe. Aun así, podrás modificar tu informe haciendo clic en el icono «editar» o bien compartirlo con otras personas.</a:t>
            </a:r>
          </a:p>
        </p:txBody>
      </p:sp>
      <p:sp>
        <p:nvSpPr>
          <p:cNvPr id="6" name="Rectangle 5"/>
          <p:cNvSpPr/>
          <p:nvPr/>
        </p:nvSpPr>
        <p:spPr>
          <a:xfrm>
            <a:off x="5758306" y="4378856"/>
            <a:ext cx="2872459" cy="300082"/>
          </a:xfrm>
          <a:prstGeom prst="rect">
            <a:avLst/>
          </a:prstGeom>
        </p:spPr>
        <p:txBody>
          <a:bodyPr wrap="square">
            <a:spAutoFit/>
          </a:bodyPr>
          <a:lstStyle/>
          <a:p>
            <a:pPr algn="l" rtl="0"/>
            <a:r>
              <a:rPr lang="x-es-XL" b="0" i="0" u="none" baseline="0"/>
              <a:t>En la próxima página, encontrarás un tutorial detallado.</a:t>
            </a:r>
            <a:endParaRPr lang="x-es-XL" dirty="0"/>
          </a:p>
        </p:txBody>
      </p:sp>
    </p:spTree>
    <p:extLst>
      <p:ext uri="{BB962C8B-B14F-4D97-AF65-F5344CB8AC3E}">
        <p14:creationId xmlns:p14="http://schemas.microsoft.com/office/powerpoint/2010/main" val="2741292165"/>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151D6D14-6AE0-4F06-81FD-BE59BF7FF7CB}"/>
              </a:ext>
            </a:extLst>
          </p:cNvPr>
          <p:cNvSpPr>
            <a:spLocks noGrp="1"/>
          </p:cNvSpPr>
          <p:nvPr>
            <p:ph type="subTitle" idx="1"/>
          </p:nvPr>
        </p:nvSpPr>
        <p:spPr>
          <a:xfrm>
            <a:off x="324000" y="2017985"/>
            <a:ext cx="8495999" cy="503215"/>
          </a:xfrm>
        </p:spPr>
        <p:txBody>
          <a:bodyPr/>
          <a:lstStyle/>
          <a:p>
            <a:pPr algn="l" rtl="0"/>
            <a:r>
              <a:rPr lang="x-es-XL" b="0" i="0" u="none" baseline="0"/>
              <a:t>Y POR AYUDARNOS A HACER QUE ESTE MUNDO SEA UN LUGAR MEJOR PARA TODOS</a:t>
            </a:r>
            <a:endParaRPr lang="x-es-XL" dirty="0"/>
          </a:p>
        </p:txBody>
      </p:sp>
      <p:sp>
        <p:nvSpPr>
          <p:cNvPr id="3" name="Title 2">
            <a:extLst>
              <a:ext uri="{FF2B5EF4-FFF2-40B4-BE49-F238E27FC236}">
                <a16:creationId xmlns:a16="http://schemas.microsoft.com/office/drawing/2014/main" id="{320B5DE0-DAFE-4E7E-9406-E57601F4D9CD}"/>
              </a:ext>
            </a:extLst>
          </p:cNvPr>
          <p:cNvSpPr>
            <a:spLocks noGrp="1"/>
          </p:cNvSpPr>
          <p:nvPr>
            <p:ph type="title"/>
          </p:nvPr>
        </p:nvSpPr>
        <p:spPr>
          <a:xfrm>
            <a:off x="324000" y="519112"/>
            <a:ext cx="8495999" cy="1498873"/>
          </a:xfrm>
        </p:spPr>
        <p:txBody>
          <a:bodyPr/>
          <a:lstStyle/>
          <a:p>
            <a:pPr algn="l" rtl="0"/>
            <a:r>
              <a:rPr lang="x-es-XL" b="0" i="0" u="none" baseline="0"/>
              <a:t>GRACIAS POR REALIZAR ACTIVIDADES DE VOLUNTARIADO CON NOSOTROS </a:t>
            </a:r>
            <a:endParaRPr lang="x-es-XL" dirty="0"/>
          </a:p>
        </p:txBody>
      </p:sp>
      <p:sp>
        <p:nvSpPr>
          <p:cNvPr id="5" name="Slide Number Placeholder 4">
            <a:extLst>
              <a:ext uri="{FF2B5EF4-FFF2-40B4-BE49-F238E27FC236}">
                <a16:creationId xmlns:a16="http://schemas.microsoft.com/office/drawing/2014/main" id="{EDFE1031-A77C-49D9-B7E8-9BD113A509C1}"/>
              </a:ext>
            </a:extLst>
          </p:cNvPr>
          <p:cNvSpPr>
            <a:spLocks noGrp="1"/>
          </p:cNvSpPr>
          <p:nvPr>
            <p:ph type="sldNum" sz="quarter" idx="11"/>
          </p:nvPr>
        </p:nvSpPr>
        <p:spPr>
          <a:xfrm>
            <a:off x="8441531" y="4803982"/>
            <a:ext cx="378469" cy="138499"/>
          </a:xfrm>
        </p:spPr>
        <p:txBody>
          <a:bodyPr/>
          <a:lstStyle/>
          <a:p>
            <a:pPr algn="r" rtl="0"/>
            <a:fld id="{C2245BC1-4D7B-4ED3-8F01-840FA35126C6}" type="slidenum">
              <a:rPr/>
              <a:pPr algn="r" rtl="0"/>
              <a:t>24</a:t>
            </a:fld>
            <a:endParaRPr lang="x-es-XL" dirty="0"/>
          </a:p>
        </p:txBody>
      </p:sp>
      <p:sp>
        <p:nvSpPr>
          <p:cNvPr id="6"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xfrm>
            <a:off x="323999" y="4803982"/>
            <a:ext cx="8117532" cy="138499"/>
          </a:xfrm>
        </p:spPr>
        <p:txBody>
          <a:bodyPr/>
          <a:lstStyle/>
          <a:p>
            <a:pPr algn="l" rtl="0"/>
            <a:r>
              <a:rPr lang="x-es-XL" b="0" i="0" u="none" baseline="0"/>
              <a:t>DPDHL Group | Manual de redacción de informes para GoTeach | Enero de 2022</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86435" y="-591125"/>
            <a:ext cx="2571750" cy="5143500"/>
          </a:xfrm>
          <a:prstGeom prst="rect">
            <a:avLst/>
          </a:prstGeom>
        </p:spPr>
      </p:pic>
      <p:pic>
        <p:nvPicPr>
          <p:cNvPr id="8" name="Picture 7"/>
          <p:cNvPicPr>
            <a:picLocks noChangeAspect="1"/>
          </p:cNvPicPr>
          <p:nvPr/>
        </p:nvPicPr>
        <p:blipFill>
          <a:blip r:embed="rId4">
            <a:extLst>
              <a:ext uri="{BEBA8EAE-BF5A-486C-A8C5-ECC9F3942E4B}">
                <a14:imgProps xmlns:a14="http://schemas.microsoft.com/office/drawing/2010/main">
                  <a14:imgLayer r:embed="rId5">
                    <a14:imgEffect>
                      <a14:backgroundRemoval t="10000" b="100000" l="5832" r="93952"/>
                    </a14:imgEffect>
                  </a14:imgLayer>
                </a14:imgProps>
              </a:ext>
              <a:ext uri="{28A0092B-C50C-407E-A947-70E740481C1C}">
                <a14:useLocalDpi xmlns:a14="http://schemas.microsoft.com/office/drawing/2010/main" val="0"/>
              </a:ext>
            </a:extLst>
          </a:blip>
          <a:stretch>
            <a:fillRect/>
          </a:stretch>
        </p:blipFill>
        <p:spPr>
          <a:xfrm>
            <a:off x="3461203" y="1746428"/>
            <a:ext cx="2831120" cy="3397072"/>
          </a:xfrm>
          <a:prstGeom prst="rect">
            <a:avLst/>
          </a:prstGeom>
        </p:spPr>
      </p:pic>
    </p:spTree>
    <p:extLst>
      <p:ext uri="{BB962C8B-B14F-4D97-AF65-F5344CB8AC3E}">
        <p14:creationId xmlns:p14="http://schemas.microsoft.com/office/powerpoint/2010/main" val="29400577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6">
                <a:lumMod val="5000"/>
                <a:lumOff val="95000"/>
              </a:schemeClr>
            </a:gs>
            <a:gs pos="74000">
              <a:schemeClr val="accent6">
                <a:lumMod val="45000"/>
                <a:lumOff val="55000"/>
              </a:schemeClr>
            </a:gs>
            <a:gs pos="83000">
              <a:schemeClr val="accent6">
                <a:lumMod val="45000"/>
                <a:lumOff val="55000"/>
              </a:schemeClr>
            </a:gs>
            <a:gs pos="100000">
              <a:schemeClr val="accent6">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DFE1031-A77C-49D9-B7E8-9BD113A509C1}"/>
              </a:ext>
            </a:extLst>
          </p:cNvPr>
          <p:cNvSpPr>
            <a:spLocks noGrp="1"/>
          </p:cNvSpPr>
          <p:nvPr>
            <p:ph type="sldNum" sz="quarter" idx="11"/>
          </p:nvPr>
        </p:nvSpPr>
        <p:spPr>
          <a:xfrm>
            <a:off x="8441531" y="4803982"/>
            <a:ext cx="378469" cy="138499"/>
          </a:xfrm>
        </p:spPr>
        <p:txBody>
          <a:bodyPr/>
          <a:lstStyle/>
          <a:p>
            <a:pPr algn="r" rtl="0"/>
            <a:fld id="{C2245BC1-4D7B-4ED3-8F01-840FA35126C6}" type="slidenum">
              <a:rPr/>
              <a:pPr algn="r" rtl="0"/>
              <a:t>25</a:t>
            </a:fld>
            <a:endParaRPr lang="x-es-XL" dirty="0"/>
          </a:p>
        </p:txBody>
      </p:sp>
      <p:sp>
        <p:nvSpPr>
          <p:cNvPr id="6"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xfrm>
            <a:off x="323999" y="4803982"/>
            <a:ext cx="8117532" cy="138499"/>
          </a:xfrm>
        </p:spPr>
        <p:txBody>
          <a:bodyPr/>
          <a:lstStyle/>
          <a:p>
            <a:pPr algn="l" rtl="0"/>
            <a:r>
              <a:rPr lang="x-es-XL" b="0" i="0" u="none" baseline="0"/>
              <a:t>DPDHL Group | Manual de redacción de informes para GoTeach | Enero de 2022</a:t>
            </a:r>
          </a:p>
        </p:txBody>
      </p:sp>
      <p:grpSp>
        <p:nvGrpSpPr>
          <p:cNvPr id="10" name="Gruppieren 238"/>
          <p:cNvGrpSpPr/>
          <p:nvPr/>
        </p:nvGrpSpPr>
        <p:grpSpPr>
          <a:xfrm>
            <a:off x="935665" y="1394337"/>
            <a:ext cx="6478772" cy="3409646"/>
            <a:chOff x="1402461" y="1121644"/>
            <a:chExt cx="6339079" cy="3557294"/>
          </a:xfrm>
        </p:grpSpPr>
        <p:grpSp>
          <p:nvGrpSpPr>
            <p:cNvPr id="11" name="Gruppieren 216">
              <a:extLst>
                <a:ext uri="{FF2B5EF4-FFF2-40B4-BE49-F238E27FC236}">
                  <a16:creationId xmlns:a16="http://schemas.microsoft.com/office/drawing/2014/main" id="{374FAA41-D58E-4F7A-931D-B94F32755F57}"/>
                </a:ext>
              </a:extLst>
            </p:cNvPr>
            <p:cNvGrpSpPr>
              <a:grpSpLocks noChangeAspect="1"/>
            </p:cNvGrpSpPr>
            <p:nvPr/>
          </p:nvGrpSpPr>
          <p:grpSpPr bwMode="gray">
            <a:xfrm>
              <a:off x="1402461" y="1150938"/>
              <a:ext cx="6339079" cy="3528000"/>
              <a:chOff x="553183" y="1409232"/>
              <a:chExt cx="7818436" cy="4351333"/>
            </a:xfrm>
            <a:solidFill>
              <a:schemeClr val="accent3"/>
            </a:solidFill>
          </p:grpSpPr>
          <p:grpSp>
            <p:nvGrpSpPr>
              <p:cNvPr id="24" name="Group 23">
                <a:extLst>
                  <a:ext uri="{FF2B5EF4-FFF2-40B4-BE49-F238E27FC236}">
                    <a16:creationId xmlns:a16="http://schemas.microsoft.com/office/drawing/2014/main" id="{EB02CD1E-F0A0-4BD3-9798-6E5312B8AE7D}"/>
                  </a:ext>
                </a:extLst>
              </p:cNvPr>
              <p:cNvGrpSpPr>
                <a:grpSpLocks/>
              </p:cNvGrpSpPr>
              <p:nvPr/>
            </p:nvGrpSpPr>
            <p:grpSpPr bwMode="gray">
              <a:xfrm>
                <a:off x="3710069" y="3367100"/>
                <a:ext cx="1796128" cy="1721343"/>
                <a:chOff x="2334" y="2189"/>
                <a:chExt cx="1184" cy="1135"/>
              </a:xfrm>
              <a:grpFill/>
            </p:grpSpPr>
            <p:sp>
              <p:nvSpPr>
                <p:cNvPr id="171" name="Freeform 5">
                  <a:extLst>
                    <a:ext uri="{FF2B5EF4-FFF2-40B4-BE49-F238E27FC236}">
                      <a16:creationId xmlns:a16="http://schemas.microsoft.com/office/drawing/2014/main" id="{39132FAB-D1F2-4226-9C16-55FDA4B44594}"/>
                    </a:ext>
                  </a:extLst>
                </p:cNvPr>
                <p:cNvSpPr>
                  <a:spLocks/>
                </p:cNvSpPr>
                <p:nvPr/>
              </p:nvSpPr>
              <p:spPr bwMode="gray">
                <a:xfrm>
                  <a:off x="2557" y="2194"/>
                  <a:ext cx="300" cy="308"/>
                </a:xfrm>
                <a:custGeom>
                  <a:avLst/>
                  <a:gdLst>
                    <a:gd name="T0" fmla="*/ 0 w 300"/>
                    <a:gd name="T1" fmla="*/ 170 h 308"/>
                    <a:gd name="T2" fmla="*/ 0 w 300"/>
                    <a:gd name="T3" fmla="*/ 179 h 308"/>
                    <a:gd name="T4" fmla="*/ 54 w 300"/>
                    <a:gd name="T5" fmla="*/ 214 h 308"/>
                    <a:gd name="T6" fmla="*/ 139 w 300"/>
                    <a:gd name="T7" fmla="*/ 272 h 308"/>
                    <a:gd name="T8" fmla="*/ 139 w 300"/>
                    <a:gd name="T9" fmla="*/ 281 h 308"/>
                    <a:gd name="T10" fmla="*/ 152 w 300"/>
                    <a:gd name="T11" fmla="*/ 281 h 308"/>
                    <a:gd name="T12" fmla="*/ 157 w 300"/>
                    <a:gd name="T13" fmla="*/ 290 h 308"/>
                    <a:gd name="T14" fmla="*/ 161 w 300"/>
                    <a:gd name="T15" fmla="*/ 286 h 308"/>
                    <a:gd name="T16" fmla="*/ 175 w 300"/>
                    <a:gd name="T17" fmla="*/ 290 h 308"/>
                    <a:gd name="T18" fmla="*/ 170 w 300"/>
                    <a:gd name="T19" fmla="*/ 304 h 308"/>
                    <a:gd name="T20" fmla="*/ 175 w 300"/>
                    <a:gd name="T21" fmla="*/ 308 h 308"/>
                    <a:gd name="T22" fmla="*/ 188 w 300"/>
                    <a:gd name="T23" fmla="*/ 299 h 308"/>
                    <a:gd name="T24" fmla="*/ 224 w 300"/>
                    <a:gd name="T25" fmla="*/ 290 h 308"/>
                    <a:gd name="T26" fmla="*/ 300 w 300"/>
                    <a:gd name="T27" fmla="*/ 237 h 308"/>
                    <a:gd name="T28" fmla="*/ 300 w 300"/>
                    <a:gd name="T29" fmla="*/ 232 h 308"/>
                    <a:gd name="T30" fmla="*/ 282 w 300"/>
                    <a:gd name="T31" fmla="*/ 219 h 308"/>
                    <a:gd name="T32" fmla="*/ 273 w 300"/>
                    <a:gd name="T33" fmla="*/ 219 h 308"/>
                    <a:gd name="T34" fmla="*/ 264 w 300"/>
                    <a:gd name="T35" fmla="*/ 214 h 308"/>
                    <a:gd name="T36" fmla="*/ 268 w 300"/>
                    <a:gd name="T37" fmla="*/ 210 h 308"/>
                    <a:gd name="T38" fmla="*/ 255 w 300"/>
                    <a:gd name="T39" fmla="*/ 192 h 308"/>
                    <a:gd name="T40" fmla="*/ 260 w 300"/>
                    <a:gd name="T41" fmla="*/ 183 h 308"/>
                    <a:gd name="T42" fmla="*/ 264 w 300"/>
                    <a:gd name="T43" fmla="*/ 170 h 308"/>
                    <a:gd name="T44" fmla="*/ 260 w 300"/>
                    <a:gd name="T45" fmla="*/ 156 h 308"/>
                    <a:gd name="T46" fmla="*/ 260 w 300"/>
                    <a:gd name="T47" fmla="*/ 138 h 308"/>
                    <a:gd name="T48" fmla="*/ 255 w 300"/>
                    <a:gd name="T49" fmla="*/ 129 h 308"/>
                    <a:gd name="T50" fmla="*/ 255 w 300"/>
                    <a:gd name="T51" fmla="*/ 94 h 308"/>
                    <a:gd name="T52" fmla="*/ 246 w 300"/>
                    <a:gd name="T53" fmla="*/ 89 h 308"/>
                    <a:gd name="T54" fmla="*/ 237 w 300"/>
                    <a:gd name="T55" fmla="*/ 76 h 308"/>
                    <a:gd name="T56" fmla="*/ 233 w 300"/>
                    <a:gd name="T57" fmla="*/ 58 h 308"/>
                    <a:gd name="T58" fmla="*/ 246 w 300"/>
                    <a:gd name="T59" fmla="*/ 40 h 308"/>
                    <a:gd name="T60" fmla="*/ 242 w 300"/>
                    <a:gd name="T61" fmla="*/ 13 h 308"/>
                    <a:gd name="T62" fmla="*/ 251 w 300"/>
                    <a:gd name="T63" fmla="*/ 4 h 308"/>
                    <a:gd name="T64" fmla="*/ 228 w 300"/>
                    <a:gd name="T65" fmla="*/ 0 h 308"/>
                    <a:gd name="T66" fmla="*/ 228 w 300"/>
                    <a:gd name="T67" fmla="*/ 4 h 308"/>
                    <a:gd name="T68" fmla="*/ 219 w 300"/>
                    <a:gd name="T69" fmla="*/ 4 h 308"/>
                    <a:gd name="T70" fmla="*/ 201 w 300"/>
                    <a:gd name="T71" fmla="*/ 9 h 308"/>
                    <a:gd name="T72" fmla="*/ 184 w 300"/>
                    <a:gd name="T73" fmla="*/ 4 h 308"/>
                    <a:gd name="T74" fmla="*/ 170 w 300"/>
                    <a:gd name="T75" fmla="*/ 9 h 308"/>
                    <a:gd name="T76" fmla="*/ 170 w 300"/>
                    <a:gd name="T77" fmla="*/ 13 h 308"/>
                    <a:gd name="T78" fmla="*/ 166 w 300"/>
                    <a:gd name="T79" fmla="*/ 9 h 308"/>
                    <a:gd name="T80" fmla="*/ 139 w 300"/>
                    <a:gd name="T81" fmla="*/ 13 h 308"/>
                    <a:gd name="T82" fmla="*/ 126 w 300"/>
                    <a:gd name="T83" fmla="*/ 27 h 308"/>
                    <a:gd name="T84" fmla="*/ 121 w 300"/>
                    <a:gd name="T85" fmla="*/ 27 h 308"/>
                    <a:gd name="T86" fmla="*/ 99 w 300"/>
                    <a:gd name="T87" fmla="*/ 36 h 308"/>
                    <a:gd name="T88" fmla="*/ 94 w 300"/>
                    <a:gd name="T89" fmla="*/ 40 h 308"/>
                    <a:gd name="T90" fmla="*/ 99 w 300"/>
                    <a:gd name="T91" fmla="*/ 53 h 308"/>
                    <a:gd name="T92" fmla="*/ 99 w 300"/>
                    <a:gd name="T93" fmla="*/ 67 h 308"/>
                    <a:gd name="T94" fmla="*/ 103 w 300"/>
                    <a:gd name="T95" fmla="*/ 85 h 308"/>
                    <a:gd name="T96" fmla="*/ 112 w 300"/>
                    <a:gd name="T97" fmla="*/ 89 h 308"/>
                    <a:gd name="T98" fmla="*/ 108 w 300"/>
                    <a:gd name="T99" fmla="*/ 98 h 308"/>
                    <a:gd name="T100" fmla="*/ 90 w 300"/>
                    <a:gd name="T101" fmla="*/ 94 h 308"/>
                    <a:gd name="T102" fmla="*/ 81 w 300"/>
                    <a:gd name="T103" fmla="*/ 107 h 308"/>
                    <a:gd name="T104" fmla="*/ 41 w 300"/>
                    <a:gd name="T105" fmla="*/ 138 h 308"/>
                    <a:gd name="T106" fmla="*/ 32 w 300"/>
                    <a:gd name="T107" fmla="*/ 138 h 308"/>
                    <a:gd name="T108" fmla="*/ 14 w 300"/>
                    <a:gd name="T109" fmla="*/ 143 h 308"/>
                    <a:gd name="T110" fmla="*/ 5 w 300"/>
                    <a:gd name="T111" fmla="*/ 156 h 308"/>
                    <a:gd name="T112" fmla="*/ 0 w 300"/>
                    <a:gd name="T113" fmla="*/ 17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8">
                      <a:moveTo>
                        <a:pt x="0" y="170"/>
                      </a:moveTo>
                      <a:lnTo>
                        <a:pt x="0" y="179"/>
                      </a:lnTo>
                      <a:lnTo>
                        <a:pt x="54" y="214"/>
                      </a:lnTo>
                      <a:lnTo>
                        <a:pt x="139" y="272"/>
                      </a:lnTo>
                      <a:lnTo>
                        <a:pt x="139" y="281"/>
                      </a:lnTo>
                      <a:lnTo>
                        <a:pt x="152" y="281"/>
                      </a:lnTo>
                      <a:lnTo>
                        <a:pt x="157" y="290"/>
                      </a:lnTo>
                      <a:lnTo>
                        <a:pt x="161" y="286"/>
                      </a:lnTo>
                      <a:lnTo>
                        <a:pt x="175" y="290"/>
                      </a:lnTo>
                      <a:lnTo>
                        <a:pt x="170" y="304"/>
                      </a:lnTo>
                      <a:lnTo>
                        <a:pt x="175" y="308"/>
                      </a:lnTo>
                      <a:lnTo>
                        <a:pt x="188" y="299"/>
                      </a:lnTo>
                      <a:lnTo>
                        <a:pt x="224" y="290"/>
                      </a:lnTo>
                      <a:lnTo>
                        <a:pt x="300" y="237"/>
                      </a:lnTo>
                      <a:lnTo>
                        <a:pt x="300" y="232"/>
                      </a:lnTo>
                      <a:lnTo>
                        <a:pt x="282" y="219"/>
                      </a:lnTo>
                      <a:lnTo>
                        <a:pt x="273" y="219"/>
                      </a:lnTo>
                      <a:lnTo>
                        <a:pt x="264" y="214"/>
                      </a:lnTo>
                      <a:lnTo>
                        <a:pt x="268" y="210"/>
                      </a:lnTo>
                      <a:lnTo>
                        <a:pt x="255" y="192"/>
                      </a:lnTo>
                      <a:lnTo>
                        <a:pt x="260" y="183"/>
                      </a:lnTo>
                      <a:lnTo>
                        <a:pt x="264" y="170"/>
                      </a:lnTo>
                      <a:lnTo>
                        <a:pt x="260" y="156"/>
                      </a:lnTo>
                      <a:lnTo>
                        <a:pt x="260" y="138"/>
                      </a:lnTo>
                      <a:lnTo>
                        <a:pt x="255" y="129"/>
                      </a:lnTo>
                      <a:lnTo>
                        <a:pt x="255" y="94"/>
                      </a:lnTo>
                      <a:lnTo>
                        <a:pt x="246" y="89"/>
                      </a:lnTo>
                      <a:lnTo>
                        <a:pt x="237" y="76"/>
                      </a:lnTo>
                      <a:lnTo>
                        <a:pt x="233" y="58"/>
                      </a:lnTo>
                      <a:lnTo>
                        <a:pt x="246" y="40"/>
                      </a:lnTo>
                      <a:lnTo>
                        <a:pt x="242" y="13"/>
                      </a:lnTo>
                      <a:lnTo>
                        <a:pt x="251" y="4"/>
                      </a:lnTo>
                      <a:lnTo>
                        <a:pt x="228" y="0"/>
                      </a:lnTo>
                      <a:lnTo>
                        <a:pt x="228" y="4"/>
                      </a:lnTo>
                      <a:lnTo>
                        <a:pt x="219" y="4"/>
                      </a:lnTo>
                      <a:lnTo>
                        <a:pt x="201" y="9"/>
                      </a:lnTo>
                      <a:lnTo>
                        <a:pt x="184" y="4"/>
                      </a:lnTo>
                      <a:lnTo>
                        <a:pt x="170" y="9"/>
                      </a:lnTo>
                      <a:lnTo>
                        <a:pt x="170" y="13"/>
                      </a:lnTo>
                      <a:lnTo>
                        <a:pt x="166" y="9"/>
                      </a:lnTo>
                      <a:lnTo>
                        <a:pt x="139" y="13"/>
                      </a:lnTo>
                      <a:lnTo>
                        <a:pt x="126" y="27"/>
                      </a:lnTo>
                      <a:lnTo>
                        <a:pt x="121" y="27"/>
                      </a:lnTo>
                      <a:lnTo>
                        <a:pt x="99" y="36"/>
                      </a:lnTo>
                      <a:lnTo>
                        <a:pt x="94" y="40"/>
                      </a:lnTo>
                      <a:lnTo>
                        <a:pt x="99" y="53"/>
                      </a:lnTo>
                      <a:lnTo>
                        <a:pt x="99" y="67"/>
                      </a:lnTo>
                      <a:lnTo>
                        <a:pt x="103" y="85"/>
                      </a:lnTo>
                      <a:lnTo>
                        <a:pt x="112" y="89"/>
                      </a:lnTo>
                      <a:lnTo>
                        <a:pt x="108" y="98"/>
                      </a:lnTo>
                      <a:lnTo>
                        <a:pt x="90" y="94"/>
                      </a:lnTo>
                      <a:lnTo>
                        <a:pt x="81" y="107"/>
                      </a:lnTo>
                      <a:lnTo>
                        <a:pt x="41" y="138"/>
                      </a:lnTo>
                      <a:lnTo>
                        <a:pt x="32" y="138"/>
                      </a:lnTo>
                      <a:lnTo>
                        <a:pt x="14" y="143"/>
                      </a:lnTo>
                      <a:lnTo>
                        <a:pt x="5" y="156"/>
                      </a:lnTo>
                      <a:lnTo>
                        <a:pt x="0" y="17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72" name="Freeform 6">
                  <a:extLst>
                    <a:ext uri="{FF2B5EF4-FFF2-40B4-BE49-F238E27FC236}">
                      <a16:creationId xmlns:a16="http://schemas.microsoft.com/office/drawing/2014/main" id="{A03FD54C-3C46-4D45-AEE7-71A34A4394DB}"/>
                    </a:ext>
                  </a:extLst>
                </p:cNvPr>
                <p:cNvSpPr>
                  <a:spLocks/>
                </p:cNvSpPr>
                <p:nvPr/>
              </p:nvSpPr>
              <p:spPr bwMode="gray">
                <a:xfrm>
                  <a:off x="2848" y="2846"/>
                  <a:ext cx="178" cy="201"/>
                </a:xfrm>
                <a:custGeom>
                  <a:avLst/>
                  <a:gdLst>
                    <a:gd name="T0" fmla="*/ 4 w 178"/>
                    <a:gd name="T1" fmla="*/ 188 h 201"/>
                    <a:gd name="T2" fmla="*/ 9 w 178"/>
                    <a:gd name="T3" fmla="*/ 184 h 201"/>
                    <a:gd name="T4" fmla="*/ 27 w 178"/>
                    <a:gd name="T5" fmla="*/ 184 h 201"/>
                    <a:gd name="T6" fmla="*/ 40 w 178"/>
                    <a:gd name="T7" fmla="*/ 192 h 201"/>
                    <a:gd name="T8" fmla="*/ 49 w 178"/>
                    <a:gd name="T9" fmla="*/ 188 h 201"/>
                    <a:gd name="T10" fmla="*/ 103 w 178"/>
                    <a:gd name="T11" fmla="*/ 188 h 201"/>
                    <a:gd name="T12" fmla="*/ 116 w 178"/>
                    <a:gd name="T13" fmla="*/ 201 h 201"/>
                    <a:gd name="T14" fmla="*/ 134 w 178"/>
                    <a:gd name="T15" fmla="*/ 201 h 201"/>
                    <a:gd name="T16" fmla="*/ 170 w 178"/>
                    <a:gd name="T17" fmla="*/ 192 h 201"/>
                    <a:gd name="T18" fmla="*/ 147 w 178"/>
                    <a:gd name="T19" fmla="*/ 170 h 201"/>
                    <a:gd name="T20" fmla="*/ 152 w 178"/>
                    <a:gd name="T21" fmla="*/ 125 h 201"/>
                    <a:gd name="T22" fmla="*/ 174 w 178"/>
                    <a:gd name="T23" fmla="*/ 121 h 201"/>
                    <a:gd name="T24" fmla="*/ 178 w 178"/>
                    <a:gd name="T25" fmla="*/ 112 h 201"/>
                    <a:gd name="T26" fmla="*/ 178 w 178"/>
                    <a:gd name="T27" fmla="*/ 90 h 201"/>
                    <a:gd name="T28" fmla="*/ 152 w 178"/>
                    <a:gd name="T29" fmla="*/ 94 h 201"/>
                    <a:gd name="T30" fmla="*/ 143 w 178"/>
                    <a:gd name="T31" fmla="*/ 41 h 201"/>
                    <a:gd name="T32" fmla="*/ 134 w 178"/>
                    <a:gd name="T33" fmla="*/ 41 h 201"/>
                    <a:gd name="T34" fmla="*/ 129 w 178"/>
                    <a:gd name="T35" fmla="*/ 36 h 201"/>
                    <a:gd name="T36" fmla="*/ 116 w 178"/>
                    <a:gd name="T37" fmla="*/ 36 h 201"/>
                    <a:gd name="T38" fmla="*/ 111 w 178"/>
                    <a:gd name="T39" fmla="*/ 54 h 201"/>
                    <a:gd name="T40" fmla="*/ 89 w 178"/>
                    <a:gd name="T41" fmla="*/ 54 h 201"/>
                    <a:gd name="T42" fmla="*/ 80 w 178"/>
                    <a:gd name="T43" fmla="*/ 41 h 201"/>
                    <a:gd name="T44" fmla="*/ 80 w 178"/>
                    <a:gd name="T45" fmla="*/ 36 h 201"/>
                    <a:gd name="T46" fmla="*/ 76 w 178"/>
                    <a:gd name="T47" fmla="*/ 23 h 201"/>
                    <a:gd name="T48" fmla="*/ 22 w 178"/>
                    <a:gd name="T49" fmla="*/ 23 h 201"/>
                    <a:gd name="T50" fmla="*/ 9 w 178"/>
                    <a:gd name="T51" fmla="*/ 18 h 201"/>
                    <a:gd name="T52" fmla="*/ 9 w 178"/>
                    <a:gd name="T53" fmla="*/ 18 h 201"/>
                    <a:gd name="T54" fmla="*/ 18 w 178"/>
                    <a:gd name="T55" fmla="*/ 0 h 201"/>
                    <a:gd name="T56" fmla="*/ 13 w 178"/>
                    <a:gd name="T57" fmla="*/ 0 h 201"/>
                    <a:gd name="T58" fmla="*/ 4 w 178"/>
                    <a:gd name="T59" fmla="*/ 9 h 201"/>
                    <a:gd name="T60" fmla="*/ 4 w 178"/>
                    <a:gd name="T61" fmla="*/ 14 h 201"/>
                    <a:gd name="T62" fmla="*/ 27 w 178"/>
                    <a:gd name="T63" fmla="*/ 54 h 201"/>
                    <a:gd name="T64" fmla="*/ 27 w 178"/>
                    <a:gd name="T65" fmla="*/ 63 h 201"/>
                    <a:gd name="T66" fmla="*/ 22 w 178"/>
                    <a:gd name="T67" fmla="*/ 63 h 201"/>
                    <a:gd name="T68" fmla="*/ 18 w 178"/>
                    <a:gd name="T69" fmla="*/ 67 h 201"/>
                    <a:gd name="T70" fmla="*/ 31 w 178"/>
                    <a:gd name="T71" fmla="*/ 90 h 201"/>
                    <a:gd name="T72" fmla="*/ 36 w 178"/>
                    <a:gd name="T73" fmla="*/ 103 h 201"/>
                    <a:gd name="T74" fmla="*/ 27 w 178"/>
                    <a:gd name="T75" fmla="*/ 112 h 201"/>
                    <a:gd name="T76" fmla="*/ 22 w 178"/>
                    <a:gd name="T77" fmla="*/ 116 h 201"/>
                    <a:gd name="T78" fmla="*/ 13 w 178"/>
                    <a:gd name="T79" fmla="*/ 130 h 201"/>
                    <a:gd name="T80" fmla="*/ 4 w 178"/>
                    <a:gd name="T81" fmla="*/ 148 h 201"/>
                    <a:gd name="T82" fmla="*/ 0 w 178"/>
                    <a:gd name="T83" fmla="*/ 161 h 201"/>
                    <a:gd name="T84" fmla="*/ 4 w 178"/>
                    <a:gd name="T85" fmla="*/ 179 h 201"/>
                    <a:gd name="T86" fmla="*/ 0 w 178"/>
                    <a:gd name="T87" fmla="*/ 179 h 201"/>
                    <a:gd name="T88" fmla="*/ 4 w 178"/>
                    <a:gd name="T89" fmla="*/ 18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8" h="201">
                      <a:moveTo>
                        <a:pt x="4" y="188"/>
                      </a:moveTo>
                      <a:lnTo>
                        <a:pt x="9" y="184"/>
                      </a:lnTo>
                      <a:lnTo>
                        <a:pt x="27" y="184"/>
                      </a:lnTo>
                      <a:lnTo>
                        <a:pt x="40" y="192"/>
                      </a:lnTo>
                      <a:lnTo>
                        <a:pt x="49" y="188"/>
                      </a:lnTo>
                      <a:lnTo>
                        <a:pt x="103" y="188"/>
                      </a:lnTo>
                      <a:lnTo>
                        <a:pt x="116" y="201"/>
                      </a:lnTo>
                      <a:lnTo>
                        <a:pt x="134" y="201"/>
                      </a:lnTo>
                      <a:lnTo>
                        <a:pt x="170" y="192"/>
                      </a:lnTo>
                      <a:lnTo>
                        <a:pt x="147" y="170"/>
                      </a:lnTo>
                      <a:lnTo>
                        <a:pt x="152" y="125"/>
                      </a:lnTo>
                      <a:lnTo>
                        <a:pt x="174" y="121"/>
                      </a:lnTo>
                      <a:lnTo>
                        <a:pt x="178" y="112"/>
                      </a:lnTo>
                      <a:lnTo>
                        <a:pt x="178" y="90"/>
                      </a:lnTo>
                      <a:lnTo>
                        <a:pt x="152" y="94"/>
                      </a:lnTo>
                      <a:lnTo>
                        <a:pt x="143" y="41"/>
                      </a:lnTo>
                      <a:lnTo>
                        <a:pt x="134" y="41"/>
                      </a:lnTo>
                      <a:lnTo>
                        <a:pt x="129" y="36"/>
                      </a:lnTo>
                      <a:lnTo>
                        <a:pt x="116" y="36"/>
                      </a:lnTo>
                      <a:lnTo>
                        <a:pt x="111" y="54"/>
                      </a:lnTo>
                      <a:lnTo>
                        <a:pt x="89" y="54"/>
                      </a:lnTo>
                      <a:lnTo>
                        <a:pt x="80" y="41"/>
                      </a:lnTo>
                      <a:lnTo>
                        <a:pt x="80" y="36"/>
                      </a:lnTo>
                      <a:lnTo>
                        <a:pt x="76" y="23"/>
                      </a:lnTo>
                      <a:lnTo>
                        <a:pt x="22" y="23"/>
                      </a:lnTo>
                      <a:lnTo>
                        <a:pt x="9" y="18"/>
                      </a:lnTo>
                      <a:lnTo>
                        <a:pt x="9" y="18"/>
                      </a:lnTo>
                      <a:lnTo>
                        <a:pt x="18" y="0"/>
                      </a:lnTo>
                      <a:lnTo>
                        <a:pt x="13" y="0"/>
                      </a:lnTo>
                      <a:lnTo>
                        <a:pt x="4" y="9"/>
                      </a:lnTo>
                      <a:lnTo>
                        <a:pt x="4" y="14"/>
                      </a:lnTo>
                      <a:lnTo>
                        <a:pt x="27" y="54"/>
                      </a:lnTo>
                      <a:lnTo>
                        <a:pt x="27" y="63"/>
                      </a:lnTo>
                      <a:lnTo>
                        <a:pt x="22" y="63"/>
                      </a:lnTo>
                      <a:lnTo>
                        <a:pt x="18" y="67"/>
                      </a:lnTo>
                      <a:lnTo>
                        <a:pt x="31" y="90"/>
                      </a:lnTo>
                      <a:lnTo>
                        <a:pt x="36" y="103"/>
                      </a:lnTo>
                      <a:lnTo>
                        <a:pt x="27" y="112"/>
                      </a:lnTo>
                      <a:lnTo>
                        <a:pt x="22" y="116"/>
                      </a:lnTo>
                      <a:lnTo>
                        <a:pt x="13" y="130"/>
                      </a:lnTo>
                      <a:lnTo>
                        <a:pt x="4" y="148"/>
                      </a:lnTo>
                      <a:lnTo>
                        <a:pt x="0" y="161"/>
                      </a:lnTo>
                      <a:lnTo>
                        <a:pt x="4" y="179"/>
                      </a:lnTo>
                      <a:lnTo>
                        <a:pt x="0" y="179"/>
                      </a:lnTo>
                      <a:lnTo>
                        <a:pt x="4" y="188"/>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73" name="Freeform 7">
                  <a:extLst>
                    <a:ext uri="{FF2B5EF4-FFF2-40B4-BE49-F238E27FC236}">
                      <a16:creationId xmlns:a16="http://schemas.microsoft.com/office/drawing/2014/main" id="{EB8449B7-EFA0-405F-B079-A64D70E89FF9}"/>
                    </a:ext>
                  </a:extLst>
                </p:cNvPr>
                <p:cNvSpPr>
                  <a:spLocks/>
                </p:cNvSpPr>
                <p:nvPr/>
              </p:nvSpPr>
              <p:spPr bwMode="gray">
                <a:xfrm>
                  <a:off x="2968" y="3043"/>
                  <a:ext cx="139" cy="147"/>
                </a:xfrm>
                <a:custGeom>
                  <a:avLst/>
                  <a:gdLst>
                    <a:gd name="T0" fmla="*/ 0 w 139"/>
                    <a:gd name="T1" fmla="*/ 112 h 147"/>
                    <a:gd name="T2" fmla="*/ 9 w 139"/>
                    <a:gd name="T3" fmla="*/ 130 h 147"/>
                    <a:gd name="T4" fmla="*/ 9 w 139"/>
                    <a:gd name="T5" fmla="*/ 138 h 147"/>
                    <a:gd name="T6" fmla="*/ 9 w 139"/>
                    <a:gd name="T7" fmla="*/ 147 h 147"/>
                    <a:gd name="T8" fmla="*/ 32 w 139"/>
                    <a:gd name="T9" fmla="*/ 143 h 147"/>
                    <a:gd name="T10" fmla="*/ 45 w 139"/>
                    <a:gd name="T11" fmla="*/ 121 h 147"/>
                    <a:gd name="T12" fmla="*/ 50 w 139"/>
                    <a:gd name="T13" fmla="*/ 121 h 147"/>
                    <a:gd name="T14" fmla="*/ 54 w 139"/>
                    <a:gd name="T15" fmla="*/ 125 h 147"/>
                    <a:gd name="T16" fmla="*/ 58 w 139"/>
                    <a:gd name="T17" fmla="*/ 130 h 147"/>
                    <a:gd name="T18" fmla="*/ 81 w 139"/>
                    <a:gd name="T19" fmla="*/ 125 h 147"/>
                    <a:gd name="T20" fmla="*/ 85 w 139"/>
                    <a:gd name="T21" fmla="*/ 112 h 147"/>
                    <a:gd name="T22" fmla="*/ 99 w 139"/>
                    <a:gd name="T23" fmla="*/ 103 h 147"/>
                    <a:gd name="T24" fmla="*/ 99 w 139"/>
                    <a:gd name="T25" fmla="*/ 98 h 147"/>
                    <a:gd name="T26" fmla="*/ 121 w 139"/>
                    <a:gd name="T27" fmla="*/ 76 h 147"/>
                    <a:gd name="T28" fmla="*/ 134 w 139"/>
                    <a:gd name="T29" fmla="*/ 71 h 147"/>
                    <a:gd name="T30" fmla="*/ 139 w 139"/>
                    <a:gd name="T31" fmla="*/ 67 h 147"/>
                    <a:gd name="T32" fmla="*/ 139 w 139"/>
                    <a:gd name="T33" fmla="*/ 62 h 147"/>
                    <a:gd name="T34" fmla="*/ 125 w 139"/>
                    <a:gd name="T35" fmla="*/ 62 h 147"/>
                    <a:gd name="T36" fmla="*/ 112 w 139"/>
                    <a:gd name="T37" fmla="*/ 45 h 147"/>
                    <a:gd name="T38" fmla="*/ 85 w 139"/>
                    <a:gd name="T39" fmla="*/ 22 h 147"/>
                    <a:gd name="T40" fmla="*/ 72 w 139"/>
                    <a:gd name="T41" fmla="*/ 0 h 147"/>
                    <a:gd name="T42" fmla="*/ 58 w 139"/>
                    <a:gd name="T43" fmla="*/ 4 h 147"/>
                    <a:gd name="T44" fmla="*/ 54 w 139"/>
                    <a:gd name="T45" fmla="*/ 13 h 147"/>
                    <a:gd name="T46" fmla="*/ 45 w 139"/>
                    <a:gd name="T47" fmla="*/ 4 h 147"/>
                    <a:gd name="T48" fmla="*/ 27 w 139"/>
                    <a:gd name="T49" fmla="*/ 9 h 147"/>
                    <a:gd name="T50" fmla="*/ 18 w 139"/>
                    <a:gd name="T51" fmla="*/ 9 h 147"/>
                    <a:gd name="T52" fmla="*/ 18 w 139"/>
                    <a:gd name="T53" fmla="*/ 67 h 147"/>
                    <a:gd name="T54" fmla="*/ 5 w 139"/>
                    <a:gd name="T55" fmla="*/ 67 h 147"/>
                    <a:gd name="T56" fmla="*/ 0 w 139"/>
                    <a:gd name="T57" fmla="*/ 11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9" h="147">
                      <a:moveTo>
                        <a:pt x="0" y="112"/>
                      </a:moveTo>
                      <a:lnTo>
                        <a:pt x="9" y="130"/>
                      </a:lnTo>
                      <a:lnTo>
                        <a:pt x="9" y="138"/>
                      </a:lnTo>
                      <a:lnTo>
                        <a:pt x="9" y="147"/>
                      </a:lnTo>
                      <a:lnTo>
                        <a:pt x="32" y="143"/>
                      </a:lnTo>
                      <a:lnTo>
                        <a:pt x="45" y="121"/>
                      </a:lnTo>
                      <a:lnTo>
                        <a:pt x="50" y="121"/>
                      </a:lnTo>
                      <a:lnTo>
                        <a:pt x="54" y="125"/>
                      </a:lnTo>
                      <a:lnTo>
                        <a:pt x="58" y="130"/>
                      </a:lnTo>
                      <a:lnTo>
                        <a:pt x="81" y="125"/>
                      </a:lnTo>
                      <a:lnTo>
                        <a:pt x="85" y="112"/>
                      </a:lnTo>
                      <a:lnTo>
                        <a:pt x="99" y="103"/>
                      </a:lnTo>
                      <a:lnTo>
                        <a:pt x="99" y="98"/>
                      </a:lnTo>
                      <a:lnTo>
                        <a:pt x="121" y="76"/>
                      </a:lnTo>
                      <a:lnTo>
                        <a:pt x="134" y="71"/>
                      </a:lnTo>
                      <a:lnTo>
                        <a:pt x="139" y="67"/>
                      </a:lnTo>
                      <a:lnTo>
                        <a:pt x="139" y="62"/>
                      </a:lnTo>
                      <a:lnTo>
                        <a:pt x="125" y="62"/>
                      </a:lnTo>
                      <a:lnTo>
                        <a:pt x="112" y="45"/>
                      </a:lnTo>
                      <a:lnTo>
                        <a:pt x="85" y="22"/>
                      </a:lnTo>
                      <a:lnTo>
                        <a:pt x="72" y="0"/>
                      </a:lnTo>
                      <a:lnTo>
                        <a:pt x="58" y="4"/>
                      </a:lnTo>
                      <a:lnTo>
                        <a:pt x="54" y="13"/>
                      </a:lnTo>
                      <a:lnTo>
                        <a:pt x="45" y="4"/>
                      </a:lnTo>
                      <a:lnTo>
                        <a:pt x="27" y="9"/>
                      </a:lnTo>
                      <a:lnTo>
                        <a:pt x="18" y="9"/>
                      </a:lnTo>
                      <a:lnTo>
                        <a:pt x="18" y="67"/>
                      </a:lnTo>
                      <a:lnTo>
                        <a:pt x="5" y="67"/>
                      </a:lnTo>
                      <a:lnTo>
                        <a:pt x="0" y="11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74" name="Freeform 8">
                  <a:extLst>
                    <a:ext uri="{FF2B5EF4-FFF2-40B4-BE49-F238E27FC236}">
                      <a16:creationId xmlns:a16="http://schemas.microsoft.com/office/drawing/2014/main" id="{3A2D84E6-EAD2-4F23-ACA3-8FCE534C3772}"/>
                    </a:ext>
                  </a:extLst>
                </p:cNvPr>
                <p:cNvSpPr>
                  <a:spLocks/>
                </p:cNvSpPr>
                <p:nvPr/>
              </p:nvSpPr>
              <p:spPr bwMode="gray">
                <a:xfrm>
                  <a:off x="3102" y="2815"/>
                  <a:ext cx="27" cy="31"/>
                </a:xfrm>
                <a:custGeom>
                  <a:avLst/>
                  <a:gdLst>
                    <a:gd name="T0" fmla="*/ 0 w 27"/>
                    <a:gd name="T1" fmla="*/ 4 h 31"/>
                    <a:gd name="T2" fmla="*/ 5 w 27"/>
                    <a:gd name="T3" fmla="*/ 18 h 31"/>
                    <a:gd name="T4" fmla="*/ 5 w 27"/>
                    <a:gd name="T5" fmla="*/ 31 h 31"/>
                    <a:gd name="T6" fmla="*/ 9 w 27"/>
                    <a:gd name="T7" fmla="*/ 31 h 31"/>
                    <a:gd name="T8" fmla="*/ 27 w 27"/>
                    <a:gd name="T9" fmla="*/ 18 h 31"/>
                    <a:gd name="T10" fmla="*/ 27 w 27"/>
                    <a:gd name="T11" fmla="*/ 9 h 31"/>
                    <a:gd name="T12" fmla="*/ 23 w 27"/>
                    <a:gd name="T13" fmla="*/ 9 h 31"/>
                    <a:gd name="T14" fmla="*/ 23 w 27"/>
                    <a:gd name="T15" fmla="*/ 0 h 31"/>
                    <a:gd name="T16" fmla="*/ 14 w 27"/>
                    <a:gd name="T17" fmla="*/ 0 h 31"/>
                    <a:gd name="T18" fmla="*/ 9 w 27"/>
                    <a:gd name="T19" fmla="*/ 4 h 31"/>
                    <a:gd name="T20" fmla="*/ 0 w 27"/>
                    <a:gd name="T21"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1">
                      <a:moveTo>
                        <a:pt x="0" y="4"/>
                      </a:moveTo>
                      <a:lnTo>
                        <a:pt x="5" y="18"/>
                      </a:lnTo>
                      <a:lnTo>
                        <a:pt x="5" y="31"/>
                      </a:lnTo>
                      <a:lnTo>
                        <a:pt x="9" y="31"/>
                      </a:lnTo>
                      <a:lnTo>
                        <a:pt x="27" y="18"/>
                      </a:lnTo>
                      <a:lnTo>
                        <a:pt x="27" y="9"/>
                      </a:lnTo>
                      <a:lnTo>
                        <a:pt x="23" y="9"/>
                      </a:lnTo>
                      <a:lnTo>
                        <a:pt x="23" y="0"/>
                      </a:lnTo>
                      <a:lnTo>
                        <a:pt x="14" y="0"/>
                      </a:lnTo>
                      <a:lnTo>
                        <a:pt x="9" y="4"/>
                      </a:lnTo>
                      <a:lnTo>
                        <a:pt x="0" y="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75" name="Freeform 9">
                  <a:extLst>
                    <a:ext uri="{FF2B5EF4-FFF2-40B4-BE49-F238E27FC236}">
                      <a16:creationId xmlns:a16="http://schemas.microsoft.com/office/drawing/2014/main" id="{3ED21BB4-8669-4457-8F47-BF739B05CB13}"/>
                    </a:ext>
                  </a:extLst>
                </p:cNvPr>
                <p:cNvSpPr>
                  <a:spLocks/>
                </p:cNvSpPr>
                <p:nvPr/>
              </p:nvSpPr>
              <p:spPr bwMode="gray">
                <a:xfrm>
                  <a:off x="2812" y="2592"/>
                  <a:ext cx="103" cy="160"/>
                </a:xfrm>
                <a:custGeom>
                  <a:avLst/>
                  <a:gdLst>
                    <a:gd name="T0" fmla="*/ 0 w 103"/>
                    <a:gd name="T1" fmla="*/ 116 h 160"/>
                    <a:gd name="T2" fmla="*/ 0 w 103"/>
                    <a:gd name="T3" fmla="*/ 125 h 160"/>
                    <a:gd name="T4" fmla="*/ 5 w 103"/>
                    <a:gd name="T5" fmla="*/ 129 h 160"/>
                    <a:gd name="T6" fmla="*/ 13 w 103"/>
                    <a:gd name="T7" fmla="*/ 129 h 160"/>
                    <a:gd name="T8" fmla="*/ 9 w 103"/>
                    <a:gd name="T9" fmla="*/ 138 h 160"/>
                    <a:gd name="T10" fmla="*/ 9 w 103"/>
                    <a:gd name="T11" fmla="*/ 143 h 160"/>
                    <a:gd name="T12" fmla="*/ 9 w 103"/>
                    <a:gd name="T13" fmla="*/ 156 h 160"/>
                    <a:gd name="T14" fmla="*/ 31 w 103"/>
                    <a:gd name="T15" fmla="*/ 160 h 160"/>
                    <a:gd name="T16" fmla="*/ 49 w 103"/>
                    <a:gd name="T17" fmla="*/ 156 h 160"/>
                    <a:gd name="T18" fmla="*/ 63 w 103"/>
                    <a:gd name="T19" fmla="*/ 156 h 160"/>
                    <a:gd name="T20" fmla="*/ 85 w 103"/>
                    <a:gd name="T21" fmla="*/ 156 h 160"/>
                    <a:gd name="T22" fmla="*/ 98 w 103"/>
                    <a:gd name="T23" fmla="*/ 160 h 160"/>
                    <a:gd name="T24" fmla="*/ 103 w 103"/>
                    <a:gd name="T25" fmla="*/ 143 h 160"/>
                    <a:gd name="T26" fmla="*/ 94 w 103"/>
                    <a:gd name="T27" fmla="*/ 138 h 160"/>
                    <a:gd name="T28" fmla="*/ 80 w 103"/>
                    <a:gd name="T29" fmla="*/ 125 h 160"/>
                    <a:gd name="T30" fmla="*/ 76 w 103"/>
                    <a:gd name="T31" fmla="*/ 98 h 160"/>
                    <a:gd name="T32" fmla="*/ 94 w 103"/>
                    <a:gd name="T33" fmla="*/ 80 h 160"/>
                    <a:gd name="T34" fmla="*/ 89 w 103"/>
                    <a:gd name="T35" fmla="*/ 71 h 160"/>
                    <a:gd name="T36" fmla="*/ 72 w 103"/>
                    <a:gd name="T37" fmla="*/ 49 h 160"/>
                    <a:gd name="T38" fmla="*/ 72 w 103"/>
                    <a:gd name="T39" fmla="*/ 40 h 160"/>
                    <a:gd name="T40" fmla="*/ 89 w 103"/>
                    <a:gd name="T41" fmla="*/ 44 h 160"/>
                    <a:gd name="T42" fmla="*/ 85 w 103"/>
                    <a:gd name="T43" fmla="*/ 31 h 160"/>
                    <a:gd name="T44" fmla="*/ 85 w 103"/>
                    <a:gd name="T45" fmla="*/ 17 h 160"/>
                    <a:gd name="T46" fmla="*/ 80 w 103"/>
                    <a:gd name="T47" fmla="*/ 0 h 160"/>
                    <a:gd name="T48" fmla="*/ 76 w 103"/>
                    <a:gd name="T49" fmla="*/ 4 h 160"/>
                    <a:gd name="T50" fmla="*/ 76 w 103"/>
                    <a:gd name="T51" fmla="*/ 17 h 160"/>
                    <a:gd name="T52" fmla="*/ 67 w 103"/>
                    <a:gd name="T53" fmla="*/ 22 h 160"/>
                    <a:gd name="T54" fmla="*/ 63 w 103"/>
                    <a:gd name="T55" fmla="*/ 49 h 160"/>
                    <a:gd name="T56" fmla="*/ 58 w 103"/>
                    <a:gd name="T57" fmla="*/ 49 h 160"/>
                    <a:gd name="T58" fmla="*/ 54 w 103"/>
                    <a:gd name="T59" fmla="*/ 62 h 160"/>
                    <a:gd name="T60" fmla="*/ 45 w 103"/>
                    <a:gd name="T61" fmla="*/ 67 h 160"/>
                    <a:gd name="T62" fmla="*/ 31 w 103"/>
                    <a:gd name="T63" fmla="*/ 89 h 160"/>
                    <a:gd name="T64" fmla="*/ 22 w 103"/>
                    <a:gd name="T65" fmla="*/ 84 h 160"/>
                    <a:gd name="T66" fmla="*/ 13 w 103"/>
                    <a:gd name="T67" fmla="*/ 84 h 160"/>
                    <a:gd name="T68" fmla="*/ 5 w 103"/>
                    <a:gd name="T69" fmla="*/ 111 h 160"/>
                    <a:gd name="T70" fmla="*/ 0 w 103"/>
                    <a:gd name="T71" fmla="*/ 1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3" h="160">
                      <a:moveTo>
                        <a:pt x="0" y="116"/>
                      </a:moveTo>
                      <a:lnTo>
                        <a:pt x="0" y="125"/>
                      </a:lnTo>
                      <a:lnTo>
                        <a:pt x="5" y="129"/>
                      </a:lnTo>
                      <a:lnTo>
                        <a:pt x="13" y="129"/>
                      </a:lnTo>
                      <a:lnTo>
                        <a:pt x="9" y="138"/>
                      </a:lnTo>
                      <a:lnTo>
                        <a:pt x="9" y="143"/>
                      </a:lnTo>
                      <a:lnTo>
                        <a:pt x="9" y="156"/>
                      </a:lnTo>
                      <a:lnTo>
                        <a:pt x="31" y="160"/>
                      </a:lnTo>
                      <a:lnTo>
                        <a:pt x="49" y="156"/>
                      </a:lnTo>
                      <a:lnTo>
                        <a:pt x="63" y="156"/>
                      </a:lnTo>
                      <a:lnTo>
                        <a:pt x="85" y="156"/>
                      </a:lnTo>
                      <a:lnTo>
                        <a:pt x="98" y="160"/>
                      </a:lnTo>
                      <a:lnTo>
                        <a:pt x="103" y="143"/>
                      </a:lnTo>
                      <a:lnTo>
                        <a:pt x="94" y="138"/>
                      </a:lnTo>
                      <a:lnTo>
                        <a:pt x="80" y="125"/>
                      </a:lnTo>
                      <a:lnTo>
                        <a:pt x="76" y="98"/>
                      </a:lnTo>
                      <a:lnTo>
                        <a:pt x="94" y="80"/>
                      </a:lnTo>
                      <a:lnTo>
                        <a:pt x="89" y="71"/>
                      </a:lnTo>
                      <a:lnTo>
                        <a:pt x="72" y="49"/>
                      </a:lnTo>
                      <a:lnTo>
                        <a:pt x="72" y="40"/>
                      </a:lnTo>
                      <a:lnTo>
                        <a:pt x="89" y="44"/>
                      </a:lnTo>
                      <a:lnTo>
                        <a:pt x="85" y="31"/>
                      </a:lnTo>
                      <a:lnTo>
                        <a:pt x="85" y="17"/>
                      </a:lnTo>
                      <a:lnTo>
                        <a:pt x="80" y="0"/>
                      </a:lnTo>
                      <a:lnTo>
                        <a:pt x="76" y="4"/>
                      </a:lnTo>
                      <a:lnTo>
                        <a:pt x="76" y="17"/>
                      </a:lnTo>
                      <a:lnTo>
                        <a:pt x="67" y="22"/>
                      </a:lnTo>
                      <a:lnTo>
                        <a:pt x="63" y="49"/>
                      </a:lnTo>
                      <a:lnTo>
                        <a:pt x="58" y="49"/>
                      </a:lnTo>
                      <a:lnTo>
                        <a:pt x="54" y="62"/>
                      </a:lnTo>
                      <a:lnTo>
                        <a:pt x="45" y="67"/>
                      </a:lnTo>
                      <a:lnTo>
                        <a:pt x="31" y="89"/>
                      </a:lnTo>
                      <a:lnTo>
                        <a:pt x="22" y="84"/>
                      </a:lnTo>
                      <a:lnTo>
                        <a:pt x="13" y="84"/>
                      </a:lnTo>
                      <a:lnTo>
                        <a:pt x="5" y="111"/>
                      </a:lnTo>
                      <a:lnTo>
                        <a:pt x="0" y="116"/>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76" name="Freeform 10">
                  <a:extLst>
                    <a:ext uri="{FF2B5EF4-FFF2-40B4-BE49-F238E27FC236}">
                      <a16:creationId xmlns:a16="http://schemas.microsoft.com/office/drawing/2014/main" id="{4C8D494C-FCB5-44F8-BE82-BB060F42E2D8}"/>
                    </a:ext>
                  </a:extLst>
                </p:cNvPr>
                <p:cNvSpPr>
                  <a:spLocks noEditPoints="1"/>
                </p:cNvSpPr>
                <p:nvPr/>
              </p:nvSpPr>
              <p:spPr bwMode="gray">
                <a:xfrm>
                  <a:off x="2334" y="2529"/>
                  <a:ext cx="27" cy="36"/>
                </a:xfrm>
                <a:custGeom>
                  <a:avLst/>
                  <a:gdLst>
                    <a:gd name="T0" fmla="*/ 0 w 27"/>
                    <a:gd name="T1" fmla="*/ 0 h 36"/>
                    <a:gd name="T2" fmla="*/ 5 w 27"/>
                    <a:gd name="T3" fmla="*/ 4 h 36"/>
                    <a:gd name="T4" fmla="*/ 5 w 27"/>
                    <a:gd name="T5" fmla="*/ 0 h 36"/>
                    <a:gd name="T6" fmla="*/ 0 w 27"/>
                    <a:gd name="T7" fmla="*/ 0 h 36"/>
                    <a:gd name="T8" fmla="*/ 9 w 27"/>
                    <a:gd name="T9" fmla="*/ 22 h 36"/>
                    <a:gd name="T10" fmla="*/ 5 w 27"/>
                    <a:gd name="T11" fmla="*/ 31 h 36"/>
                    <a:gd name="T12" fmla="*/ 9 w 27"/>
                    <a:gd name="T13" fmla="*/ 36 h 36"/>
                    <a:gd name="T14" fmla="*/ 14 w 27"/>
                    <a:gd name="T15" fmla="*/ 31 h 36"/>
                    <a:gd name="T16" fmla="*/ 9 w 27"/>
                    <a:gd name="T17" fmla="*/ 22 h 36"/>
                    <a:gd name="T18" fmla="*/ 22 w 27"/>
                    <a:gd name="T19" fmla="*/ 9 h 36"/>
                    <a:gd name="T20" fmla="*/ 22 w 27"/>
                    <a:gd name="T21" fmla="*/ 13 h 36"/>
                    <a:gd name="T22" fmla="*/ 22 w 27"/>
                    <a:gd name="T23" fmla="*/ 18 h 36"/>
                    <a:gd name="T24" fmla="*/ 27 w 27"/>
                    <a:gd name="T25" fmla="*/ 13 h 36"/>
                    <a:gd name="T26" fmla="*/ 22 w 27"/>
                    <a:gd name="T27" fmla="*/ 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6">
                      <a:moveTo>
                        <a:pt x="0" y="0"/>
                      </a:moveTo>
                      <a:lnTo>
                        <a:pt x="5" y="4"/>
                      </a:lnTo>
                      <a:lnTo>
                        <a:pt x="5" y="0"/>
                      </a:lnTo>
                      <a:lnTo>
                        <a:pt x="0" y="0"/>
                      </a:lnTo>
                      <a:close/>
                      <a:moveTo>
                        <a:pt x="9" y="22"/>
                      </a:moveTo>
                      <a:lnTo>
                        <a:pt x="5" y="31"/>
                      </a:lnTo>
                      <a:lnTo>
                        <a:pt x="9" y="36"/>
                      </a:lnTo>
                      <a:lnTo>
                        <a:pt x="14" y="31"/>
                      </a:lnTo>
                      <a:lnTo>
                        <a:pt x="9" y="22"/>
                      </a:lnTo>
                      <a:close/>
                      <a:moveTo>
                        <a:pt x="22" y="9"/>
                      </a:moveTo>
                      <a:lnTo>
                        <a:pt x="22" y="13"/>
                      </a:lnTo>
                      <a:lnTo>
                        <a:pt x="22" y="18"/>
                      </a:lnTo>
                      <a:lnTo>
                        <a:pt x="27" y="13"/>
                      </a:lnTo>
                      <a:lnTo>
                        <a:pt x="22" y="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77" name="Freeform 11">
                  <a:extLst>
                    <a:ext uri="{FF2B5EF4-FFF2-40B4-BE49-F238E27FC236}">
                      <a16:creationId xmlns:a16="http://schemas.microsoft.com/office/drawing/2014/main" id="{B7407DFE-0F73-462A-88FF-56DBEB4AFF0E}"/>
                    </a:ext>
                  </a:extLst>
                </p:cNvPr>
                <p:cNvSpPr>
                  <a:spLocks/>
                </p:cNvSpPr>
                <p:nvPr/>
              </p:nvSpPr>
              <p:spPr bwMode="gray">
                <a:xfrm>
                  <a:off x="2888" y="2618"/>
                  <a:ext cx="188" cy="117"/>
                </a:xfrm>
                <a:custGeom>
                  <a:avLst/>
                  <a:gdLst>
                    <a:gd name="T0" fmla="*/ 27 w 188"/>
                    <a:gd name="T1" fmla="*/ 117 h 117"/>
                    <a:gd name="T2" fmla="*/ 45 w 188"/>
                    <a:gd name="T3" fmla="*/ 103 h 117"/>
                    <a:gd name="T4" fmla="*/ 63 w 188"/>
                    <a:gd name="T5" fmla="*/ 103 h 117"/>
                    <a:gd name="T6" fmla="*/ 63 w 188"/>
                    <a:gd name="T7" fmla="*/ 99 h 117"/>
                    <a:gd name="T8" fmla="*/ 76 w 188"/>
                    <a:gd name="T9" fmla="*/ 85 h 117"/>
                    <a:gd name="T10" fmla="*/ 85 w 188"/>
                    <a:gd name="T11" fmla="*/ 94 h 117"/>
                    <a:gd name="T12" fmla="*/ 116 w 188"/>
                    <a:gd name="T13" fmla="*/ 99 h 117"/>
                    <a:gd name="T14" fmla="*/ 121 w 188"/>
                    <a:gd name="T15" fmla="*/ 90 h 117"/>
                    <a:gd name="T16" fmla="*/ 130 w 188"/>
                    <a:gd name="T17" fmla="*/ 94 h 117"/>
                    <a:gd name="T18" fmla="*/ 147 w 188"/>
                    <a:gd name="T19" fmla="*/ 85 h 117"/>
                    <a:gd name="T20" fmla="*/ 152 w 188"/>
                    <a:gd name="T21" fmla="*/ 90 h 117"/>
                    <a:gd name="T22" fmla="*/ 161 w 188"/>
                    <a:gd name="T23" fmla="*/ 85 h 117"/>
                    <a:gd name="T24" fmla="*/ 188 w 188"/>
                    <a:gd name="T25" fmla="*/ 90 h 117"/>
                    <a:gd name="T26" fmla="*/ 188 w 188"/>
                    <a:gd name="T27" fmla="*/ 76 h 117"/>
                    <a:gd name="T28" fmla="*/ 174 w 188"/>
                    <a:gd name="T29" fmla="*/ 72 h 117"/>
                    <a:gd name="T30" fmla="*/ 161 w 188"/>
                    <a:gd name="T31" fmla="*/ 45 h 117"/>
                    <a:gd name="T32" fmla="*/ 147 w 188"/>
                    <a:gd name="T33" fmla="*/ 41 h 117"/>
                    <a:gd name="T34" fmla="*/ 143 w 188"/>
                    <a:gd name="T35" fmla="*/ 36 h 117"/>
                    <a:gd name="T36" fmla="*/ 130 w 188"/>
                    <a:gd name="T37" fmla="*/ 32 h 117"/>
                    <a:gd name="T38" fmla="*/ 125 w 188"/>
                    <a:gd name="T39" fmla="*/ 18 h 117"/>
                    <a:gd name="T40" fmla="*/ 121 w 188"/>
                    <a:gd name="T41" fmla="*/ 0 h 117"/>
                    <a:gd name="T42" fmla="*/ 112 w 188"/>
                    <a:gd name="T43" fmla="*/ 0 h 117"/>
                    <a:gd name="T44" fmla="*/ 103 w 188"/>
                    <a:gd name="T45" fmla="*/ 5 h 117"/>
                    <a:gd name="T46" fmla="*/ 89 w 188"/>
                    <a:gd name="T47" fmla="*/ 27 h 117"/>
                    <a:gd name="T48" fmla="*/ 71 w 188"/>
                    <a:gd name="T49" fmla="*/ 32 h 117"/>
                    <a:gd name="T50" fmla="*/ 67 w 188"/>
                    <a:gd name="T51" fmla="*/ 41 h 117"/>
                    <a:gd name="T52" fmla="*/ 49 w 188"/>
                    <a:gd name="T53" fmla="*/ 45 h 117"/>
                    <a:gd name="T54" fmla="*/ 36 w 188"/>
                    <a:gd name="T55" fmla="*/ 54 h 117"/>
                    <a:gd name="T56" fmla="*/ 27 w 188"/>
                    <a:gd name="T57" fmla="*/ 50 h 117"/>
                    <a:gd name="T58" fmla="*/ 18 w 188"/>
                    <a:gd name="T59" fmla="*/ 54 h 117"/>
                    <a:gd name="T60" fmla="*/ 0 w 188"/>
                    <a:gd name="T61" fmla="*/ 72 h 117"/>
                    <a:gd name="T62" fmla="*/ 4 w 188"/>
                    <a:gd name="T63" fmla="*/ 99 h 117"/>
                    <a:gd name="T64" fmla="*/ 18 w 188"/>
                    <a:gd name="T65" fmla="*/ 112 h 117"/>
                    <a:gd name="T66" fmla="*/ 27 w 188"/>
                    <a:gd name="T67"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 h="117">
                      <a:moveTo>
                        <a:pt x="27" y="117"/>
                      </a:moveTo>
                      <a:lnTo>
                        <a:pt x="45" y="103"/>
                      </a:lnTo>
                      <a:lnTo>
                        <a:pt x="63" y="103"/>
                      </a:lnTo>
                      <a:lnTo>
                        <a:pt x="63" y="99"/>
                      </a:lnTo>
                      <a:lnTo>
                        <a:pt x="76" y="85"/>
                      </a:lnTo>
                      <a:lnTo>
                        <a:pt x="85" y="94"/>
                      </a:lnTo>
                      <a:lnTo>
                        <a:pt x="116" y="99"/>
                      </a:lnTo>
                      <a:lnTo>
                        <a:pt x="121" y="90"/>
                      </a:lnTo>
                      <a:lnTo>
                        <a:pt x="130" y="94"/>
                      </a:lnTo>
                      <a:lnTo>
                        <a:pt x="147" y="85"/>
                      </a:lnTo>
                      <a:lnTo>
                        <a:pt x="152" y="90"/>
                      </a:lnTo>
                      <a:lnTo>
                        <a:pt x="161" y="85"/>
                      </a:lnTo>
                      <a:lnTo>
                        <a:pt x="188" y="90"/>
                      </a:lnTo>
                      <a:lnTo>
                        <a:pt x="188" y="76"/>
                      </a:lnTo>
                      <a:lnTo>
                        <a:pt x="174" y="72"/>
                      </a:lnTo>
                      <a:lnTo>
                        <a:pt x="161" y="45"/>
                      </a:lnTo>
                      <a:lnTo>
                        <a:pt x="147" y="41"/>
                      </a:lnTo>
                      <a:lnTo>
                        <a:pt x="143" y="36"/>
                      </a:lnTo>
                      <a:lnTo>
                        <a:pt x="130" y="32"/>
                      </a:lnTo>
                      <a:lnTo>
                        <a:pt x="125" y="18"/>
                      </a:lnTo>
                      <a:lnTo>
                        <a:pt x="121" y="0"/>
                      </a:lnTo>
                      <a:lnTo>
                        <a:pt x="112" y="0"/>
                      </a:lnTo>
                      <a:lnTo>
                        <a:pt x="103" y="5"/>
                      </a:lnTo>
                      <a:lnTo>
                        <a:pt x="89" y="27"/>
                      </a:lnTo>
                      <a:lnTo>
                        <a:pt x="71" y="32"/>
                      </a:lnTo>
                      <a:lnTo>
                        <a:pt x="67" y="41"/>
                      </a:lnTo>
                      <a:lnTo>
                        <a:pt x="49" y="45"/>
                      </a:lnTo>
                      <a:lnTo>
                        <a:pt x="36" y="54"/>
                      </a:lnTo>
                      <a:lnTo>
                        <a:pt x="27" y="50"/>
                      </a:lnTo>
                      <a:lnTo>
                        <a:pt x="18" y="54"/>
                      </a:lnTo>
                      <a:lnTo>
                        <a:pt x="0" y="72"/>
                      </a:lnTo>
                      <a:lnTo>
                        <a:pt x="4" y="99"/>
                      </a:lnTo>
                      <a:lnTo>
                        <a:pt x="18" y="112"/>
                      </a:lnTo>
                      <a:lnTo>
                        <a:pt x="27" y="117"/>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78" name="Freeform 12">
                  <a:extLst>
                    <a:ext uri="{FF2B5EF4-FFF2-40B4-BE49-F238E27FC236}">
                      <a16:creationId xmlns:a16="http://schemas.microsoft.com/office/drawing/2014/main" id="{E016547A-7E36-4A3C-A5C5-4F1B77E78977}"/>
                    </a:ext>
                  </a:extLst>
                </p:cNvPr>
                <p:cNvSpPr>
                  <a:spLocks/>
                </p:cNvSpPr>
                <p:nvPr/>
              </p:nvSpPr>
              <p:spPr bwMode="gray">
                <a:xfrm>
                  <a:off x="2875" y="2426"/>
                  <a:ext cx="147" cy="246"/>
                </a:xfrm>
                <a:custGeom>
                  <a:avLst/>
                  <a:gdLst>
                    <a:gd name="T0" fmla="*/ 0 w 147"/>
                    <a:gd name="T1" fmla="*/ 152 h 246"/>
                    <a:gd name="T2" fmla="*/ 4 w 147"/>
                    <a:gd name="T3" fmla="*/ 157 h 246"/>
                    <a:gd name="T4" fmla="*/ 13 w 147"/>
                    <a:gd name="T5" fmla="*/ 170 h 246"/>
                    <a:gd name="T6" fmla="*/ 17 w 147"/>
                    <a:gd name="T7" fmla="*/ 166 h 246"/>
                    <a:gd name="T8" fmla="*/ 22 w 147"/>
                    <a:gd name="T9" fmla="*/ 183 h 246"/>
                    <a:gd name="T10" fmla="*/ 22 w 147"/>
                    <a:gd name="T11" fmla="*/ 197 h 246"/>
                    <a:gd name="T12" fmla="*/ 26 w 147"/>
                    <a:gd name="T13" fmla="*/ 210 h 246"/>
                    <a:gd name="T14" fmla="*/ 9 w 147"/>
                    <a:gd name="T15" fmla="*/ 206 h 246"/>
                    <a:gd name="T16" fmla="*/ 9 w 147"/>
                    <a:gd name="T17" fmla="*/ 215 h 246"/>
                    <a:gd name="T18" fmla="*/ 26 w 147"/>
                    <a:gd name="T19" fmla="*/ 237 h 246"/>
                    <a:gd name="T20" fmla="*/ 31 w 147"/>
                    <a:gd name="T21" fmla="*/ 246 h 246"/>
                    <a:gd name="T22" fmla="*/ 40 w 147"/>
                    <a:gd name="T23" fmla="*/ 242 h 246"/>
                    <a:gd name="T24" fmla="*/ 49 w 147"/>
                    <a:gd name="T25" fmla="*/ 246 h 246"/>
                    <a:gd name="T26" fmla="*/ 62 w 147"/>
                    <a:gd name="T27" fmla="*/ 237 h 246"/>
                    <a:gd name="T28" fmla="*/ 80 w 147"/>
                    <a:gd name="T29" fmla="*/ 233 h 246"/>
                    <a:gd name="T30" fmla="*/ 84 w 147"/>
                    <a:gd name="T31" fmla="*/ 224 h 246"/>
                    <a:gd name="T32" fmla="*/ 102 w 147"/>
                    <a:gd name="T33" fmla="*/ 219 h 246"/>
                    <a:gd name="T34" fmla="*/ 116 w 147"/>
                    <a:gd name="T35" fmla="*/ 197 h 246"/>
                    <a:gd name="T36" fmla="*/ 125 w 147"/>
                    <a:gd name="T37" fmla="*/ 192 h 246"/>
                    <a:gd name="T38" fmla="*/ 134 w 147"/>
                    <a:gd name="T39" fmla="*/ 192 h 246"/>
                    <a:gd name="T40" fmla="*/ 129 w 147"/>
                    <a:gd name="T41" fmla="*/ 183 h 246"/>
                    <a:gd name="T42" fmla="*/ 129 w 147"/>
                    <a:gd name="T43" fmla="*/ 179 h 246"/>
                    <a:gd name="T44" fmla="*/ 120 w 147"/>
                    <a:gd name="T45" fmla="*/ 166 h 246"/>
                    <a:gd name="T46" fmla="*/ 125 w 147"/>
                    <a:gd name="T47" fmla="*/ 152 h 246"/>
                    <a:gd name="T48" fmla="*/ 134 w 147"/>
                    <a:gd name="T49" fmla="*/ 148 h 246"/>
                    <a:gd name="T50" fmla="*/ 129 w 147"/>
                    <a:gd name="T51" fmla="*/ 143 h 246"/>
                    <a:gd name="T52" fmla="*/ 134 w 147"/>
                    <a:gd name="T53" fmla="*/ 139 h 246"/>
                    <a:gd name="T54" fmla="*/ 134 w 147"/>
                    <a:gd name="T55" fmla="*/ 130 h 246"/>
                    <a:gd name="T56" fmla="*/ 147 w 147"/>
                    <a:gd name="T57" fmla="*/ 125 h 246"/>
                    <a:gd name="T58" fmla="*/ 147 w 147"/>
                    <a:gd name="T59" fmla="*/ 67 h 246"/>
                    <a:gd name="T60" fmla="*/ 35 w 147"/>
                    <a:gd name="T61" fmla="*/ 0 h 246"/>
                    <a:gd name="T62" fmla="*/ 22 w 147"/>
                    <a:gd name="T63" fmla="*/ 9 h 246"/>
                    <a:gd name="T64" fmla="*/ 31 w 147"/>
                    <a:gd name="T65" fmla="*/ 27 h 246"/>
                    <a:gd name="T66" fmla="*/ 31 w 147"/>
                    <a:gd name="T67" fmla="*/ 40 h 246"/>
                    <a:gd name="T68" fmla="*/ 40 w 147"/>
                    <a:gd name="T69" fmla="*/ 49 h 246"/>
                    <a:gd name="T70" fmla="*/ 31 w 147"/>
                    <a:gd name="T71" fmla="*/ 67 h 246"/>
                    <a:gd name="T72" fmla="*/ 26 w 147"/>
                    <a:gd name="T73" fmla="*/ 112 h 246"/>
                    <a:gd name="T74" fmla="*/ 4 w 147"/>
                    <a:gd name="T75" fmla="*/ 130 h 246"/>
                    <a:gd name="T76" fmla="*/ 0 w 147"/>
                    <a:gd name="T77" fmla="*/ 139 h 246"/>
                    <a:gd name="T78" fmla="*/ 0 w 147"/>
                    <a:gd name="T79" fmla="*/ 15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7" h="246">
                      <a:moveTo>
                        <a:pt x="0" y="152"/>
                      </a:moveTo>
                      <a:lnTo>
                        <a:pt x="4" y="157"/>
                      </a:lnTo>
                      <a:lnTo>
                        <a:pt x="13" y="170"/>
                      </a:lnTo>
                      <a:lnTo>
                        <a:pt x="17" y="166"/>
                      </a:lnTo>
                      <a:lnTo>
                        <a:pt x="22" y="183"/>
                      </a:lnTo>
                      <a:lnTo>
                        <a:pt x="22" y="197"/>
                      </a:lnTo>
                      <a:lnTo>
                        <a:pt x="26" y="210"/>
                      </a:lnTo>
                      <a:lnTo>
                        <a:pt x="9" y="206"/>
                      </a:lnTo>
                      <a:lnTo>
                        <a:pt x="9" y="215"/>
                      </a:lnTo>
                      <a:lnTo>
                        <a:pt x="26" y="237"/>
                      </a:lnTo>
                      <a:lnTo>
                        <a:pt x="31" y="246"/>
                      </a:lnTo>
                      <a:lnTo>
                        <a:pt x="40" y="242"/>
                      </a:lnTo>
                      <a:lnTo>
                        <a:pt x="49" y="246"/>
                      </a:lnTo>
                      <a:lnTo>
                        <a:pt x="62" y="237"/>
                      </a:lnTo>
                      <a:lnTo>
                        <a:pt x="80" y="233"/>
                      </a:lnTo>
                      <a:lnTo>
                        <a:pt x="84" y="224"/>
                      </a:lnTo>
                      <a:lnTo>
                        <a:pt x="102" y="219"/>
                      </a:lnTo>
                      <a:lnTo>
                        <a:pt x="116" y="197"/>
                      </a:lnTo>
                      <a:lnTo>
                        <a:pt x="125" y="192"/>
                      </a:lnTo>
                      <a:lnTo>
                        <a:pt x="134" y="192"/>
                      </a:lnTo>
                      <a:lnTo>
                        <a:pt x="129" y="183"/>
                      </a:lnTo>
                      <a:lnTo>
                        <a:pt x="129" y="179"/>
                      </a:lnTo>
                      <a:lnTo>
                        <a:pt x="120" y="166"/>
                      </a:lnTo>
                      <a:lnTo>
                        <a:pt x="125" y="152"/>
                      </a:lnTo>
                      <a:lnTo>
                        <a:pt x="134" y="148"/>
                      </a:lnTo>
                      <a:lnTo>
                        <a:pt x="129" y="143"/>
                      </a:lnTo>
                      <a:lnTo>
                        <a:pt x="134" y="139"/>
                      </a:lnTo>
                      <a:lnTo>
                        <a:pt x="134" y="130"/>
                      </a:lnTo>
                      <a:lnTo>
                        <a:pt x="147" y="125"/>
                      </a:lnTo>
                      <a:lnTo>
                        <a:pt x="147" y="67"/>
                      </a:lnTo>
                      <a:lnTo>
                        <a:pt x="35" y="0"/>
                      </a:lnTo>
                      <a:lnTo>
                        <a:pt x="22" y="9"/>
                      </a:lnTo>
                      <a:lnTo>
                        <a:pt x="31" y="27"/>
                      </a:lnTo>
                      <a:lnTo>
                        <a:pt x="31" y="40"/>
                      </a:lnTo>
                      <a:lnTo>
                        <a:pt x="40" y="49"/>
                      </a:lnTo>
                      <a:lnTo>
                        <a:pt x="31" y="67"/>
                      </a:lnTo>
                      <a:lnTo>
                        <a:pt x="26" y="112"/>
                      </a:lnTo>
                      <a:lnTo>
                        <a:pt x="4" y="130"/>
                      </a:lnTo>
                      <a:lnTo>
                        <a:pt x="0" y="139"/>
                      </a:lnTo>
                      <a:lnTo>
                        <a:pt x="0" y="15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79" name="Freeform 13">
                  <a:extLst>
                    <a:ext uri="{FF2B5EF4-FFF2-40B4-BE49-F238E27FC236}">
                      <a16:creationId xmlns:a16="http://schemas.microsoft.com/office/drawing/2014/main" id="{BF0A16F8-6ACA-4BF7-9834-14DDB3782AFD}"/>
                    </a:ext>
                  </a:extLst>
                </p:cNvPr>
                <p:cNvSpPr>
                  <a:spLocks noEditPoints="1"/>
                </p:cNvSpPr>
                <p:nvPr/>
              </p:nvSpPr>
              <p:spPr bwMode="gray">
                <a:xfrm>
                  <a:off x="3303" y="2945"/>
                  <a:ext cx="18" cy="17"/>
                </a:xfrm>
                <a:custGeom>
                  <a:avLst/>
                  <a:gdLst>
                    <a:gd name="T0" fmla="*/ 5 w 18"/>
                    <a:gd name="T1" fmla="*/ 9 h 17"/>
                    <a:gd name="T2" fmla="*/ 5 w 18"/>
                    <a:gd name="T3" fmla="*/ 4 h 17"/>
                    <a:gd name="T4" fmla="*/ 5 w 18"/>
                    <a:gd name="T5" fmla="*/ 0 h 17"/>
                    <a:gd name="T6" fmla="*/ 0 w 18"/>
                    <a:gd name="T7" fmla="*/ 4 h 17"/>
                    <a:gd name="T8" fmla="*/ 0 w 18"/>
                    <a:gd name="T9" fmla="*/ 9 h 17"/>
                    <a:gd name="T10" fmla="*/ 5 w 18"/>
                    <a:gd name="T11" fmla="*/ 9 h 17"/>
                    <a:gd name="T12" fmla="*/ 18 w 18"/>
                    <a:gd name="T13" fmla="*/ 13 h 17"/>
                    <a:gd name="T14" fmla="*/ 18 w 18"/>
                    <a:gd name="T15" fmla="*/ 17 h 17"/>
                    <a:gd name="T16" fmla="*/ 18 w 18"/>
                    <a:gd name="T17" fmla="*/ 13 h 17"/>
                    <a:gd name="T18" fmla="*/ 18 w 18"/>
                    <a:gd name="T19" fmla="*/ 1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7">
                      <a:moveTo>
                        <a:pt x="5" y="9"/>
                      </a:moveTo>
                      <a:lnTo>
                        <a:pt x="5" y="4"/>
                      </a:lnTo>
                      <a:lnTo>
                        <a:pt x="5" y="0"/>
                      </a:lnTo>
                      <a:lnTo>
                        <a:pt x="0" y="4"/>
                      </a:lnTo>
                      <a:lnTo>
                        <a:pt x="0" y="9"/>
                      </a:lnTo>
                      <a:lnTo>
                        <a:pt x="5" y="9"/>
                      </a:lnTo>
                      <a:close/>
                      <a:moveTo>
                        <a:pt x="18" y="13"/>
                      </a:moveTo>
                      <a:lnTo>
                        <a:pt x="18" y="17"/>
                      </a:lnTo>
                      <a:lnTo>
                        <a:pt x="18" y="13"/>
                      </a:lnTo>
                      <a:lnTo>
                        <a:pt x="18" y="13"/>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80" name="Freeform 14">
                  <a:extLst>
                    <a:ext uri="{FF2B5EF4-FFF2-40B4-BE49-F238E27FC236}">
                      <a16:creationId xmlns:a16="http://schemas.microsoft.com/office/drawing/2014/main" id="{ADCB58AB-9C2D-4897-821B-E5B8863D9B61}"/>
                    </a:ext>
                  </a:extLst>
                </p:cNvPr>
                <p:cNvSpPr>
                  <a:spLocks/>
                </p:cNvSpPr>
                <p:nvPr/>
              </p:nvSpPr>
              <p:spPr bwMode="gray">
                <a:xfrm>
                  <a:off x="3326" y="2962"/>
                  <a:ext cx="9" cy="9"/>
                </a:xfrm>
                <a:custGeom>
                  <a:avLst/>
                  <a:gdLst>
                    <a:gd name="T0" fmla="*/ 9 w 9"/>
                    <a:gd name="T1" fmla="*/ 9 h 9"/>
                    <a:gd name="T2" fmla="*/ 9 w 9"/>
                    <a:gd name="T3" fmla="*/ 9 h 9"/>
                    <a:gd name="T4" fmla="*/ 9 w 9"/>
                    <a:gd name="T5" fmla="*/ 5 h 9"/>
                    <a:gd name="T6" fmla="*/ 4 w 9"/>
                    <a:gd name="T7" fmla="*/ 5 h 9"/>
                    <a:gd name="T8" fmla="*/ 0 w 9"/>
                    <a:gd name="T9" fmla="*/ 0 h 9"/>
                    <a:gd name="T10" fmla="*/ 4 w 9"/>
                    <a:gd name="T11" fmla="*/ 9 h 9"/>
                    <a:gd name="T12" fmla="*/ 9 w 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9" y="9"/>
                      </a:moveTo>
                      <a:lnTo>
                        <a:pt x="9" y="9"/>
                      </a:lnTo>
                      <a:lnTo>
                        <a:pt x="9" y="5"/>
                      </a:lnTo>
                      <a:lnTo>
                        <a:pt x="4" y="5"/>
                      </a:lnTo>
                      <a:lnTo>
                        <a:pt x="0" y="0"/>
                      </a:lnTo>
                      <a:lnTo>
                        <a:pt x="4" y="9"/>
                      </a:lnTo>
                      <a:lnTo>
                        <a:pt x="9" y="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81" name="Freeform 15">
                  <a:extLst>
                    <a:ext uri="{FF2B5EF4-FFF2-40B4-BE49-F238E27FC236}">
                      <a16:creationId xmlns:a16="http://schemas.microsoft.com/office/drawing/2014/main" id="{ECA9FD96-E179-49A7-B681-D7B689473385}"/>
                    </a:ext>
                  </a:extLst>
                </p:cNvPr>
                <p:cNvSpPr>
                  <a:spLocks/>
                </p:cNvSpPr>
                <p:nvPr/>
              </p:nvSpPr>
              <p:spPr bwMode="gray">
                <a:xfrm>
                  <a:off x="2839" y="2721"/>
                  <a:ext cx="112" cy="134"/>
                </a:xfrm>
                <a:custGeom>
                  <a:avLst/>
                  <a:gdLst>
                    <a:gd name="T0" fmla="*/ 0 w 112"/>
                    <a:gd name="T1" fmla="*/ 112 h 134"/>
                    <a:gd name="T2" fmla="*/ 9 w 112"/>
                    <a:gd name="T3" fmla="*/ 125 h 134"/>
                    <a:gd name="T4" fmla="*/ 13 w 112"/>
                    <a:gd name="T5" fmla="*/ 134 h 134"/>
                    <a:gd name="T6" fmla="*/ 22 w 112"/>
                    <a:gd name="T7" fmla="*/ 125 h 134"/>
                    <a:gd name="T8" fmla="*/ 27 w 112"/>
                    <a:gd name="T9" fmla="*/ 125 h 134"/>
                    <a:gd name="T10" fmla="*/ 36 w 112"/>
                    <a:gd name="T11" fmla="*/ 130 h 134"/>
                    <a:gd name="T12" fmla="*/ 40 w 112"/>
                    <a:gd name="T13" fmla="*/ 125 h 134"/>
                    <a:gd name="T14" fmla="*/ 49 w 112"/>
                    <a:gd name="T15" fmla="*/ 125 h 134"/>
                    <a:gd name="T16" fmla="*/ 58 w 112"/>
                    <a:gd name="T17" fmla="*/ 130 h 134"/>
                    <a:gd name="T18" fmla="*/ 71 w 112"/>
                    <a:gd name="T19" fmla="*/ 121 h 134"/>
                    <a:gd name="T20" fmla="*/ 76 w 112"/>
                    <a:gd name="T21" fmla="*/ 107 h 134"/>
                    <a:gd name="T22" fmla="*/ 76 w 112"/>
                    <a:gd name="T23" fmla="*/ 90 h 134"/>
                    <a:gd name="T24" fmla="*/ 98 w 112"/>
                    <a:gd name="T25" fmla="*/ 72 h 134"/>
                    <a:gd name="T26" fmla="*/ 103 w 112"/>
                    <a:gd name="T27" fmla="*/ 40 h 134"/>
                    <a:gd name="T28" fmla="*/ 112 w 112"/>
                    <a:gd name="T29" fmla="*/ 9 h 134"/>
                    <a:gd name="T30" fmla="*/ 112 w 112"/>
                    <a:gd name="T31" fmla="*/ 0 h 134"/>
                    <a:gd name="T32" fmla="*/ 94 w 112"/>
                    <a:gd name="T33" fmla="*/ 0 h 134"/>
                    <a:gd name="T34" fmla="*/ 76 w 112"/>
                    <a:gd name="T35" fmla="*/ 14 h 134"/>
                    <a:gd name="T36" fmla="*/ 71 w 112"/>
                    <a:gd name="T37" fmla="*/ 31 h 134"/>
                    <a:gd name="T38" fmla="*/ 58 w 112"/>
                    <a:gd name="T39" fmla="*/ 27 h 134"/>
                    <a:gd name="T40" fmla="*/ 36 w 112"/>
                    <a:gd name="T41" fmla="*/ 27 h 134"/>
                    <a:gd name="T42" fmla="*/ 31 w 112"/>
                    <a:gd name="T43" fmla="*/ 40 h 134"/>
                    <a:gd name="T44" fmla="*/ 49 w 112"/>
                    <a:gd name="T45" fmla="*/ 40 h 134"/>
                    <a:gd name="T46" fmla="*/ 49 w 112"/>
                    <a:gd name="T47" fmla="*/ 49 h 134"/>
                    <a:gd name="T48" fmla="*/ 45 w 112"/>
                    <a:gd name="T49" fmla="*/ 54 h 134"/>
                    <a:gd name="T50" fmla="*/ 49 w 112"/>
                    <a:gd name="T51" fmla="*/ 76 h 134"/>
                    <a:gd name="T52" fmla="*/ 49 w 112"/>
                    <a:gd name="T53" fmla="*/ 90 h 134"/>
                    <a:gd name="T54" fmla="*/ 31 w 112"/>
                    <a:gd name="T55" fmla="*/ 94 h 134"/>
                    <a:gd name="T56" fmla="*/ 22 w 112"/>
                    <a:gd name="T57" fmla="*/ 85 h 134"/>
                    <a:gd name="T58" fmla="*/ 13 w 112"/>
                    <a:gd name="T59" fmla="*/ 94 h 134"/>
                    <a:gd name="T60" fmla="*/ 4 w 112"/>
                    <a:gd name="T61" fmla="*/ 94 h 134"/>
                    <a:gd name="T62" fmla="*/ 9 w 112"/>
                    <a:gd name="T63" fmla="*/ 98 h 134"/>
                    <a:gd name="T64" fmla="*/ 9 w 112"/>
                    <a:gd name="T65" fmla="*/ 107 h 134"/>
                    <a:gd name="T66" fmla="*/ 4 w 112"/>
                    <a:gd name="T67" fmla="*/ 107 h 134"/>
                    <a:gd name="T68" fmla="*/ 0 w 112"/>
                    <a:gd name="T69" fmla="*/ 11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134">
                      <a:moveTo>
                        <a:pt x="0" y="112"/>
                      </a:moveTo>
                      <a:lnTo>
                        <a:pt x="9" y="125"/>
                      </a:lnTo>
                      <a:lnTo>
                        <a:pt x="13" y="134"/>
                      </a:lnTo>
                      <a:lnTo>
                        <a:pt x="22" y="125"/>
                      </a:lnTo>
                      <a:lnTo>
                        <a:pt x="27" y="125"/>
                      </a:lnTo>
                      <a:lnTo>
                        <a:pt x="36" y="130"/>
                      </a:lnTo>
                      <a:lnTo>
                        <a:pt x="40" y="125"/>
                      </a:lnTo>
                      <a:lnTo>
                        <a:pt x="49" y="125"/>
                      </a:lnTo>
                      <a:lnTo>
                        <a:pt x="58" y="130"/>
                      </a:lnTo>
                      <a:lnTo>
                        <a:pt x="71" y="121"/>
                      </a:lnTo>
                      <a:lnTo>
                        <a:pt x="76" y="107"/>
                      </a:lnTo>
                      <a:lnTo>
                        <a:pt x="76" y="90"/>
                      </a:lnTo>
                      <a:lnTo>
                        <a:pt x="98" y="72"/>
                      </a:lnTo>
                      <a:lnTo>
                        <a:pt x="103" y="40"/>
                      </a:lnTo>
                      <a:lnTo>
                        <a:pt x="112" y="9"/>
                      </a:lnTo>
                      <a:lnTo>
                        <a:pt x="112" y="0"/>
                      </a:lnTo>
                      <a:lnTo>
                        <a:pt x="94" y="0"/>
                      </a:lnTo>
                      <a:lnTo>
                        <a:pt x="76" y="14"/>
                      </a:lnTo>
                      <a:lnTo>
                        <a:pt x="71" y="31"/>
                      </a:lnTo>
                      <a:lnTo>
                        <a:pt x="58" y="27"/>
                      </a:lnTo>
                      <a:lnTo>
                        <a:pt x="36" y="27"/>
                      </a:lnTo>
                      <a:lnTo>
                        <a:pt x="31" y="40"/>
                      </a:lnTo>
                      <a:lnTo>
                        <a:pt x="49" y="40"/>
                      </a:lnTo>
                      <a:lnTo>
                        <a:pt x="49" y="49"/>
                      </a:lnTo>
                      <a:lnTo>
                        <a:pt x="45" y="54"/>
                      </a:lnTo>
                      <a:lnTo>
                        <a:pt x="49" y="76"/>
                      </a:lnTo>
                      <a:lnTo>
                        <a:pt x="49" y="90"/>
                      </a:lnTo>
                      <a:lnTo>
                        <a:pt x="31" y="94"/>
                      </a:lnTo>
                      <a:lnTo>
                        <a:pt x="22" y="85"/>
                      </a:lnTo>
                      <a:lnTo>
                        <a:pt x="13" y="94"/>
                      </a:lnTo>
                      <a:lnTo>
                        <a:pt x="4" y="94"/>
                      </a:lnTo>
                      <a:lnTo>
                        <a:pt x="9" y="98"/>
                      </a:lnTo>
                      <a:lnTo>
                        <a:pt x="9" y="107"/>
                      </a:lnTo>
                      <a:lnTo>
                        <a:pt x="4" y="107"/>
                      </a:lnTo>
                      <a:lnTo>
                        <a:pt x="0" y="11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82" name="Freeform 16">
                  <a:extLst>
                    <a:ext uri="{FF2B5EF4-FFF2-40B4-BE49-F238E27FC236}">
                      <a16:creationId xmlns:a16="http://schemas.microsoft.com/office/drawing/2014/main" id="{B5625309-9825-4A80-999B-8C287B72F582}"/>
                    </a:ext>
                  </a:extLst>
                </p:cNvPr>
                <p:cNvSpPr>
                  <a:spLocks/>
                </p:cNvSpPr>
                <p:nvPr/>
              </p:nvSpPr>
              <p:spPr bwMode="gray">
                <a:xfrm>
                  <a:off x="2857" y="2703"/>
                  <a:ext cx="272" cy="268"/>
                </a:xfrm>
                <a:custGeom>
                  <a:avLst/>
                  <a:gdLst>
                    <a:gd name="T0" fmla="*/ 18 w 272"/>
                    <a:gd name="T1" fmla="*/ 148 h 268"/>
                    <a:gd name="T2" fmla="*/ 31 w 272"/>
                    <a:gd name="T3" fmla="*/ 143 h 268"/>
                    <a:gd name="T4" fmla="*/ 53 w 272"/>
                    <a:gd name="T5" fmla="*/ 139 h 268"/>
                    <a:gd name="T6" fmla="*/ 58 w 272"/>
                    <a:gd name="T7" fmla="*/ 108 h 268"/>
                    <a:gd name="T8" fmla="*/ 85 w 272"/>
                    <a:gd name="T9" fmla="*/ 58 h 268"/>
                    <a:gd name="T10" fmla="*/ 94 w 272"/>
                    <a:gd name="T11" fmla="*/ 18 h 268"/>
                    <a:gd name="T12" fmla="*/ 107 w 272"/>
                    <a:gd name="T13" fmla="*/ 0 h 268"/>
                    <a:gd name="T14" fmla="*/ 147 w 272"/>
                    <a:gd name="T15" fmla="*/ 14 h 268"/>
                    <a:gd name="T16" fmla="*/ 161 w 272"/>
                    <a:gd name="T17" fmla="*/ 9 h 268"/>
                    <a:gd name="T18" fmla="*/ 183 w 272"/>
                    <a:gd name="T19" fmla="*/ 5 h 268"/>
                    <a:gd name="T20" fmla="*/ 219 w 272"/>
                    <a:gd name="T21" fmla="*/ 5 h 268"/>
                    <a:gd name="T22" fmla="*/ 254 w 272"/>
                    <a:gd name="T23" fmla="*/ 9 h 268"/>
                    <a:gd name="T24" fmla="*/ 268 w 272"/>
                    <a:gd name="T25" fmla="*/ 41 h 268"/>
                    <a:gd name="T26" fmla="*/ 254 w 272"/>
                    <a:gd name="T27" fmla="*/ 67 h 268"/>
                    <a:gd name="T28" fmla="*/ 245 w 272"/>
                    <a:gd name="T29" fmla="*/ 103 h 268"/>
                    <a:gd name="T30" fmla="*/ 245 w 272"/>
                    <a:gd name="T31" fmla="*/ 116 h 268"/>
                    <a:gd name="T32" fmla="*/ 245 w 272"/>
                    <a:gd name="T33" fmla="*/ 130 h 268"/>
                    <a:gd name="T34" fmla="*/ 245 w 272"/>
                    <a:gd name="T35" fmla="*/ 139 h 268"/>
                    <a:gd name="T36" fmla="*/ 245 w 272"/>
                    <a:gd name="T37" fmla="*/ 166 h 268"/>
                    <a:gd name="T38" fmla="*/ 263 w 272"/>
                    <a:gd name="T39" fmla="*/ 201 h 268"/>
                    <a:gd name="T40" fmla="*/ 236 w 272"/>
                    <a:gd name="T41" fmla="*/ 219 h 268"/>
                    <a:gd name="T42" fmla="*/ 245 w 272"/>
                    <a:gd name="T43" fmla="*/ 259 h 268"/>
                    <a:gd name="T44" fmla="*/ 259 w 272"/>
                    <a:gd name="T45" fmla="*/ 268 h 268"/>
                    <a:gd name="T46" fmla="*/ 232 w 272"/>
                    <a:gd name="T47" fmla="*/ 259 h 268"/>
                    <a:gd name="T48" fmla="*/ 219 w 272"/>
                    <a:gd name="T49" fmla="*/ 246 h 268"/>
                    <a:gd name="T50" fmla="*/ 187 w 272"/>
                    <a:gd name="T51" fmla="*/ 237 h 268"/>
                    <a:gd name="T52" fmla="*/ 169 w 272"/>
                    <a:gd name="T53" fmla="*/ 233 h 268"/>
                    <a:gd name="T54" fmla="*/ 134 w 272"/>
                    <a:gd name="T55" fmla="*/ 184 h 268"/>
                    <a:gd name="T56" fmla="*/ 120 w 272"/>
                    <a:gd name="T57" fmla="*/ 179 h 268"/>
                    <a:gd name="T58" fmla="*/ 102 w 272"/>
                    <a:gd name="T59" fmla="*/ 197 h 268"/>
                    <a:gd name="T60" fmla="*/ 71 w 272"/>
                    <a:gd name="T61" fmla="*/ 184 h 268"/>
                    <a:gd name="T62" fmla="*/ 67 w 272"/>
                    <a:gd name="T63" fmla="*/ 166 h 268"/>
                    <a:gd name="T64" fmla="*/ 0 w 272"/>
                    <a:gd name="T65" fmla="*/ 161 h 268"/>
                    <a:gd name="T66" fmla="*/ 9 w 272"/>
                    <a:gd name="T67" fmla="*/ 143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2" h="268">
                      <a:moveTo>
                        <a:pt x="9" y="143"/>
                      </a:moveTo>
                      <a:lnTo>
                        <a:pt x="18" y="148"/>
                      </a:lnTo>
                      <a:lnTo>
                        <a:pt x="22" y="143"/>
                      </a:lnTo>
                      <a:lnTo>
                        <a:pt x="31" y="143"/>
                      </a:lnTo>
                      <a:lnTo>
                        <a:pt x="40" y="148"/>
                      </a:lnTo>
                      <a:lnTo>
                        <a:pt x="53" y="139"/>
                      </a:lnTo>
                      <a:lnTo>
                        <a:pt x="58" y="125"/>
                      </a:lnTo>
                      <a:lnTo>
                        <a:pt x="58" y="108"/>
                      </a:lnTo>
                      <a:lnTo>
                        <a:pt x="80" y="90"/>
                      </a:lnTo>
                      <a:lnTo>
                        <a:pt x="85" y="58"/>
                      </a:lnTo>
                      <a:lnTo>
                        <a:pt x="94" y="27"/>
                      </a:lnTo>
                      <a:lnTo>
                        <a:pt x="94" y="18"/>
                      </a:lnTo>
                      <a:lnTo>
                        <a:pt x="94" y="14"/>
                      </a:lnTo>
                      <a:lnTo>
                        <a:pt x="107" y="0"/>
                      </a:lnTo>
                      <a:lnTo>
                        <a:pt x="116" y="9"/>
                      </a:lnTo>
                      <a:lnTo>
                        <a:pt x="147" y="14"/>
                      </a:lnTo>
                      <a:lnTo>
                        <a:pt x="152" y="5"/>
                      </a:lnTo>
                      <a:lnTo>
                        <a:pt x="161" y="9"/>
                      </a:lnTo>
                      <a:lnTo>
                        <a:pt x="178" y="0"/>
                      </a:lnTo>
                      <a:lnTo>
                        <a:pt x="183" y="5"/>
                      </a:lnTo>
                      <a:lnTo>
                        <a:pt x="192" y="0"/>
                      </a:lnTo>
                      <a:lnTo>
                        <a:pt x="219" y="5"/>
                      </a:lnTo>
                      <a:lnTo>
                        <a:pt x="232" y="14"/>
                      </a:lnTo>
                      <a:lnTo>
                        <a:pt x="254" y="9"/>
                      </a:lnTo>
                      <a:lnTo>
                        <a:pt x="268" y="23"/>
                      </a:lnTo>
                      <a:lnTo>
                        <a:pt x="268" y="41"/>
                      </a:lnTo>
                      <a:lnTo>
                        <a:pt x="272" y="45"/>
                      </a:lnTo>
                      <a:lnTo>
                        <a:pt x="254" y="67"/>
                      </a:lnTo>
                      <a:lnTo>
                        <a:pt x="254" y="99"/>
                      </a:lnTo>
                      <a:lnTo>
                        <a:pt x="245" y="103"/>
                      </a:lnTo>
                      <a:lnTo>
                        <a:pt x="245" y="108"/>
                      </a:lnTo>
                      <a:lnTo>
                        <a:pt x="245" y="116"/>
                      </a:lnTo>
                      <a:lnTo>
                        <a:pt x="250" y="130"/>
                      </a:lnTo>
                      <a:lnTo>
                        <a:pt x="245" y="130"/>
                      </a:lnTo>
                      <a:lnTo>
                        <a:pt x="241" y="143"/>
                      </a:lnTo>
                      <a:lnTo>
                        <a:pt x="245" y="139"/>
                      </a:lnTo>
                      <a:lnTo>
                        <a:pt x="241" y="148"/>
                      </a:lnTo>
                      <a:lnTo>
                        <a:pt x="245" y="166"/>
                      </a:lnTo>
                      <a:lnTo>
                        <a:pt x="259" y="184"/>
                      </a:lnTo>
                      <a:lnTo>
                        <a:pt x="263" y="201"/>
                      </a:lnTo>
                      <a:lnTo>
                        <a:pt x="241" y="206"/>
                      </a:lnTo>
                      <a:lnTo>
                        <a:pt x="236" y="219"/>
                      </a:lnTo>
                      <a:lnTo>
                        <a:pt x="232" y="246"/>
                      </a:lnTo>
                      <a:lnTo>
                        <a:pt x="245" y="259"/>
                      </a:lnTo>
                      <a:lnTo>
                        <a:pt x="259" y="251"/>
                      </a:lnTo>
                      <a:lnTo>
                        <a:pt x="259" y="268"/>
                      </a:lnTo>
                      <a:lnTo>
                        <a:pt x="241" y="268"/>
                      </a:lnTo>
                      <a:lnTo>
                        <a:pt x="232" y="259"/>
                      </a:lnTo>
                      <a:lnTo>
                        <a:pt x="223" y="255"/>
                      </a:lnTo>
                      <a:lnTo>
                        <a:pt x="219" y="246"/>
                      </a:lnTo>
                      <a:lnTo>
                        <a:pt x="196" y="251"/>
                      </a:lnTo>
                      <a:lnTo>
                        <a:pt x="187" y="237"/>
                      </a:lnTo>
                      <a:lnTo>
                        <a:pt x="178" y="242"/>
                      </a:lnTo>
                      <a:lnTo>
                        <a:pt x="169" y="233"/>
                      </a:lnTo>
                      <a:lnTo>
                        <a:pt x="143" y="237"/>
                      </a:lnTo>
                      <a:lnTo>
                        <a:pt x="134" y="184"/>
                      </a:lnTo>
                      <a:lnTo>
                        <a:pt x="125" y="184"/>
                      </a:lnTo>
                      <a:lnTo>
                        <a:pt x="120" y="179"/>
                      </a:lnTo>
                      <a:lnTo>
                        <a:pt x="107" y="179"/>
                      </a:lnTo>
                      <a:lnTo>
                        <a:pt x="102" y="197"/>
                      </a:lnTo>
                      <a:lnTo>
                        <a:pt x="80" y="197"/>
                      </a:lnTo>
                      <a:lnTo>
                        <a:pt x="71" y="184"/>
                      </a:lnTo>
                      <a:lnTo>
                        <a:pt x="71" y="179"/>
                      </a:lnTo>
                      <a:lnTo>
                        <a:pt x="67" y="166"/>
                      </a:lnTo>
                      <a:lnTo>
                        <a:pt x="13" y="166"/>
                      </a:lnTo>
                      <a:lnTo>
                        <a:pt x="0" y="161"/>
                      </a:lnTo>
                      <a:lnTo>
                        <a:pt x="0" y="161"/>
                      </a:lnTo>
                      <a:lnTo>
                        <a:pt x="9" y="143"/>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83" name="Freeform 17">
                  <a:extLst>
                    <a:ext uri="{FF2B5EF4-FFF2-40B4-BE49-F238E27FC236}">
                      <a16:creationId xmlns:a16="http://schemas.microsoft.com/office/drawing/2014/main" id="{23C255C6-9411-4810-B583-1888938DEA30}"/>
                    </a:ext>
                  </a:extLst>
                </p:cNvPr>
                <p:cNvSpPr>
                  <a:spLocks/>
                </p:cNvSpPr>
                <p:nvPr/>
              </p:nvSpPr>
              <p:spPr bwMode="gray">
                <a:xfrm>
                  <a:off x="2696" y="2596"/>
                  <a:ext cx="45" cy="94"/>
                </a:xfrm>
                <a:custGeom>
                  <a:avLst/>
                  <a:gdLst>
                    <a:gd name="T0" fmla="*/ 0 w 45"/>
                    <a:gd name="T1" fmla="*/ 18 h 94"/>
                    <a:gd name="T2" fmla="*/ 0 w 45"/>
                    <a:gd name="T3" fmla="*/ 31 h 94"/>
                    <a:gd name="T4" fmla="*/ 9 w 45"/>
                    <a:gd name="T5" fmla="*/ 40 h 94"/>
                    <a:gd name="T6" fmla="*/ 9 w 45"/>
                    <a:gd name="T7" fmla="*/ 54 h 94"/>
                    <a:gd name="T8" fmla="*/ 13 w 45"/>
                    <a:gd name="T9" fmla="*/ 54 h 94"/>
                    <a:gd name="T10" fmla="*/ 13 w 45"/>
                    <a:gd name="T11" fmla="*/ 80 h 94"/>
                    <a:gd name="T12" fmla="*/ 18 w 45"/>
                    <a:gd name="T13" fmla="*/ 94 h 94"/>
                    <a:gd name="T14" fmla="*/ 36 w 45"/>
                    <a:gd name="T15" fmla="*/ 89 h 94"/>
                    <a:gd name="T16" fmla="*/ 31 w 45"/>
                    <a:gd name="T17" fmla="*/ 76 h 94"/>
                    <a:gd name="T18" fmla="*/ 31 w 45"/>
                    <a:gd name="T19" fmla="*/ 58 h 94"/>
                    <a:gd name="T20" fmla="*/ 40 w 45"/>
                    <a:gd name="T21" fmla="*/ 54 h 94"/>
                    <a:gd name="T22" fmla="*/ 45 w 45"/>
                    <a:gd name="T23" fmla="*/ 45 h 94"/>
                    <a:gd name="T24" fmla="*/ 45 w 45"/>
                    <a:gd name="T25" fmla="*/ 27 h 94"/>
                    <a:gd name="T26" fmla="*/ 40 w 45"/>
                    <a:gd name="T27" fmla="*/ 18 h 94"/>
                    <a:gd name="T28" fmla="*/ 45 w 45"/>
                    <a:gd name="T29" fmla="*/ 9 h 94"/>
                    <a:gd name="T30" fmla="*/ 31 w 45"/>
                    <a:gd name="T31" fmla="*/ 0 h 94"/>
                    <a:gd name="T32" fmla="*/ 22 w 45"/>
                    <a:gd name="T33" fmla="*/ 9 h 94"/>
                    <a:gd name="T34" fmla="*/ 18 w 45"/>
                    <a:gd name="T35" fmla="*/ 9 h 94"/>
                    <a:gd name="T36" fmla="*/ 9 w 45"/>
                    <a:gd name="T37" fmla="*/ 18 h 94"/>
                    <a:gd name="T38" fmla="*/ 0 w 45"/>
                    <a:gd name="T39"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5" h="94">
                      <a:moveTo>
                        <a:pt x="0" y="18"/>
                      </a:moveTo>
                      <a:lnTo>
                        <a:pt x="0" y="31"/>
                      </a:lnTo>
                      <a:lnTo>
                        <a:pt x="9" y="40"/>
                      </a:lnTo>
                      <a:lnTo>
                        <a:pt x="9" y="54"/>
                      </a:lnTo>
                      <a:lnTo>
                        <a:pt x="13" y="54"/>
                      </a:lnTo>
                      <a:lnTo>
                        <a:pt x="13" y="80"/>
                      </a:lnTo>
                      <a:lnTo>
                        <a:pt x="18" y="94"/>
                      </a:lnTo>
                      <a:lnTo>
                        <a:pt x="36" y="89"/>
                      </a:lnTo>
                      <a:lnTo>
                        <a:pt x="31" y="76"/>
                      </a:lnTo>
                      <a:lnTo>
                        <a:pt x="31" y="58"/>
                      </a:lnTo>
                      <a:lnTo>
                        <a:pt x="40" y="54"/>
                      </a:lnTo>
                      <a:lnTo>
                        <a:pt x="45" y="45"/>
                      </a:lnTo>
                      <a:lnTo>
                        <a:pt x="45" y="27"/>
                      </a:lnTo>
                      <a:lnTo>
                        <a:pt x="40" y="18"/>
                      </a:lnTo>
                      <a:lnTo>
                        <a:pt x="45" y="9"/>
                      </a:lnTo>
                      <a:lnTo>
                        <a:pt x="31" y="0"/>
                      </a:lnTo>
                      <a:lnTo>
                        <a:pt x="22" y="9"/>
                      </a:lnTo>
                      <a:lnTo>
                        <a:pt x="18" y="9"/>
                      </a:lnTo>
                      <a:lnTo>
                        <a:pt x="9" y="18"/>
                      </a:lnTo>
                      <a:lnTo>
                        <a:pt x="0" y="18"/>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84" name="Freeform 18">
                  <a:extLst>
                    <a:ext uri="{FF2B5EF4-FFF2-40B4-BE49-F238E27FC236}">
                      <a16:creationId xmlns:a16="http://schemas.microsoft.com/office/drawing/2014/main" id="{AE55C023-3CCC-4316-A5DD-C5DC74B68D10}"/>
                    </a:ext>
                  </a:extLst>
                </p:cNvPr>
                <p:cNvSpPr>
                  <a:spLocks noEditPoints="1"/>
                </p:cNvSpPr>
                <p:nvPr/>
              </p:nvSpPr>
              <p:spPr bwMode="gray">
                <a:xfrm>
                  <a:off x="2803" y="2721"/>
                  <a:ext cx="40" cy="45"/>
                </a:xfrm>
                <a:custGeom>
                  <a:avLst/>
                  <a:gdLst>
                    <a:gd name="T0" fmla="*/ 5 w 40"/>
                    <a:gd name="T1" fmla="*/ 0 h 45"/>
                    <a:gd name="T2" fmla="*/ 0 w 40"/>
                    <a:gd name="T3" fmla="*/ 5 h 45"/>
                    <a:gd name="T4" fmla="*/ 0 w 40"/>
                    <a:gd name="T5" fmla="*/ 9 h 45"/>
                    <a:gd name="T6" fmla="*/ 5 w 40"/>
                    <a:gd name="T7" fmla="*/ 9 h 45"/>
                    <a:gd name="T8" fmla="*/ 9 w 40"/>
                    <a:gd name="T9" fmla="*/ 5 h 45"/>
                    <a:gd name="T10" fmla="*/ 5 w 40"/>
                    <a:gd name="T11" fmla="*/ 0 h 45"/>
                    <a:gd name="T12" fmla="*/ 18 w 40"/>
                    <a:gd name="T13" fmla="*/ 27 h 45"/>
                    <a:gd name="T14" fmla="*/ 40 w 40"/>
                    <a:gd name="T15" fmla="*/ 31 h 45"/>
                    <a:gd name="T16" fmla="*/ 40 w 40"/>
                    <a:gd name="T17" fmla="*/ 45 h 45"/>
                    <a:gd name="T18" fmla="*/ 18 w 40"/>
                    <a:gd name="T19" fmla="*/ 45 h 45"/>
                    <a:gd name="T20" fmla="*/ 14 w 40"/>
                    <a:gd name="T21" fmla="*/ 40 h 45"/>
                    <a:gd name="T22" fmla="*/ 18 w 40"/>
                    <a:gd name="T23"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45">
                      <a:moveTo>
                        <a:pt x="5" y="0"/>
                      </a:moveTo>
                      <a:lnTo>
                        <a:pt x="0" y="5"/>
                      </a:lnTo>
                      <a:lnTo>
                        <a:pt x="0" y="9"/>
                      </a:lnTo>
                      <a:lnTo>
                        <a:pt x="5" y="9"/>
                      </a:lnTo>
                      <a:lnTo>
                        <a:pt x="9" y="5"/>
                      </a:lnTo>
                      <a:lnTo>
                        <a:pt x="5" y="0"/>
                      </a:lnTo>
                      <a:close/>
                      <a:moveTo>
                        <a:pt x="18" y="27"/>
                      </a:moveTo>
                      <a:lnTo>
                        <a:pt x="40" y="31"/>
                      </a:lnTo>
                      <a:lnTo>
                        <a:pt x="40" y="45"/>
                      </a:lnTo>
                      <a:lnTo>
                        <a:pt x="18" y="45"/>
                      </a:lnTo>
                      <a:lnTo>
                        <a:pt x="14" y="40"/>
                      </a:lnTo>
                      <a:lnTo>
                        <a:pt x="18" y="27"/>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85" name="Freeform 19">
                  <a:extLst>
                    <a:ext uri="{FF2B5EF4-FFF2-40B4-BE49-F238E27FC236}">
                      <a16:creationId xmlns:a16="http://schemas.microsoft.com/office/drawing/2014/main" id="{A3817FC5-E89D-447B-A1D8-237EAFD00D51}"/>
                    </a:ext>
                  </a:extLst>
                </p:cNvPr>
                <p:cNvSpPr>
                  <a:spLocks/>
                </p:cNvSpPr>
                <p:nvPr/>
              </p:nvSpPr>
              <p:spPr bwMode="gray">
                <a:xfrm>
                  <a:off x="3160" y="2569"/>
                  <a:ext cx="215" cy="161"/>
                </a:xfrm>
                <a:custGeom>
                  <a:avLst/>
                  <a:gdLst>
                    <a:gd name="T0" fmla="*/ 36 w 215"/>
                    <a:gd name="T1" fmla="*/ 143 h 161"/>
                    <a:gd name="T2" fmla="*/ 41 w 215"/>
                    <a:gd name="T3" fmla="*/ 148 h 161"/>
                    <a:gd name="T4" fmla="*/ 54 w 215"/>
                    <a:gd name="T5" fmla="*/ 143 h 161"/>
                    <a:gd name="T6" fmla="*/ 72 w 215"/>
                    <a:gd name="T7" fmla="*/ 157 h 161"/>
                    <a:gd name="T8" fmla="*/ 94 w 215"/>
                    <a:gd name="T9" fmla="*/ 161 h 161"/>
                    <a:gd name="T10" fmla="*/ 99 w 215"/>
                    <a:gd name="T11" fmla="*/ 152 h 161"/>
                    <a:gd name="T12" fmla="*/ 108 w 215"/>
                    <a:gd name="T13" fmla="*/ 148 h 161"/>
                    <a:gd name="T14" fmla="*/ 117 w 215"/>
                    <a:gd name="T15" fmla="*/ 152 h 161"/>
                    <a:gd name="T16" fmla="*/ 130 w 215"/>
                    <a:gd name="T17" fmla="*/ 152 h 161"/>
                    <a:gd name="T18" fmla="*/ 139 w 215"/>
                    <a:gd name="T19" fmla="*/ 143 h 161"/>
                    <a:gd name="T20" fmla="*/ 166 w 215"/>
                    <a:gd name="T21" fmla="*/ 139 h 161"/>
                    <a:gd name="T22" fmla="*/ 215 w 215"/>
                    <a:gd name="T23" fmla="*/ 99 h 161"/>
                    <a:gd name="T24" fmla="*/ 193 w 215"/>
                    <a:gd name="T25" fmla="*/ 99 h 161"/>
                    <a:gd name="T26" fmla="*/ 157 w 215"/>
                    <a:gd name="T27" fmla="*/ 81 h 161"/>
                    <a:gd name="T28" fmla="*/ 148 w 215"/>
                    <a:gd name="T29" fmla="*/ 72 h 161"/>
                    <a:gd name="T30" fmla="*/ 139 w 215"/>
                    <a:gd name="T31" fmla="*/ 58 h 161"/>
                    <a:gd name="T32" fmla="*/ 143 w 215"/>
                    <a:gd name="T33" fmla="*/ 49 h 161"/>
                    <a:gd name="T34" fmla="*/ 139 w 215"/>
                    <a:gd name="T35" fmla="*/ 49 h 161"/>
                    <a:gd name="T36" fmla="*/ 126 w 215"/>
                    <a:gd name="T37" fmla="*/ 49 h 161"/>
                    <a:gd name="T38" fmla="*/ 126 w 215"/>
                    <a:gd name="T39" fmla="*/ 36 h 161"/>
                    <a:gd name="T40" fmla="*/ 108 w 215"/>
                    <a:gd name="T41" fmla="*/ 14 h 161"/>
                    <a:gd name="T42" fmla="*/ 94 w 215"/>
                    <a:gd name="T43" fmla="*/ 9 h 161"/>
                    <a:gd name="T44" fmla="*/ 76 w 215"/>
                    <a:gd name="T45" fmla="*/ 9 h 161"/>
                    <a:gd name="T46" fmla="*/ 72 w 215"/>
                    <a:gd name="T47" fmla="*/ 0 h 161"/>
                    <a:gd name="T48" fmla="*/ 63 w 215"/>
                    <a:gd name="T49" fmla="*/ 9 h 161"/>
                    <a:gd name="T50" fmla="*/ 50 w 215"/>
                    <a:gd name="T51" fmla="*/ 5 h 161"/>
                    <a:gd name="T52" fmla="*/ 45 w 215"/>
                    <a:gd name="T53" fmla="*/ 23 h 161"/>
                    <a:gd name="T54" fmla="*/ 32 w 215"/>
                    <a:gd name="T55" fmla="*/ 23 h 161"/>
                    <a:gd name="T56" fmla="*/ 23 w 215"/>
                    <a:gd name="T57" fmla="*/ 45 h 161"/>
                    <a:gd name="T58" fmla="*/ 23 w 215"/>
                    <a:gd name="T59" fmla="*/ 54 h 161"/>
                    <a:gd name="T60" fmla="*/ 14 w 215"/>
                    <a:gd name="T61" fmla="*/ 54 h 161"/>
                    <a:gd name="T62" fmla="*/ 14 w 215"/>
                    <a:gd name="T63" fmla="*/ 90 h 161"/>
                    <a:gd name="T64" fmla="*/ 0 w 215"/>
                    <a:gd name="T65" fmla="*/ 90 h 161"/>
                    <a:gd name="T66" fmla="*/ 0 w 215"/>
                    <a:gd name="T67" fmla="*/ 103 h 161"/>
                    <a:gd name="T68" fmla="*/ 14 w 215"/>
                    <a:gd name="T69" fmla="*/ 107 h 161"/>
                    <a:gd name="T70" fmla="*/ 27 w 215"/>
                    <a:gd name="T71" fmla="*/ 121 h 161"/>
                    <a:gd name="T72" fmla="*/ 23 w 215"/>
                    <a:gd name="T73" fmla="*/ 130 h 161"/>
                    <a:gd name="T74" fmla="*/ 36 w 215"/>
                    <a:gd name="T75" fmla="*/ 134 h 161"/>
                    <a:gd name="T76" fmla="*/ 36 w 215"/>
                    <a:gd name="T77" fmla="*/ 14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5" h="161">
                      <a:moveTo>
                        <a:pt x="36" y="143"/>
                      </a:moveTo>
                      <a:lnTo>
                        <a:pt x="41" y="148"/>
                      </a:lnTo>
                      <a:lnTo>
                        <a:pt x="54" y="143"/>
                      </a:lnTo>
                      <a:lnTo>
                        <a:pt x="72" y="157"/>
                      </a:lnTo>
                      <a:lnTo>
                        <a:pt x="94" y="161"/>
                      </a:lnTo>
                      <a:lnTo>
                        <a:pt x="99" y="152"/>
                      </a:lnTo>
                      <a:lnTo>
                        <a:pt x="108" y="148"/>
                      </a:lnTo>
                      <a:lnTo>
                        <a:pt x="117" y="152"/>
                      </a:lnTo>
                      <a:lnTo>
                        <a:pt x="130" y="152"/>
                      </a:lnTo>
                      <a:lnTo>
                        <a:pt x="139" y="143"/>
                      </a:lnTo>
                      <a:lnTo>
                        <a:pt x="166" y="139"/>
                      </a:lnTo>
                      <a:lnTo>
                        <a:pt x="215" y="99"/>
                      </a:lnTo>
                      <a:lnTo>
                        <a:pt x="193" y="99"/>
                      </a:lnTo>
                      <a:lnTo>
                        <a:pt x="157" y="81"/>
                      </a:lnTo>
                      <a:lnTo>
                        <a:pt x="148" y="72"/>
                      </a:lnTo>
                      <a:lnTo>
                        <a:pt x="139" y="58"/>
                      </a:lnTo>
                      <a:lnTo>
                        <a:pt x="143" y="49"/>
                      </a:lnTo>
                      <a:lnTo>
                        <a:pt x="139" y="49"/>
                      </a:lnTo>
                      <a:lnTo>
                        <a:pt x="126" y="49"/>
                      </a:lnTo>
                      <a:lnTo>
                        <a:pt x="126" y="36"/>
                      </a:lnTo>
                      <a:lnTo>
                        <a:pt x="108" y="14"/>
                      </a:lnTo>
                      <a:lnTo>
                        <a:pt x="94" y="9"/>
                      </a:lnTo>
                      <a:lnTo>
                        <a:pt x="76" y="9"/>
                      </a:lnTo>
                      <a:lnTo>
                        <a:pt x="72" y="0"/>
                      </a:lnTo>
                      <a:lnTo>
                        <a:pt x="63" y="9"/>
                      </a:lnTo>
                      <a:lnTo>
                        <a:pt x="50" y="5"/>
                      </a:lnTo>
                      <a:lnTo>
                        <a:pt x="45" y="23"/>
                      </a:lnTo>
                      <a:lnTo>
                        <a:pt x="32" y="23"/>
                      </a:lnTo>
                      <a:lnTo>
                        <a:pt x="23" y="45"/>
                      </a:lnTo>
                      <a:lnTo>
                        <a:pt x="23" y="54"/>
                      </a:lnTo>
                      <a:lnTo>
                        <a:pt x="14" y="54"/>
                      </a:lnTo>
                      <a:lnTo>
                        <a:pt x="14" y="90"/>
                      </a:lnTo>
                      <a:lnTo>
                        <a:pt x="0" y="90"/>
                      </a:lnTo>
                      <a:lnTo>
                        <a:pt x="0" y="103"/>
                      </a:lnTo>
                      <a:lnTo>
                        <a:pt x="14" y="107"/>
                      </a:lnTo>
                      <a:lnTo>
                        <a:pt x="27" y="121"/>
                      </a:lnTo>
                      <a:lnTo>
                        <a:pt x="23" y="130"/>
                      </a:lnTo>
                      <a:lnTo>
                        <a:pt x="36" y="134"/>
                      </a:lnTo>
                      <a:lnTo>
                        <a:pt x="36" y="143"/>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86" name="Freeform 20">
                  <a:extLst>
                    <a:ext uri="{FF2B5EF4-FFF2-40B4-BE49-F238E27FC236}">
                      <a16:creationId xmlns:a16="http://schemas.microsoft.com/office/drawing/2014/main" id="{C834FFA0-9753-4824-9727-87039BCD9464}"/>
                    </a:ext>
                  </a:extLst>
                </p:cNvPr>
                <p:cNvSpPr>
                  <a:spLocks/>
                </p:cNvSpPr>
                <p:nvPr/>
              </p:nvSpPr>
              <p:spPr bwMode="gray">
                <a:xfrm>
                  <a:off x="3205" y="2516"/>
                  <a:ext cx="98" cy="89"/>
                </a:xfrm>
                <a:custGeom>
                  <a:avLst/>
                  <a:gdLst>
                    <a:gd name="T0" fmla="*/ 31 w 98"/>
                    <a:gd name="T1" fmla="*/ 0 h 89"/>
                    <a:gd name="T2" fmla="*/ 18 w 98"/>
                    <a:gd name="T3" fmla="*/ 4 h 89"/>
                    <a:gd name="T4" fmla="*/ 9 w 98"/>
                    <a:gd name="T5" fmla="*/ 13 h 89"/>
                    <a:gd name="T6" fmla="*/ 9 w 98"/>
                    <a:gd name="T7" fmla="*/ 31 h 89"/>
                    <a:gd name="T8" fmla="*/ 0 w 98"/>
                    <a:gd name="T9" fmla="*/ 40 h 89"/>
                    <a:gd name="T10" fmla="*/ 5 w 98"/>
                    <a:gd name="T11" fmla="*/ 58 h 89"/>
                    <a:gd name="T12" fmla="*/ 18 w 98"/>
                    <a:gd name="T13" fmla="*/ 62 h 89"/>
                    <a:gd name="T14" fmla="*/ 27 w 98"/>
                    <a:gd name="T15" fmla="*/ 53 h 89"/>
                    <a:gd name="T16" fmla="*/ 31 w 98"/>
                    <a:gd name="T17" fmla="*/ 62 h 89"/>
                    <a:gd name="T18" fmla="*/ 49 w 98"/>
                    <a:gd name="T19" fmla="*/ 62 h 89"/>
                    <a:gd name="T20" fmla="*/ 63 w 98"/>
                    <a:gd name="T21" fmla="*/ 67 h 89"/>
                    <a:gd name="T22" fmla="*/ 81 w 98"/>
                    <a:gd name="T23" fmla="*/ 89 h 89"/>
                    <a:gd name="T24" fmla="*/ 98 w 98"/>
                    <a:gd name="T25" fmla="*/ 80 h 89"/>
                    <a:gd name="T26" fmla="*/ 76 w 98"/>
                    <a:gd name="T27" fmla="*/ 58 h 89"/>
                    <a:gd name="T28" fmla="*/ 58 w 98"/>
                    <a:gd name="T29" fmla="*/ 44 h 89"/>
                    <a:gd name="T30" fmla="*/ 54 w 98"/>
                    <a:gd name="T31" fmla="*/ 49 h 89"/>
                    <a:gd name="T32" fmla="*/ 54 w 98"/>
                    <a:gd name="T33" fmla="*/ 35 h 89"/>
                    <a:gd name="T34" fmla="*/ 58 w 98"/>
                    <a:gd name="T35" fmla="*/ 35 h 89"/>
                    <a:gd name="T36" fmla="*/ 54 w 98"/>
                    <a:gd name="T37" fmla="*/ 31 h 89"/>
                    <a:gd name="T38" fmla="*/ 54 w 98"/>
                    <a:gd name="T39" fmla="*/ 22 h 89"/>
                    <a:gd name="T40" fmla="*/ 49 w 98"/>
                    <a:gd name="T41" fmla="*/ 31 h 89"/>
                    <a:gd name="T42" fmla="*/ 45 w 98"/>
                    <a:gd name="T43" fmla="*/ 40 h 89"/>
                    <a:gd name="T44" fmla="*/ 36 w 98"/>
                    <a:gd name="T45" fmla="*/ 13 h 89"/>
                    <a:gd name="T46" fmla="*/ 31 w 98"/>
                    <a:gd name="T4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8" h="89">
                      <a:moveTo>
                        <a:pt x="31" y="0"/>
                      </a:moveTo>
                      <a:lnTo>
                        <a:pt x="18" y="4"/>
                      </a:lnTo>
                      <a:lnTo>
                        <a:pt x="9" y="13"/>
                      </a:lnTo>
                      <a:lnTo>
                        <a:pt x="9" y="31"/>
                      </a:lnTo>
                      <a:lnTo>
                        <a:pt x="0" y="40"/>
                      </a:lnTo>
                      <a:lnTo>
                        <a:pt x="5" y="58"/>
                      </a:lnTo>
                      <a:lnTo>
                        <a:pt x="18" y="62"/>
                      </a:lnTo>
                      <a:lnTo>
                        <a:pt x="27" y="53"/>
                      </a:lnTo>
                      <a:lnTo>
                        <a:pt x="31" y="62"/>
                      </a:lnTo>
                      <a:lnTo>
                        <a:pt x="49" y="62"/>
                      </a:lnTo>
                      <a:lnTo>
                        <a:pt x="63" y="67"/>
                      </a:lnTo>
                      <a:lnTo>
                        <a:pt x="81" y="89"/>
                      </a:lnTo>
                      <a:lnTo>
                        <a:pt x="98" y="80"/>
                      </a:lnTo>
                      <a:lnTo>
                        <a:pt x="76" y="58"/>
                      </a:lnTo>
                      <a:lnTo>
                        <a:pt x="58" y="44"/>
                      </a:lnTo>
                      <a:lnTo>
                        <a:pt x="54" y="49"/>
                      </a:lnTo>
                      <a:lnTo>
                        <a:pt x="54" y="35"/>
                      </a:lnTo>
                      <a:lnTo>
                        <a:pt x="58" y="35"/>
                      </a:lnTo>
                      <a:lnTo>
                        <a:pt x="54" y="31"/>
                      </a:lnTo>
                      <a:lnTo>
                        <a:pt x="54" y="22"/>
                      </a:lnTo>
                      <a:lnTo>
                        <a:pt x="49" y="31"/>
                      </a:lnTo>
                      <a:lnTo>
                        <a:pt x="45" y="40"/>
                      </a:lnTo>
                      <a:lnTo>
                        <a:pt x="36" y="13"/>
                      </a:lnTo>
                      <a:lnTo>
                        <a:pt x="31"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87" name="Freeform 21">
                  <a:extLst>
                    <a:ext uri="{FF2B5EF4-FFF2-40B4-BE49-F238E27FC236}">
                      <a16:creationId xmlns:a16="http://schemas.microsoft.com/office/drawing/2014/main" id="{CE675F5E-D965-4191-899A-FA5BFB582018}"/>
                    </a:ext>
                  </a:extLst>
                </p:cNvPr>
                <p:cNvSpPr>
                  <a:spLocks/>
                </p:cNvSpPr>
                <p:nvPr/>
              </p:nvSpPr>
              <p:spPr bwMode="gray">
                <a:xfrm>
                  <a:off x="3286" y="2596"/>
                  <a:ext cx="22" cy="22"/>
                </a:xfrm>
                <a:custGeom>
                  <a:avLst/>
                  <a:gdLst>
                    <a:gd name="T0" fmla="*/ 0 w 22"/>
                    <a:gd name="T1" fmla="*/ 9 h 22"/>
                    <a:gd name="T2" fmla="*/ 17 w 22"/>
                    <a:gd name="T3" fmla="*/ 0 h 22"/>
                    <a:gd name="T4" fmla="*/ 22 w 22"/>
                    <a:gd name="T5" fmla="*/ 5 h 22"/>
                    <a:gd name="T6" fmla="*/ 8 w 22"/>
                    <a:gd name="T7" fmla="*/ 13 h 22"/>
                    <a:gd name="T8" fmla="*/ 17 w 22"/>
                    <a:gd name="T9" fmla="*/ 13 h 22"/>
                    <a:gd name="T10" fmla="*/ 22 w 22"/>
                    <a:gd name="T11" fmla="*/ 18 h 22"/>
                    <a:gd name="T12" fmla="*/ 17 w 22"/>
                    <a:gd name="T13" fmla="*/ 22 h 22"/>
                    <a:gd name="T14" fmla="*/ 13 w 22"/>
                    <a:gd name="T15" fmla="*/ 22 h 22"/>
                    <a:gd name="T16" fmla="*/ 0 w 22"/>
                    <a:gd name="T17" fmla="*/ 22 h 22"/>
                    <a:gd name="T18" fmla="*/ 0 w 22"/>
                    <a:gd name="T19"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2">
                      <a:moveTo>
                        <a:pt x="0" y="9"/>
                      </a:moveTo>
                      <a:lnTo>
                        <a:pt x="17" y="0"/>
                      </a:lnTo>
                      <a:lnTo>
                        <a:pt x="22" y="5"/>
                      </a:lnTo>
                      <a:lnTo>
                        <a:pt x="8" y="13"/>
                      </a:lnTo>
                      <a:lnTo>
                        <a:pt x="17" y="13"/>
                      </a:lnTo>
                      <a:lnTo>
                        <a:pt x="22" y="18"/>
                      </a:lnTo>
                      <a:lnTo>
                        <a:pt x="17" y="22"/>
                      </a:lnTo>
                      <a:lnTo>
                        <a:pt x="13" y="22"/>
                      </a:lnTo>
                      <a:lnTo>
                        <a:pt x="0" y="22"/>
                      </a:lnTo>
                      <a:lnTo>
                        <a:pt x="0" y="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88" name="Freeform 22">
                  <a:extLst>
                    <a:ext uri="{FF2B5EF4-FFF2-40B4-BE49-F238E27FC236}">
                      <a16:creationId xmlns:a16="http://schemas.microsoft.com/office/drawing/2014/main" id="{2086D0AD-B957-40AB-8BC6-3316991F661D}"/>
                    </a:ext>
                  </a:extLst>
                </p:cNvPr>
                <p:cNvSpPr>
                  <a:spLocks/>
                </p:cNvSpPr>
                <p:nvPr/>
              </p:nvSpPr>
              <p:spPr bwMode="gray">
                <a:xfrm>
                  <a:off x="2808" y="2748"/>
                  <a:ext cx="80" cy="85"/>
                </a:xfrm>
                <a:custGeom>
                  <a:avLst/>
                  <a:gdLst>
                    <a:gd name="T0" fmla="*/ 13 w 80"/>
                    <a:gd name="T1" fmla="*/ 18 h 85"/>
                    <a:gd name="T2" fmla="*/ 9 w 80"/>
                    <a:gd name="T3" fmla="*/ 22 h 85"/>
                    <a:gd name="T4" fmla="*/ 4 w 80"/>
                    <a:gd name="T5" fmla="*/ 36 h 85"/>
                    <a:gd name="T6" fmla="*/ 0 w 80"/>
                    <a:gd name="T7" fmla="*/ 40 h 85"/>
                    <a:gd name="T8" fmla="*/ 0 w 80"/>
                    <a:gd name="T9" fmla="*/ 45 h 85"/>
                    <a:gd name="T10" fmla="*/ 13 w 80"/>
                    <a:gd name="T11" fmla="*/ 49 h 85"/>
                    <a:gd name="T12" fmla="*/ 9 w 80"/>
                    <a:gd name="T13" fmla="*/ 54 h 85"/>
                    <a:gd name="T14" fmla="*/ 17 w 80"/>
                    <a:gd name="T15" fmla="*/ 71 h 85"/>
                    <a:gd name="T16" fmla="*/ 31 w 80"/>
                    <a:gd name="T17" fmla="*/ 85 h 85"/>
                    <a:gd name="T18" fmla="*/ 35 w 80"/>
                    <a:gd name="T19" fmla="*/ 80 h 85"/>
                    <a:gd name="T20" fmla="*/ 40 w 80"/>
                    <a:gd name="T21" fmla="*/ 80 h 85"/>
                    <a:gd name="T22" fmla="*/ 40 w 80"/>
                    <a:gd name="T23" fmla="*/ 71 h 85"/>
                    <a:gd name="T24" fmla="*/ 35 w 80"/>
                    <a:gd name="T25" fmla="*/ 67 h 85"/>
                    <a:gd name="T26" fmla="*/ 44 w 80"/>
                    <a:gd name="T27" fmla="*/ 67 h 85"/>
                    <a:gd name="T28" fmla="*/ 53 w 80"/>
                    <a:gd name="T29" fmla="*/ 58 h 85"/>
                    <a:gd name="T30" fmla="*/ 62 w 80"/>
                    <a:gd name="T31" fmla="*/ 67 h 85"/>
                    <a:gd name="T32" fmla="*/ 80 w 80"/>
                    <a:gd name="T33" fmla="*/ 63 h 85"/>
                    <a:gd name="T34" fmla="*/ 80 w 80"/>
                    <a:gd name="T35" fmla="*/ 49 h 85"/>
                    <a:gd name="T36" fmla="*/ 76 w 80"/>
                    <a:gd name="T37" fmla="*/ 27 h 85"/>
                    <a:gd name="T38" fmla="*/ 80 w 80"/>
                    <a:gd name="T39" fmla="*/ 22 h 85"/>
                    <a:gd name="T40" fmla="*/ 80 w 80"/>
                    <a:gd name="T41" fmla="*/ 13 h 85"/>
                    <a:gd name="T42" fmla="*/ 62 w 80"/>
                    <a:gd name="T43" fmla="*/ 13 h 85"/>
                    <a:gd name="T44" fmla="*/ 67 w 80"/>
                    <a:gd name="T45" fmla="*/ 0 h 85"/>
                    <a:gd name="T46" fmla="*/ 53 w 80"/>
                    <a:gd name="T47" fmla="*/ 0 h 85"/>
                    <a:gd name="T48" fmla="*/ 35 w 80"/>
                    <a:gd name="T49" fmla="*/ 4 h 85"/>
                    <a:gd name="T50" fmla="*/ 35 w 80"/>
                    <a:gd name="T51" fmla="*/ 18 h 85"/>
                    <a:gd name="T52" fmla="*/ 13 w 80"/>
                    <a:gd name="T53" fmla="*/ 1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85">
                      <a:moveTo>
                        <a:pt x="13" y="18"/>
                      </a:moveTo>
                      <a:lnTo>
                        <a:pt x="9" y="22"/>
                      </a:lnTo>
                      <a:lnTo>
                        <a:pt x="4" y="36"/>
                      </a:lnTo>
                      <a:lnTo>
                        <a:pt x="0" y="40"/>
                      </a:lnTo>
                      <a:lnTo>
                        <a:pt x="0" y="45"/>
                      </a:lnTo>
                      <a:lnTo>
                        <a:pt x="13" y="49"/>
                      </a:lnTo>
                      <a:lnTo>
                        <a:pt x="9" y="54"/>
                      </a:lnTo>
                      <a:lnTo>
                        <a:pt x="17" y="71"/>
                      </a:lnTo>
                      <a:lnTo>
                        <a:pt x="31" y="85"/>
                      </a:lnTo>
                      <a:lnTo>
                        <a:pt x="35" y="80"/>
                      </a:lnTo>
                      <a:lnTo>
                        <a:pt x="40" y="80"/>
                      </a:lnTo>
                      <a:lnTo>
                        <a:pt x="40" y="71"/>
                      </a:lnTo>
                      <a:lnTo>
                        <a:pt x="35" y="67"/>
                      </a:lnTo>
                      <a:lnTo>
                        <a:pt x="44" y="67"/>
                      </a:lnTo>
                      <a:lnTo>
                        <a:pt x="53" y="58"/>
                      </a:lnTo>
                      <a:lnTo>
                        <a:pt x="62" y="67"/>
                      </a:lnTo>
                      <a:lnTo>
                        <a:pt x="80" y="63"/>
                      </a:lnTo>
                      <a:lnTo>
                        <a:pt x="80" y="49"/>
                      </a:lnTo>
                      <a:lnTo>
                        <a:pt x="76" y="27"/>
                      </a:lnTo>
                      <a:lnTo>
                        <a:pt x="80" y="22"/>
                      </a:lnTo>
                      <a:lnTo>
                        <a:pt x="80" y="13"/>
                      </a:lnTo>
                      <a:lnTo>
                        <a:pt x="62" y="13"/>
                      </a:lnTo>
                      <a:lnTo>
                        <a:pt x="67" y="0"/>
                      </a:lnTo>
                      <a:lnTo>
                        <a:pt x="53" y="0"/>
                      </a:lnTo>
                      <a:lnTo>
                        <a:pt x="35" y="4"/>
                      </a:lnTo>
                      <a:lnTo>
                        <a:pt x="35" y="18"/>
                      </a:lnTo>
                      <a:lnTo>
                        <a:pt x="13" y="18"/>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89" name="Freeform 23">
                  <a:extLst>
                    <a:ext uri="{FF2B5EF4-FFF2-40B4-BE49-F238E27FC236}">
                      <a16:creationId xmlns:a16="http://schemas.microsoft.com/office/drawing/2014/main" id="{A8DA97A2-5F10-4A13-8DBF-61CDC35206FB}"/>
                    </a:ext>
                  </a:extLst>
                </p:cNvPr>
                <p:cNvSpPr>
                  <a:spLocks/>
                </p:cNvSpPr>
                <p:nvPr/>
              </p:nvSpPr>
              <p:spPr bwMode="gray">
                <a:xfrm>
                  <a:off x="2446" y="2578"/>
                  <a:ext cx="40" cy="14"/>
                </a:xfrm>
                <a:custGeom>
                  <a:avLst/>
                  <a:gdLst>
                    <a:gd name="T0" fmla="*/ 0 w 40"/>
                    <a:gd name="T1" fmla="*/ 9 h 14"/>
                    <a:gd name="T2" fmla="*/ 18 w 40"/>
                    <a:gd name="T3" fmla="*/ 14 h 14"/>
                    <a:gd name="T4" fmla="*/ 27 w 40"/>
                    <a:gd name="T5" fmla="*/ 5 h 14"/>
                    <a:gd name="T6" fmla="*/ 36 w 40"/>
                    <a:gd name="T7" fmla="*/ 9 h 14"/>
                    <a:gd name="T8" fmla="*/ 40 w 40"/>
                    <a:gd name="T9" fmla="*/ 5 h 14"/>
                    <a:gd name="T10" fmla="*/ 36 w 40"/>
                    <a:gd name="T11" fmla="*/ 0 h 14"/>
                    <a:gd name="T12" fmla="*/ 27 w 40"/>
                    <a:gd name="T13" fmla="*/ 0 h 14"/>
                    <a:gd name="T14" fmla="*/ 4 w 40"/>
                    <a:gd name="T15" fmla="*/ 0 h 14"/>
                    <a:gd name="T16" fmla="*/ 4 w 40"/>
                    <a:gd name="T17" fmla="*/ 5 h 14"/>
                    <a:gd name="T18" fmla="*/ 0 w 40"/>
                    <a:gd name="T19" fmla="*/ 5 h 14"/>
                    <a:gd name="T20" fmla="*/ 0 w 40"/>
                    <a:gd name="T2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14">
                      <a:moveTo>
                        <a:pt x="0" y="9"/>
                      </a:moveTo>
                      <a:lnTo>
                        <a:pt x="18" y="14"/>
                      </a:lnTo>
                      <a:lnTo>
                        <a:pt x="27" y="5"/>
                      </a:lnTo>
                      <a:lnTo>
                        <a:pt x="36" y="9"/>
                      </a:lnTo>
                      <a:lnTo>
                        <a:pt x="40" y="5"/>
                      </a:lnTo>
                      <a:lnTo>
                        <a:pt x="36" y="0"/>
                      </a:lnTo>
                      <a:lnTo>
                        <a:pt x="27" y="0"/>
                      </a:lnTo>
                      <a:lnTo>
                        <a:pt x="4" y="0"/>
                      </a:lnTo>
                      <a:lnTo>
                        <a:pt x="4" y="5"/>
                      </a:lnTo>
                      <a:lnTo>
                        <a:pt x="0" y="5"/>
                      </a:lnTo>
                      <a:lnTo>
                        <a:pt x="0" y="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90" name="Freeform 24">
                  <a:extLst>
                    <a:ext uri="{FF2B5EF4-FFF2-40B4-BE49-F238E27FC236}">
                      <a16:creationId xmlns:a16="http://schemas.microsoft.com/office/drawing/2014/main" id="{5714D7A3-5D08-4387-9637-ABBE17B3146E}"/>
                    </a:ext>
                  </a:extLst>
                </p:cNvPr>
                <p:cNvSpPr>
                  <a:spLocks/>
                </p:cNvSpPr>
                <p:nvPr/>
              </p:nvSpPr>
              <p:spPr bwMode="gray">
                <a:xfrm>
                  <a:off x="2638" y="2614"/>
                  <a:ext cx="62" cy="98"/>
                </a:xfrm>
                <a:custGeom>
                  <a:avLst/>
                  <a:gdLst>
                    <a:gd name="T0" fmla="*/ 4 w 62"/>
                    <a:gd name="T1" fmla="*/ 89 h 98"/>
                    <a:gd name="T2" fmla="*/ 13 w 62"/>
                    <a:gd name="T3" fmla="*/ 98 h 98"/>
                    <a:gd name="T4" fmla="*/ 18 w 62"/>
                    <a:gd name="T5" fmla="*/ 89 h 98"/>
                    <a:gd name="T6" fmla="*/ 31 w 62"/>
                    <a:gd name="T7" fmla="*/ 89 h 98"/>
                    <a:gd name="T8" fmla="*/ 45 w 62"/>
                    <a:gd name="T9" fmla="*/ 80 h 98"/>
                    <a:gd name="T10" fmla="*/ 58 w 62"/>
                    <a:gd name="T11" fmla="*/ 80 h 98"/>
                    <a:gd name="T12" fmla="*/ 62 w 62"/>
                    <a:gd name="T13" fmla="*/ 76 h 98"/>
                    <a:gd name="T14" fmla="*/ 58 w 62"/>
                    <a:gd name="T15" fmla="*/ 71 h 98"/>
                    <a:gd name="T16" fmla="*/ 53 w 62"/>
                    <a:gd name="T17" fmla="*/ 62 h 98"/>
                    <a:gd name="T18" fmla="*/ 53 w 62"/>
                    <a:gd name="T19" fmla="*/ 54 h 98"/>
                    <a:gd name="T20" fmla="*/ 49 w 62"/>
                    <a:gd name="T21" fmla="*/ 40 h 98"/>
                    <a:gd name="T22" fmla="*/ 53 w 62"/>
                    <a:gd name="T23" fmla="*/ 36 h 98"/>
                    <a:gd name="T24" fmla="*/ 53 w 62"/>
                    <a:gd name="T25" fmla="*/ 13 h 98"/>
                    <a:gd name="T26" fmla="*/ 45 w 62"/>
                    <a:gd name="T27" fmla="*/ 9 h 98"/>
                    <a:gd name="T28" fmla="*/ 49 w 62"/>
                    <a:gd name="T29" fmla="*/ 0 h 98"/>
                    <a:gd name="T30" fmla="*/ 45 w 62"/>
                    <a:gd name="T31" fmla="*/ 0 h 98"/>
                    <a:gd name="T32" fmla="*/ 36 w 62"/>
                    <a:gd name="T33" fmla="*/ 4 h 98"/>
                    <a:gd name="T34" fmla="*/ 4 w 62"/>
                    <a:gd name="T35" fmla="*/ 4 h 98"/>
                    <a:gd name="T36" fmla="*/ 4 w 62"/>
                    <a:gd name="T37" fmla="*/ 18 h 98"/>
                    <a:gd name="T38" fmla="*/ 4 w 62"/>
                    <a:gd name="T39" fmla="*/ 31 h 98"/>
                    <a:gd name="T40" fmla="*/ 9 w 62"/>
                    <a:gd name="T41" fmla="*/ 45 h 98"/>
                    <a:gd name="T42" fmla="*/ 4 w 62"/>
                    <a:gd name="T43" fmla="*/ 54 h 98"/>
                    <a:gd name="T44" fmla="*/ 0 w 62"/>
                    <a:gd name="T45" fmla="*/ 67 h 98"/>
                    <a:gd name="T46" fmla="*/ 4 w 62"/>
                    <a:gd name="T47" fmla="*/ 85 h 98"/>
                    <a:gd name="T48" fmla="*/ 4 w 62"/>
                    <a:gd name="T49" fmla="*/ 8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98">
                      <a:moveTo>
                        <a:pt x="4" y="89"/>
                      </a:moveTo>
                      <a:lnTo>
                        <a:pt x="13" y="98"/>
                      </a:lnTo>
                      <a:lnTo>
                        <a:pt x="18" y="89"/>
                      </a:lnTo>
                      <a:lnTo>
                        <a:pt x="31" y="89"/>
                      </a:lnTo>
                      <a:lnTo>
                        <a:pt x="45" y="80"/>
                      </a:lnTo>
                      <a:lnTo>
                        <a:pt x="58" y="80"/>
                      </a:lnTo>
                      <a:lnTo>
                        <a:pt x="62" y="76"/>
                      </a:lnTo>
                      <a:lnTo>
                        <a:pt x="58" y="71"/>
                      </a:lnTo>
                      <a:lnTo>
                        <a:pt x="53" y="62"/>
                      </a:lnTo>
                      <a:lnTo>
                        <a:pt x="53" y="54"/>
                      </a:lnTo>
                      <a:lnTo>
                        <a:pt x="49" y="40"/>
                      </a:lnTo>
                      <a:lnTo>
                        <a:pt x="53" y="36"/>
                      </a:lnTo>
                      <a:lnTo>
                        <a:pt x="53" y="13"/>
                      </a:lnTo>
                      <a:lnTo>
                        <a:pt x="45" y="9"/>
                      </a:lnTo>
                      <a:lnTo>
                        <a:pt x="49" y="0"/>
                      </a:lnTo>
                      <a:lnTo>
                        <a:pt x="45" y="0"/>
                      </a:lnTo>
                      <a:lnTo>
                        <a:pt x="36" y="4"/>
                      </a:lnTo>
                      <a:lnTo>
                        <a:pt x="4" y="4"/>
                      </a:lnTo>
                      <a:lnTo>
                        <a:pt x="4" y="18"/>
                      </a:lnTo>
                      <a:lnTo>
                        <a:pt x="4" y="31"/>
                      </a:lnTo>
                      <a:lnTo>
                        <a:pt x="9" y="45"/>
                      </a:lnTo>
                      <a:lnTo>
                        <a:pt x="4" y="54"/>
                      </a:lnTo>
                      <a:lnTo>
                        <a:pt x="0" y="67"/>
                      </a:lnTo>
                      <a:lnTo>
                        <a:pt x="4" y="85"/>
                      </a:lnTo>
                      <a:lnTo>
                        <a:pt x="4" y="8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91" name="Freeform 25">
                  <a:extLst>
                    <a:ext uri="{FF2B5EF4-FFF2-40B4-BE49-F238E27FC236}">
                      <a16:creationId xmlns:a16="http://schemas.microsoft.com/office/drawing/2014/main" id="{06400311-07F9-4902-88CB-8EA611494724}"/>
                    </a:ext>
                  </a:extLst>
                </p:cNvPr>
                <p:cNvSpPr>
                  <a:spLocks/>
                </p:cNvSpPr>
                <p:nvPr/>
              </p:nvSpPr>
              <p:spPr bwMode="gray">
                <a:xfrm>
                  <a:off x="2473" y="2596"/>
                  <a:ext cx="98" cy="76"/>
                </a:xfrm>
                <a:custGeom>
                  <a:avLst/>
                  <a:gdLst>
                    <a:gd name="T0" fmla="*/ 0 w 98"/>
                    <a:gd name="T1" fmla="*/ 31 h 76"/>
                    <a:gd name="T2" fmla="*/ 4 w 98"/>
                    <a:gd name="T3" fmla="*/ 40 h 76"/>
                    <a:gd name="T4" fmla="*/ 17 w 98"/>
                    <a:gd name="T5" fmla="*/ 45 h 76"/>
                    <a:gd name="T6" fmla="*/ 17 w 98"/>
                    <a:gd name="T7" fmla="*/ 54 h 76"/>
                    <a:gd name="T8" fmla="*/ 26 w 98"/>
                    <a:gd name="T9" fmla="*/ 49 h 76"/>
                    <a:gd name="T10" fmla="*/ 31 w 98"/>
                    <a:gd name="T11" fmla="*/ 45 h 76"/>
                    <a:gd name="T12" fmla="*/ 49 w 98"/>
                    <a:gd name="T13" fmla="*/ 40 h 76"/>
                    <a:gd name="T14" fmla="*/ 53 w 98"/>
                    <a:gd name="T15" fmla="*/ 45 h 76"/>
                    <a:gd name="T16" fmla="*/ 58 w 98"/>
                    <a:gd name="T17" fmla="*/ 54 h 76"/>
                    <a:gd name="T18" fmla="*/ 58 w 98"/>
                    <a:gd name="T19" fmla="*/ 63 h 76"/>
                    <a:gd name="T20" fmla="*/ 62 w 98"/>
                    <a:gd name="T21" fmla="*/ 63 h 76"/>
                    <a:gd name="T22" fmla="*/ 76 w 98"/>
                    <a:gd name="T23" fmla="*/ 63 h 76"/>
                    <a:gd name="T24" fmla="*/ 76 w 98"/>
                    <a:gd name="T25" fmla="*/ 76 h 76"/>
                    <a:gd name="T26" fmla="*/ 84 w 98"/>
                    <a:gd name="T27" fmla="*/ 76 h 76"/>
                    <a:gd name="T28" fmla="*/ 89 w 98"/>
                    <a:gd name="T29" fmla="*/ 72 h 76"/>
                    <a:gd name="T30" fmla="*/ 89 w 98"/>
                    <a:gd name="T31" fmla="*/ 58 h 76"/>
                    <a:gd name="T32" fmla="*/ 98 w 98"/>
                    <a:gd name="T33" fmla="*/ 58 h 76"/>
                    <a:gd name="T34" fmla="*/ 93 w 98"/>
                    <a:gd name="T35" fmla="*/ 45 h 76"/>
                    <a:gd name="T36" fmla="*/ 98 w 98"/>
                    <a:gd name="T37" fmla="*/ 31 h 76"/>
                    <a:gd name="T38" fmla="*/ 89 w 98"/>
                    <a:gd name="T39" fmla="*/ 27 h 76"/>
                    <a:gd name="T40" fmla="*/ 89 w 98"/>
                    <a:gd name="T41" fmla="*/ 18 h 76"/>
                    <a:gd name="T42" fmla="*/ 84 w 98"/>
                    <a:gd name="T43" fmla="*/ 13 h 76"/>
                    <a:gd name="T44" fmla="*/ 80 w 98"/>
                    <a:gd name="T45" fmla="*/ 0 h 76"/>
                    <a:gd name="T46" fmla="*/ 62 w 98"/>
                    <a:gd name="T47" fmla="*/ 9 h 76"/>
                    <a:gd name="T48" fmla="*/ 53 w 98"/>
                    <a:gd name="T49" fmla="*/ 9 h 76"/>
                    <a:gd name="T50" fmla="*/ 49 w 98"/>
                    <a:gd name="T51" fmla="*/ 13 h 76"/>
                    <a:gd name="T52" fmla="*/ 44 w 98"/>
                    <a:gd name="T53" fmla="*/ 5 h 76"/>
                    <a:gd name="T54" fmla="*/ 17 w 98"/>
                    <a:gd name="T55" fmla="*/ 5 h 76"/>
                    <a:gd name="T56" fmla="*/ 17 w 98"/>
                    <a:gd name="T57" fmla="*/ 13 h 76"/>
                    <a:gd name="T58" fmla="*/ 4 w 98"/>
                    <a:gd name="T59" fmla="*/ 22 h 76"/>
                    <a:gd name="T60" fmla="*/ 0 w 98"/>
                    <a:gd name="T61"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76">
                      <a:moveTo>
                        <a:pt x="0" y="31"/>
                      </a:moveTo>
                      <a:lnTo>
                        <a:pt x="4" y="40"/>
                      </a:lnTo>
                      <a:lnTo>
                        <a:pt x="17" y="45"/>
                      </a:lnTo>
                      <a:lnTo>
                        <a:pt x="17" y="54"/>
                      </a:lnTo>
                      <a:lnTo>
                        <a:pt x="26" y="49"/>
                      </a:lnTo>
                      <a:lnTo>
                        <a:pt x="31" y="45"/>
                      </a:lnTo>
                      <a:lnTo>
                        <a:pt x="49" y="40"/>
                      </a:lnTo>
                      <a:lnTo>
                        <a:pt x="53" y="45"/>
                      </a:lnTo>
                      <a:lnTo>
                        <a:pt x="58" y="54"/>
                      </a:lnTo>
                      <a:lnTo>
                        <a:pt x="58" y="63"/>
                      </a:lnTo>
                      <a:lnTo>
                        <a:pt x="62" y="63"/>
                      </a:lnTo>
                      <a:lnTo>
                        <a:pt x="76" y="63"/>
                      </a:lnTo>
                      <a:lnTo>
                        <a:pt x="76" y="76"/>
                      </a:lnTo>
                      <a:lnTo>
                        <a:pt x="84" y="76"/>
                      </a:lnTo>
                      <a:lnTo>
                        <a:pt x="89" y="72"/>
                      </a:lnTo>
                      <a:lnTo>
                        <a:pt x="89" y="58"/>
                      </a:lnTo>
                      <a:lnTo>
                        <a:pt x="98" y="58"/>
                      </a:lnTo>
                      <a:lnTo>
                        <a:pt x="93" y="45"/>
                      </a:lnTo>
                      <a:lnTo>
                        <a:pt x="98" y="31"/>
                      </a:lnTo>
                      <a:lnTo>
                        <a:pt x="89" y="27"/>
                      </a:lnTo>
                      <a:lnTo>
                        <a:pt x="89" y="18"/>
                      </a:lnTo>
                      <a:lnTo>
                        <a:pt x="84" y="13"/>
                      </a:lnTo>
                      <a:lnTo>
                        <a:pt x="80" y="0"/>
                      </a:lnTo>
                      <a:lnTo>
                        <a:pt x="62" y="9"/>
                      </a:lnTo>
                      <a:lnTo>
                        <a:pt x="53" y="9"/>
                      </a:lnTo>
                      <a:lnTo>
                        <a:pt x="49" y="13"/>
                      </a:lnTo>
                      <a:lnTo>
                        <a:pt x="44" y="5"/>
                      </a:lnTo>
                      <a:lnTo>
                        <a:pt x="17" y="5"/>
                      </a:lnTo>
                      <a:lnTo>
                        <a:pt x="17" y="13"/>
                      </a:lnTo>
                      <a:lnTo>
                        <a:pt x="4" y="22"/>
                      </a:lnTo>
                      <a:lnTo>
                        <a:pt x="0" y="31"/>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92" name="Freeform 26">
                  <a:extLst>
                    <a:ext uri="{FF2B5EF4-FFF2-40B4-BE49-F238E27FC236}">
                      <a16:creationId xmlns:a16="http://schemas.microsoft.com/office/drawing/2014/main" id="{E4775FD1-12BE-4E62-9CFB-5B30A8520A3B}"/>
                    </a:ext>
                  </a:extLst>
                </p:cNvPr>
                <p:cNvSpPr>
                  <a:spLocks/>
                </p:cNvSpPr>
                <p:nvPr/>
              </p:nvSpPr>
              <p:spPr bwMode="gray">
                <a:xfrm>
                  <a:off x="2562" y="2627"/>
                  <a:ext cx="85" cy="90"/>
                </a:xfrm>
                <a:custGeom>
                  <a:avLst/>
                  <a:gdLst>
                    <a:gd name="T0" fmla="*/ 0 w 85"/>
                    <a:gd name="T1" fmla="*/ 41 h 90"/>
                    <a:gd name="T2" fmla="*/ 0 w 85"/>
                    <a:gd name="T3" fmla="*/ 54 h 90"/>
                    <a:gd name="T4" fmla="*/ 18 w 85"/>
                    <a:gd name="T5" fmla="*/ 67 h 90"/>
                    <a:gd name="T6" fmla="*/ 13 w 85"/>
                    <a:gd name="T7" fmla="*/ 90 h 90"/>
                    <a:gd name="T8" fmla="*/ 18 w 85"/>
                    <a:gd name="T9" fmla="*/ 90 h 90"/>
                    <a:gd name="T10" fmla="*/ 36 w 85"/>
                    <a:gd name="T11" fmla="*/ 76 h 90"/>
                    <a:gd name="T12" fmla="*/ 58 w 85"/>
                    <a:gd name="T13" fmla="*/ 72 h 90"/>
                    <a:gd name="T14" fmla="*/ 80 w 85"/>
                    <a:gd name="T15" fmla="*/ 76 h 90"/>
                    <a:gd name="T16" fmla="*/ 80 w 85"/>
                    <a:gd name="T17" fmla="*/ 72 h 90"/>
                    <a:gd name="T18" fmla="*/ 76 w 85"/>
                    <a:gd name="T19" fmla="*/ 54 h 90"/>
                    <a:gd name="T20" fmla="*/ 80 w 85"/>
                    <a:gd name="T21" fmla="*/ 41 h 90"/>
                    <a:gd name="T22" fmla="*/ 85 w 85"/>
                    <a:gd name="T23" fmla="*/ 32 h 90"/>
                    <a:gd name="T24" fmla="*/ 80 w 85"/>
                    <a:gd name="T25" fmla="*/ 18 h 90"/>
                    <a:gd name="T26" fmla="*/ 76 w 85"/>
                    <a:gd name="T27" fmla="*/ 14 h 90"/>
                    <a:gd name="T28" fmla="*/ 71 w 85"/>
                    <a:gd name="T29" fmla="*/ 9 h 90"/>
                    <a:gd name="T30" fmla="*/ 58 w 85"/>
                    <a:gd name="T31" fmla="*/ 14 h 90"/>
                    <a:gd name="T32" fmla="*/ 40 w 85"/>
                    <a:gd name="T33" fmla="*/ 0 h 90"/>
                    <a:gd name="T34" fmla="*/ 36 w 85"/>
                    <a:gd name="T35" fmla="*/ 5 h 90"/>
                    <a:gd name="T36" fmla="*/ 31 w 85"/>
                    <a:gd name="T37" fmla="*/ 0 h 90"/>
                    <a:gd name="T38" fmla="*/ 13 w 85"/>
                    <a:gd name="T39" fmla="*/ 5 h 90"/>
                    <a:gd name="T40" fmla="*/ 9 w 85"/>
                    <a:gd name="T41" fmla="*/ 0 h 90"/>
                    <a:gd name="T42" fmla="*/ 4 w 85"/>
                    <a:gd name="T43" fmla="*/ 14 h 90"/>
                    <a:gd name="T44" fmla="*/ 9 w 85"/>
                    <a:gd name="T45" fmla="*/ 27 h 90"/>
                    <a:gd name="T46" fmla="*/ 0 w 85"/>
                    <a:gd name="T47" fmla="*/ 27 h 90"/>
                    <a:gd name="T48" fmla="*/ 0 w 85"/>
                    <a:gd name="T49" fmla="*/ 41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90">
                      <a:moveTo>
                        <a:pt x="0" y="41"/>
                      </a:moveTo>
                      <a:lnTo>
                        <a:pt x="0" y="54"/>
                      </a:lnTo>
                      <a:lnTo>
                        <a:pt x="18" y="67"/>
                      </a:lnTo>
                      <a:lnTo>
                        <a:pt x="13" y="90"/>
                      </a:lnTo>
                      <a:lnTo>
                        <a:pt x="18" y="90"/>
                      </a:lnTo>
                      <a:lnTo>
                        <a:pt x="36" y="76"/>
                      </a:lnTo>
                      <a:lnTo>
                        <a:pt x="58" y="72"/>
                      </a:lnTo>
                      <a:lnTo>
                        <a:pt x="80" y="76"/>
                      </a:lnTo>
                      <a:lnTo>
                        <a:pt x="80" y="72"/>
                      </a:lnTo>
                      <a:lnTo>
                        <a:pt x="76" y="54"/>
                      </a:lnTo>
                      <a:lnTo>
                        <a:pt x="80" y="41"/>
                      </a:lnTo>
                      <a:lnTo>
                        <a:pt x="85" y="32"/>
                      </a:lnTo>
                      <a:lnTo>
                        <a:pt x="80" y="18"/>
                      </a:lnTo>
                      <a:lnTo>
                        <a:pt x="76" y="14"/>
                      </a:lnTo>
                      <a:lnTo>
                        <a:pt x="71" y="9"/>
                      </a:lnTo>
                      <a:lnTo>
                        <a:pt x="58" y="14"/>
                      </a:lnTo>
                      <a:lnTo>
                        <a:pt x="40" y="0"/>
                      </a:lnTo>
                      <a:lnTo>
                        <a:pt x="36" y="5"/>
                      </a:lnTo>
                      <a:lnTo>
                        <a:pt x="31" y="0"/>
                      </a:lnTo>
                      <a:lnTo>
                        <a:pt x="13" y="5"/>
                      </a:lnTo>
                      <a:lnTo>
                        <a:pt x="9" y="0"/>
                      </a:lnTo>
                      <a:lnTo>
                        <a:pt x="4" y="14"/>
                      </a:lnTo>
                      <a:lnTo>
                        <a:pt x="9" y="27"/>
                      </a:lnTo>
                      <a:lnTo>
                        <a:pt x="0" y="27"/>
                      </a:lnTo>
                      <a:lnTo>
                        <a:pt x="0" y="41"/>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93" name="Freeform 27">
                  <a:extLst>
                    <a:ext uri="{FF2B5EF4-FFF2-40B4-BE49-F238E27FC236}">
                      <a16:creationId xmlns:a16="http://schemas.microsoft.com/office/drawing/2014/main" id="{AED5C579-8BDC-4022-8B62-28A23F07B909}"/>
                    </a:ext>
                  </a:extLst>
                </p:cNvPr>
                <p:cNvSpPr>
                  <a:spLocks/>
                </p:cNvSpPr>
                <p:nvPr/>
              </p:nvSpPr>
              <p:spPr bwMode="gray">
                <a:xfrm>
                  <a:off x="3169" y="2712"/>
                  <a:ext cx="121" cy="134"/>
                </a:xfrm>
                <a:custGeom>
                  <a:avLst/>
                  <a:gdLst>
                    <a:gd name="T0" fmla="*/ 0 w 121"/>
                    <a:gd name="T1" fmla="*/ 5 h 134"/>
                    <a:gd name="T2" fmla="*/ 9 w 121"/>
                    <a:gd name="T3" fmla="*/ 14 h 134"/>
                    <a:gd name="T4" fmla="*/ 14 w 121"/>
                    <a:gd name="T5" fmla="*/ 27 h 134"/>
                    <a:gd name="T6" fmla="*/ 9 w 121"/>
                    <a:gd name="T7" fmla="*/ 49 h 134"/>
                    <a:gd name="T8" fmla="*/ 5 w 121"/>
                    <a:gd name="T9" fmla="*/ 63 h 134"/>
                    <a:gd name="T10" fmla="*/ 5 w 121"/>
                    <a:gd name="T11" fmla="*/ 72 h 134"/>
                    <a:gd name="T12" fmla="*/ 9 w 121"/>
                    <a:gd name="T13" fmla="*/ 72 h 134"/>
                    <a:gd name="T14" fmla="*/ 5 w 121"/>
                    <a:gd name="T15" fmla="*/ 76 h 134"/>
                    <a:gd name="T16" fmla="*/ 0 w 121"/>
                    <a:gd name="T17" fmla="*/ 81 h 134"/>
                    <a:gd name="T18" fmla="*/ 41 w 121"/>
                    <a:gd name="T19" fmla="*/ 107 h 134"/>
                    <a:gd name="T20" fmla="*/ 76 w 121"/>
                    <a:gd name="T21" fmla="*/ 134 h 134"/>
                    <a:gd name="T22" fmla="*/ 85 w 121"/>
                    <a:gd name="T23" fmla="*/ 134 h 134"/>
                    <a:gd name="T24" fmla="*/ 90 w 121"/>
                    <a:gd name="T25" fmla="*/ 121 h 134"/>
                    <a:gd name="T26" fmla="*/ 94 w 121"/>
                    <a:gd name="T27" fmla="*/ 121 h 134"/>
                    <a:gd name="T28" fmla="*/ 94 w 121"/>
                    <a:gd name="T29" fmla="*/ 107 h 134"/>
                    <a:gd name="T30" fmla="*/ 103 w 121"/>
                    <a:gd name="T31" fmla="*/ 103 h 134"/>
                    <a:gd name="T32" fmla="*/ 103 w 121"/>
                    <a:gd name="T33" fmla="*/ 99 h 134"/>
                    <a:gd name="T34" fmla="*/ 112 w 121"/>
                    <a:gd name="T35" fmla="*/ 94 h 134"/>
                    <a:gd name="T36" fmla="*/ 108 w 121"/>
                    <a:gd name="T37" fmla="*/ 76 h 134"/>
                    <a:gd name="T38" fmla="*/ 103 w 121"/>
                    <a:gd name="T39" fmla="*/ 23 h 134"/>
                    <a:gd name="T40" fmla="*/ 121 w 121"/>
                    <a:gd name="T41" fmla="*/ 9 h 134"/>
                    <a:gd name="T42" fmla="*/ 108 w 121"/>
                    <a:gd name="T43" fmla="*/ 9 h 134"/>
                    <a:gd name="T44" fmla="*/ 99 w 121"/>
                    <a:gd name="T45" fmla="*/ 5 h 134"/>
                    <a:gd name="T46" fmla="*/ 90 w 121"/>
                    <a:gd name="T47" fmla="*/ 9 h 134"/>
                    <a:gd name="T48" fmla="*/ 85 w 121"/>
                    <a:gd name="T49" fmla="*/ 18 h 134"/>
                    <a:gd name="T50" fmla="*/ 63 w 121"/>
                    <a:gd name="T51" fmla="*/ 14 h 134"/>
                    <a:gd name="T52" fmla="*/ 45 w 121"/>
                    <a:gd name="T53" fmla="*/ 0 h 134"/>
                    <a:gd name="T54" fmla="*/ 32 w 121"/>
                    <a:gd name="T55" fmla="*/ 5 h 134"/>
                    <a:gd name="T56" fmla="*/ 27 w 121"/>
                    <a:gd name="T57" fmla="*/ 0 h 134"/>
                    <a:gd name="T58" fmla="*/ 5 w 121"/>
                    <a:gd name="T59" fmla="*/ 0 h 134"/>
                    <a:gd name="T60" fmla="*/ 0 w 121"/>
                    <a:gd name="T61" fmla="*/ 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1" h="134">
                      <a:moveTo>
                        <a:pt x="0" y="5"/>
                      </a:moveTo>
                      <a:lnTo>
                        <a:pt x="9" y="14"/>
                      </a:lnTo>
                      <a:lnTo>
                        <a:pt x="14" y="27"/>
                      </a:lnTo>
                      <a:lnTo>
                        <a:pt x="9" y="49"/>
                      </a:lnTo>
                      <a:lnTo>
                        <a:pt x="5" y="63"/>
                      </a:lnTo>
                      <a:lnTo>
                        <a:pt x="5" y="72"/>
                      </a:lnTo>
                      <a:lnTo>
                        <a:pt x="9" y="72"/>
                      </a:lnTo>
                      <a:lnTo>
                        <a:pt x="5" y="76"/>
                      </a:lnTo>
                      <a:lnTo>
                        <a:pt x="0" y="81"/>
                      </a:lnTo>
                      <a:lnTo>
                        <a:pt x="41" y="107"/>
                      </a:lnTo>
                      <a:lnTo>
                        <a:pt x="76" y="134"/>
                      </a:lnTo>
                      <a:lnTo>
                        <a:pt x="85" y="134"/>
                      </a:lnTo>
                      <a:lnTo>
                        <a:pt x="90" y="121"/>
                      </a:lnTo>
                      <a:lnTo>
                        <a:pt x="94" y="121"/>
                      </a:lnTo>
                      <a:lnTo>
                        <a:pt x="94" y="107"/>
                      </a:lnTo>
                      <a:lnTo>
                        <a:pt x="103" y="103"/>
                      </a:lnTo>
                      <a:lnTo>
                        <a:pt x="103" y="99"/>
                      </a:lnTo>
                      <a:lnTo>
                        <a:pt x="112" y="94"/>
                      </a:lnTo>
                      <a:lnTo>
                        <a:pt x="108" y="76"/>
                      </a:lnTo>
                      <a:lnTo>
                        <a:pt x="103" y="23"/>
                      </a:lnTo>
                      <a:lnTo>
                        <a:pt x="121" y="9"/>
                      </a:lnTo>
                      <a:lnTo>
                        <a:pt x="108" y="9"/>
                      </a:lnTo>
                      <a:lnTo>
                        <a:pt x="99" y="5"/>
                      </a:lnTo>
                      <a:lnTo>
                        <a:pt x="90" y="9"/>
                      </a:lnTo>
                      <a:lnTo>
                        <a:pt x="85" y="18"/>
                      </a:lnTo>
                      <a:lnTo>
                        <a:pt x="63" y="14"/>
                      </a:lnTo>
                      <a:lnTo>
                        <a:pt x="45" y="0"/>
                      </a:lnTo>
                      <a:lnTo>
                        <a:pt x="32" y="5"/>
                      </a:lnTo>
                      <a:lnTo>
                        <a:pt x="27" y="0"/>
                      </a:lnTo>
                      <a:lnTo>
                        <a:pt x="5" y="0"/>
                      </a:lnTo>
                      <a:lnTo>
                        <a:pt x="0" y="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94" name="Freeform 28">
                  <a:extLst>
                    <a:ext uri="{FF2B5EF4-FFF2-40B4-BE49-F238E27FC236}">
                      <a16:creationId xmlns:a16="http://schemas.microsoft.com/office/drawing/2014/main" id="{B0B28733-D667-4246-9215-9D7DE13B5ED8}"/>
                    </a:ext>
                  </a:extLst>
                </p:cNvPr>
                <p:cNvSpPr>
                  <a:spLocks/>
                </p:cNvSpPr>
                <p:nvPr/>
              </p:nvSpPr>
              <p:spPr bwMode="gray">
                <a:xfrm>
                  <a:off x="3071" y="3217"/>
                  <a:ext cx="40" cy="31"/>
                </a:xfrm>
                <a:custGeom>
                  <a:avLst/>
                  <a:gdLst>
                    <a:gd name="T0" fmla="*/ 9 w 40"/>
                    <a:gd name="T1" fmla="*/ 27 h 31"/>
                    <a:gd name="T2" fmla="*/ 14 w 40"/>
                    <a:gd name="T3" fmla="*/ 31 h 31"/>
                    <a:gd name="T4" fmla="*/ 18 w 40"/>
                    <a:gd name="T5" fmla="*/ 27 h 31"/>
                    <a:gd name="T6" fmla="*/ 31 w 40"/>
                    <a:gd name="T7" fmla="*/ 23 h 31"/>
                    <a:gd name="T8" fmla="*/ 40 w 40"/>
                    <a:gd name="T9" fmla="*/ 14 h 31"/>
                    <a:gd name="T10" fmla="*/ 27 w 40"/>
                    <a:gd name="T11" fmla="*/ 0 h 31"/>
                    <a:gd name="T12" fmla="*/ 9 w 40"/>
                    <a:gd name="T13" fmla="*/ 5 h 31"/>
                    <a:gd name="T14" fmla="*/ 0 w 40"/>
                    <a:gd name="T15" fmla="*/ 14 h 31"/>
                    <a:gd name="T16" fmla="*/ 9 w 40"/>
                    <a:gd name="T17" fmla="*/ 2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31">
                      <a:moveTo>
                        <a:pt x="9" y="27"/>
                      </a:moveTo>
                      <a:lnTo>
                        <a:pt x="14" y="31"/>
                      </a:lnTo>
                      <a:lnTo>
                        <a:pt x="18" y="27"/>
                      </a:lnTo>
                      <a:lnTo>
                        <a:pt x="31" y="23"/>
                      </a:lnTo>
                      <a:lnTo>
                        <a:pt x="40" y="14"/>
                      </a:lnTo>
                      <a:lnTo>
                        <a:pt x="27" y="0"/>
                      </a:lnTo>
                      <a:lnTo>
                        <a:pt x="9" y="5"/>
                      </a:lnTo>
                      <a:lnTo>
                        <a:pt x="0" y="14"/>
                      </a:lnTo>
                      <a:lnTo>
                        <a:pt x="9" y="27"/>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95" name="Freeform 29">
                  <a:extLst>
                    <a:ext uri="{FF2B5EF4-FFF2-40B4-BE49-F238E27FC236}">
                      <a16:creationId xmlns:a16="http://schemas.microsoft.com/office/drawing/2014/main" id="{336E21CD-AA3D-43CC-BB95-67E1C11353C1}"/>
                    </a:ext>
                  </a:extLst>
                </p:cNvPr>
                <p:cNvSpPr>
                  <a:spLocks/>
                </p:cNvSpPr>
                <p:nvPr/>
              </p:nvSpPr>
              <p:spPr bwMode="gray">
                <a:xfrm>
                  <a:off x="2517" y="2659"/>
                  <a:ext cx="63" cy="58"/>
                </a:xfrm>
                <a:custGeom>
                  <a:avLst/>
                  <a:gdLst>
                    <a:gd name="T0" fmla="*/ 0 w 63"/>
                    <a:gd name="T1" fmla="*/ 22 h 58"/>
                    <a:gd name="T2" fmla="*/ 9 w 63"/>
                    <a:gd name="T3" fmla="*/ 26 h 58"/>
                    <a:gd name="T4" fmla="*/ 49 w 63"/>
                    <a:gd name="T5" fmla="*/ 58 h 58"/>
                    <a:gd name="T6" fmla="*/ 58 w 63"/>
                    <a:gd name="T7" fmla="*/ 58 h 58"/>
                    <a:gd name="T8" fmla="*/ 63 w 63"/>
                    <a:gd name="T9" fmla="*/ 35 h 58"/>
                    <a:gd name="T10" fmla="*/ 45 w 63"/>
                    <a:gd name="T11" fmla="*/ 22 h 58"/>
                    <a:gd name="T12" fmla="*/ 45 w 63"/>
                    <a:gd name="T13" fmla="*/ 9 h 58"/>
                    <a:gd name="T14" fmla="*/ 40 w 63"/>
                    <a:gd name="T15" fmla="*/ 13 h 58"/>
                    <a:gd name="T16" fmla="*/ 32 w 63"/>
                    <a:gd name="T17" fmla="*/ 13 h 58"/>
                    <a:gd name="T18" fmla="*/ 32 w 63"/>
                    <a:gd name="T19" fmla="*/ 0 h 58"/>
                    <a:gd name="T20" fmla="*/ 18 w 63"/>
                    <a:gd name="T21" fmla="*/ 0 h 58"/>
                    <a:gd name="T22" fmla="*/ 18 w 63"/>
                    <a:gd name="T23" fmla="*/ 9 h 58"/>
                    <a:gd name="T24" fmla="*/ 14 w 63"/>
                    <a:gd name="T25" fmla="*/ 9 h 58"/>
                    <a:gd name="T26" fmla="*/ 14 w 63"/>
                    <a:gd name="T27" fmla="*/ 13 h 58"/>
                    <a:gd name="T28" fmla="*/ 5 w 63"/>
                    <a:gd name="T29" fmla="*/ 17 h 58"/>
                    <a:gd name="T30" fmla="*/ 0 w 63"/>
                    <a:gd name="T31"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58">
                      <a:moveTo>
                        <a:pt x="0" y="22"/>
                      </a:moveTo>
                      <a:lnTo>
                        <a:pt x="9" y="26"/>
                      </a:lnTo>
                      <a:lnTo>
                        <a:pt x="49" y="58"/>
                      </a:lnTo>
                      <a:lnTo>
                        <a:pt x="58" y="58"/>
                      </a:lnTo>
                      <a:lnTo>
                        <a:pt x="63" y="35"/>
                      </a:lnTo>
                      <a:lnTo>
                        <a:pt x="45" y="22"/>
                      </a:lnTo>
                      <a:lnTo>
                        <a:pt x="45" y="9"/>
                      </a:lnTo>
                      <a:lnTo>
                        <a:pt x="40" y="13"/>
                      </a:lnTo>
                      <a:lnTo>
                        <a:pt x="32" y="13"/>
                      </a:lnTo>
                      <a:lnTo>
                        <a:pt x="32" y="0"/>
                      </a:lnTo>
                      <a:lnTo>
                        <a:pt x="18" y="0"/>
                      </a:lnTo>
                      <a:lnTo>
                        <a:pt x="18" y="9"/>
                      </a:lnTo>
                      <a:lnTo>
                        <a:pt x="14" y="9"/>
                      </a:lnTo>
                      <a:lnTo>
                        <a:pt x="14" y="13"/>
                      </a:lnTo>
                      <a:lnTo>
                        <a:pt x="5" y="17"/>
                      </a:lnTo>
                      <a:lnTo>
                        <a:pt x="0" y="2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96" name="Freeform 30">
                  <a:extLst>
                    <a:ext uri="{FF2B5EF4-FFF2-40B4-BE49-F238E27FC236}">
                      <a16:creationId xmlns:a16="http://schemas.microsoft.com/office/drawing/2014/main" id="{A9BFD8DE-CAC4-4FE7-B27E-CC3A8703F077}"/>
                    </a:ext>
                  </a:extLst>
                </p:cNvPr>
                <p:cNvSpPr>
                  <a:spLocks/>
                </p:cNvSpPr>
                <p:nvPr/>
              </p:nvSpPr>
              <p:spPr bwMode="gray">
                <a:xfrm>
                  <a:off x="2812" y="2265"/>
                  <a:ext cx="232" cy="228"/>
                </a:xfrm>
                <a:custGeom>
                  <a:avLst/>
                  <a:gdLst>
                    <a:gd name="T0" fmla="*/ 40 w 232"/>
                    <a:gd name="T1" fmla="*/ 0 h 228"/>
                    <a:gd name="T2" fmla="*/ 36 w 232"/>
                    <a:gd name="T3" fmla="*/ 5 h 228"/>
                    <a:gd name="T4" fmla="*/ 36 w 232"/>
                    <a:gd name="T5" fmla="*/ 14 h 228"/>
                    <a:gd name="T6" fmla="*/ 27 w 232"/>
                    <a:gd name="T7" fmla="*/ 23 h 228"/>
                    <a:gd name="T8" fmla="*/ 18 w 232"/>
                    <a:gd name="T9" fmla="*/ 27 h 228"/>
                    <a:gd name="T10" fmla="*/ 18 w 232"/>
                    <a:gd name="T11" fmla="*/ 50 h 228"/>
                    <a:gd name="T12" fmla="*/ 5 w 232"/>
                    <a:gd name="T13" fmla="*/ 54 h 228"/>
                    <a:gd name="T14" fmla="*/ 0 w 232"/>
                    <a:gd name="T15" fmla="*/ 58 h 228"/>
                    <a:gd name="T16" fmla="*/ 5 w 232"/>
                    <a:gd name="T17" fmla="*/ 67 h 228"/>
                    <a:gd name="T18" fmla="*/ 5 w 232"/>
                    <a:gd name="T19" fmla="*/ 85 h 228"/>
                    <a:gd name="T20" fmla="*/ 9 w 232"/>
                    <a:gd name="T21" fmla="*/ 99 h 228"/>
                    <a:gd name="T22" fmla="*/ 5 w 232"/>
                    <a:gd name="T23" fmla="*/ 112 h 228"/>
                    <a:gd name="T24" fmla="*/ 0 w 232"/>
                    <a:gd name="T25" fmla="*/ 121 h 228"/>
                    <a:gd name="T26" fmla="*/ 13 w 232"/>
                    <a:gd name="T27" fmla="*/ 139 h 228"/>
                    <a:gd name="T28" fmla="*/ 9 w 232"/>
                    <a:gd name="T29" fmla="*/ 143 h 228"/>
                    <a:gd name="T30" fmla="*/ 18 w 232"/>
                    <a:gd name="T31" fmla="*/ 148 h 228"/>
                    <a:gd name="T32" fmla="*/ 27 w 232"/>
                    <a:gd name="T33" fmla="*/ 148 h 228"/>
                    <a:gd name="T34" fmla="*/ 45 w 232"/>
                    <a:gd name="T35" fmla="*/ 161 h 228"/>
                    <a:gd name="T36" fmla="*/ 45 w 232"/>
                    <a:gd name="T37" fmla="*/ 166 h 228"/>
                    <a:gd name="T38" fmla="*/ 67 w 232"/>
                    <a:gd name="T39" fmla="*/ 166 h 228"/>
                    <a:gd name="T40" fmla="*/ 72 w 232"/>
                    <a:gd name="T41" fmla="*/ 179 h 228"/>
                    <a:gd name="T42" fmla="*/ 85 w 232"/>
                    <a:gd name="T43" fmla="*/ 170 h 228"/>
                    <a:gd name="T44" fmla="*/ 98 w 232"/>
                    <a:gd name="T45" fmla="*/ 161 h 228"/>
                    <a:gd name="T46" fmla="*/ 210 w 232"/>
                    <a:gd name="T47" fmla="*/ 228 h 228"/>
                    <a:gd name="T48" fmla="*/ 210 w 232"/>
                    <a:gd name="T49" fmla="*/ 219 h 228"/>
                    <a:gd name="T50" fmla="*/ 232 w 232"/>
                    <a:gd name="T51" fmla="*/ 219 h 228"/>
                    <a:gd name="T52" fmla="*/ 228 w 232"/>
                    <a:gd name="T53" fmla="*/ 193 h 228"/>
                    <a:gd name="T54" fmla="*/ 228 w 232"/>
                    <a:gd name="T55" fmla="*/ 67 h 228"/>
                    <a:gd name="T56" fmla="*/ 223 w 232"/>
                    <a:gd name="T57" fmla="*/ 58 h 228"/>
                    <a:gd name="T58" fmla="*/ 228 w 232"/>
                    <a:gd name="T59" fmla="*/ 50 h 228"/>
                    <a:gd name="T60" fmla="*/ 223 w 232"/>
                    <a:gd name="T61" fmla="*/ 41 h 228"/>
                    <a:gd name="T62" fmla="*/ 232 w 232"/>
                    <a:gd name="T63" fmla="*/ 27 h 228"/>
                    <a:gd name="T64" fmla="*/ 228 w 232"/>
                    <a:gd name="T65" fmla="*/ 23 h 228"/>
                    <a:gd name="T66" fmla="*/ 197 w 232"/>
                    <a:gd name="T67" fmla="*/ 18 h 228"/>
                    <a:gd name="T68" fmla="*/ 197 w 232"/>
                    <a:gd name="T69" fmla="*/ 9 h 228"/>
                    <a:gd name="T70" fmla="*/ 183 w 232"/>
                    <a:gd name="T71" fmla="*/ 5 h 228"/>
                    <a:gd name="T72" fmla="*/ 174 w 232"/>
                    <a:gd name="T73" fmla="*/ 5 h 228"/>
                    <a:gd name="T74" fmla="*/ 152 w 232"/>
                    <a:gd name="T75" fmla="*/ 18 h 228"/>
                    <a:gd name="T76" fmla="*/ 156 w 232"/>
                    <a:gd name="T77" fmla="*/ 41 h 228"/>
                    <a:gd name="T78" fmla="*/ 147 w 232"/>
                    <a:gd name="T79" fmla="*/ 50 h 228"/>
                    <a:gd name="T80" fmla="*/ 125 w 232"/>
                    <a:gd name="T81" fmla="*/ 41 h 228"/>
                    <a:gd name="T82" fmla="*/ 98 w 232"/>
                    <a:gd name="T83" fmla="*/ 36 h 228"/>
                    <a:gd name="T84" fmla="*/ 94 w 232"/>
                    <a:gd name="T85" fmla="*/ 32 h 228"/>
                    <a:gd name="T86" fmla="*/ 85 w 232"/>
                    <a:gd name="T87" fmla="*/ 14 h 228"/>
                    <a:gd name="T88" fmla="*/ 72 w 232"/>
                    <a:gd name="T89" fmla="*/ 5 h 228"/>
                    <a:gd name="T90" fmla="*/ 49 w 232"/>
                    <a:gd name="T91" fmla="*/ 5 h 228"/>
                    <a:gd name="T92" fmla="*/ 40 w 232"/>
                    <a:gd name="T93"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2" h="228">
                      <a:moveTo>
                        <a:pt x="40" y="0"/>
                      </a:moveTo>
                      <a:lnTo>
                        <a:pt x="36" y="5"/>
                      </a:lnTo>
                      <a:lnTo>
                        <a:pt x="36" y="14"/>
                      </a:lnTo>
                      <a:lnTo>
                        <a:pt x="27" y="23"/>
                      </a:lnTo>
                      <a:lnTo>
                        <a:pt x="18" y="27"/>
                      </a:lnTo>
                      <a:lnTo>
                        <a:pt x="18" y="50"/>
                      </a:lnTo>
                      <a:lnTo>
                        <a:pt x="5" y="54"/>
                      </a:lnTo>
                      <a:lnTo>
                        <a:pt x="0" y="58"/>
                      </a:lnTo>
                      <a:lnTo>
                        <a:pt x="5" y="67"/>
                      </a:lnTo>
                      <a:lnTo>
                        <a:pt x="5" y="85"/>
                      </a:lnTo>
                      <a:lnTo>
                        <a:pt x="9" y="99"/>
                      </a:lnTo>
                      <a:lnTo>
                        <a:pt x="5" y="112"/>
                      </a:lnTo>
                      <a:lnTo>
                        <a:pt x="0" y="121"/>
                      </a:lnTo>
                      <a:lnTo>
                        <a:pt x="13" y="139"/>
                      </a:lnTo>
                      <a:lnTo>
                        <a:pt x="9" y="143"/>
                      </a:lnTo>
                      <a:lnTo>
                        <a:pt x="18" y="148"/>
                      </a:lnTo>
                      <a:lnTo>
                        <a:pt x="27" y="148"/>
                      </a:lnTo>
                      <a:lnTo>
                        <a:pt x="45" y="161"/>
                      </a:lnTo>
                      <a:lnTo>
                        <a:pt x="45" y="166"/>
                      </a:lnTo>
                      <a:lnTo>
                        <a:pt x="67" y="166"/>
                      </a:lnTo>
                      <a:lnTo>
                        <a:pt x="72" y="179"/>
                      </a:lnTo>
                      <a:lnTo>
                        <a:pt x="85" y="170"/>
                      </a:lnTo>
                      <a:lnTo>
                        <a:pt x="98" y="161"/>
                      </a:lnTo>
                      <a:lnTo>
                        <a:pt x="210" y="228"/>
                      </a:lnTo>
                      <a:lnTo>
                        <a:pt x="210" y="219"/>
                      </a:lnTo>
                      <a:lnTo>
                        <a:pt x="232" y="219"/>
                      </a:lnTo>
                      <a:lnTo>
                        <a:pt x="228" y="193"/>
                      </a:lnTo>
                      <a:lnTo>
                        <a:pt x="228" y="67"/>
                      </a:lnTo>
                      <a:lnTo>
                        <a:pt x="223" y="58"/>
                      </a:lnTo>
                      <a:lnTo>
                        <a:pt x="228" y="50"/>
                      </a:lnTo>
                      <a:lnTo>
                        <a:pt x="223" y="41"/>
                      </a:lnTo>
                      <a:lnTo>
                        <a:pt x="232" y="27"/>
                      </a:lnTo>
                      <a:lnTo>
                        <a:pt x="228" y="23"/>
                      </a:lnTo>
                      <a:lnTo>
                        <a:pt x="197" y="18"/>
                      </a:lnTo>
                      <a:lnTo>
                        <a:pt x="197" y="9"/>
                      </a:lnTo>
                      <a:lnTo>
                        <a:pt x="183" y="5"/>
                      </a:lnTo>
                      <a:lnTo>
                        <a:pt x="174" y="5"/>
                      </a:lnTo>
                      <a:lnTo>
                        <a:pt x="152" y="18"/>
                      </a:lnTo>
                      <a:lnTo>
                        <a:pt x="156" y="41"/>
                      </a:lnTo>
                      <a:lnTo>
                        <a:pt x="147" y="50"/>
                      </a:lnTo>
                      <a:lnTo>
                        <a:pt x="125" y="41"/>
                      </a:lnTo>
                      <a:lnTo>
                        <a:pt x="98" y="36"/>
                      </a:lnTo>
                      <a:lnTo>
                        <a:pt x="94" y="32"/>
                      </a:lnTo>
                      <a:lnTo>
                        <a:pt x="85" y="14"/>
                      </a:lnTo>
                      <a:lnTo>
                        <a:pt x="72" y="5"/>
                      </a:lnTo>
                      <a:lnTo>
                        <a:pt x="49" y="5"/>
                      </a:lnTo>
                      <a:lnTo>
                        <a:pt x="40"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97" name="Freeform 31">
                  <a:extLst>
                    <a:ext uri="{FF2B5EF4-FFF2-40B4-BE49-F238E27FC236}">
                      <a16:creationId xmlns:a16="http://schemas.microsoft.com/office/drawing/2014/main" id="{DCD875C7-C3D9-4AD5-AF45-A32ECB79FB40}"/>
                    </a:ext>
                  </a:extLst>
                </p:cNvPr>
                <p:cNvSpPr>
                  <a:spLocks/>
                </p:cNvSpPr>
                <p:nvPr/>
              </p:nvSpPr>
              <p:spPr bwMode="gray">
                <a:xfrm>
                  <a:off x="3303" y="2954"/>
                  <a:ext cx="108" cy="219"/>
                </a:xfrm>
                <a:custGeom>
                  <a:avLst/>
                  <a:gdLst>
                    <a:gd name="T0" fmla="*/ 27 w 108"/>
                    <a:gd name="T1" fmla="*/ 219 h 219"/>
                    <a:gd name="T2" fmla="*/ 41 w 108"/>
                    <a:gd name="T3" fmla="*/ 210 h 219"/>
                    <a:gd name="T4" fmla="*/ 58 w 108"/>
                    <a:gd name="T5" fmla="*/ 205 h 219"/>
                    <a:gd name="T6" fmla="*/ 72 w 108"/>
                    <a:gd name="T7" fmla="*/ 174 h 219"/>
                    <a:gd name="T8" fmla="*/ 76 w 108"/>
                    <a:gd name="T9" fmla="*/ 151 h 219"/>
                    <a:gd name="T10" fmla="*/ 94 w 108"/>
                    <a:gd name="T11" fmla="*/ 93 h 219"/>
                    <a:gd name="T12" fmla="*/ 94 w 108"/>
                    <a:gd name="T13" fmla="*/ 80 h 219"/>
                    <a:gd name="T14" fmla="*/ 99 w 108"/>
                    <a:gd name="T15" fmla="*/ 71 h 219"/>
                    <a:gd name="T16" fmla="*/ 94 w 108"/>
                    <a:gd name="T17" fmla="*/ 58 h 219"/>
                    <a:gd name="T18" fmla="*/ 103 w 108"/>
                    <a:gd name="T19" fmla="*/ 67 h 219"/>
                    <a:gd name="T20" fmla="*/ 108 w 108"/>
                    <a:gd name="T21" fmla="*/ 53 h 219"/>
                    <a:gd name="T22" fmla="*/ 103 w 108"/>
                    <a:gd name="T23" fmla="*/ 35 h 219"/>
                    <a:gd name="T24" fmla="*/ 103 w 108"/>
                    <a:gd name="T25" fmla="*/ 26 h 219"/>
                    <a:gd name="T26" fmla="*/ 90 w 108"/>
                    <a:gd name="T27" fmla="*/ 0 h 219"/>
                    <a:gd name="T28" fmla="*/ 81 w 108"/>
                    <a:gd name="T29" fmla="*/ 8 h 219"/>
                    <a:gd name="T30" fmla="*/ 85 w 108"/>
                    <a:gd name="T31" fmla="*/ 17 h 219"/>
                    <a:gd name="T32" fmla="*/ 76 w 108"/>
                    <a:gd name="T33" fmla="*/ 22 h 219"/>
                    <a:gd name="T34" fmla="*/ 67 w 108"/>
                    <a:gd name="T35" fmla="*/ 22 h 219"/>
                    <a:gd name="T36" fmla="*/ 72 w 108"/>
                    <a:gd name="T37" fmla="*/ 35 h 219"/>
                    <a:gd name="T38" fmla="*/ 54 w 108"/>
                    <a:gd name="T39" fmla="*/ 53 h 219"/>
                    <a:gd name="T40" fmla="*/ 27 w 108"/>
                    <a:gd name="T41" fmla="*/ 67 h 219"/>
                    <a:gd name="T42" fmla="*/ 18 w 108"/>
                    <a:gd name="T43" fmla="*/ 67 h 219"/>
                    <a:gd name="T44" fmla="*/ 18 w 108"/>
                    <a:gd name="T45" fmla="*/ 76 h 219"/>
                    <a:gd name="T46" fmla="*/ 9 w 108"/>
                    <a:gd name="T47" fmla="*/ 84 h 219"/>
                    <a:gd name="T48" fmla="*/ 18 w 108"/>
                    <a:gd name="T49" fmla="*/ 120 h 219"/>
                    <a:gd name="T50" fmla="*/ 9 w 108"/>
                    <a:gd name="T51" fmla="*/ 143 h 219"/>
                    <a:gd name="T52" fmla="*/ 5 w 108"/>
                    <a:gd name="T53" fmla="*/ 147 h 219"/>
                    <a:gd name="T54" fmla="*/ 5 w 108"/>
                    <a:gd name="T55" fmla="*/ 156 h 219"/>
                    <a:gd name="T56" fmla="*/ 0 w 108"/>
                    <a:gd name="T57" fmla="*/ 165 h 219"/>
                    <a:gd name="T58" fmla="*/ 9 w 108"/>
                    <a:gd name="T59" fmla="*/ 183 h 219"/>
                    <a:gd name="T60" fmla="*/ 5 w 108"/>
                    <a:gd name="T61" fmla="*/ 187 h 219"/>
                    <a:gd name="T62" fmla="*/ 9 w 108"/>
                    <a:gd name="T63" fmla="*/ 201 h 219"/>
                    <a:gd name="T64" fmla="*/ 27 w 108"/>
                    <a:gd name="T65" fmla="*/ 21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8" h="219">
                      <a:moveTo>
                        <a:pt x="27" y="219"/>
                      </a:moveTo>
                      <a:lnTo>
                        <a:pt x="41" y="210"/>
                      </a:lnTo>
                      <a:lnTo>
                        <a:pt x="58" y="205"/>
                      </a:lnTo>
                      <a:lnTo>
                        <a:pt x="72" y="174"/>
                      </a:lnTo>
                      <a:lnTo>
                        <a:pt x="76" y="151"/>
                      </a:lnTo>
                      <a:lnTo>
                        <a:pt x="94" y="93"/>
                      </a:lnTo>
                      <a:lnTo>
                        <a:pt x="94" y="80"/>
                      </a:lnTo>
                      <a:lnTo>
                        <a:pt x="99" y="71"/>
                      </a:lnTo>
                      <a:lnTo>
                        <a:pt x="94" y="58"/>
                      </a:lnTo>
                      <a:lnTo>
                        <a:pt x="103" y="67"/>
                      </a:lnTo>
                      <a:lnTo>
                        <a:pt x="108" y="53"/>
                      </a:lnTo>
                      <a:lnTo>
                        <a:pt x="103" y="35"/>
                      </a:lnTo>
                      <a:lnTo>
                        <a:pt x="103" y="26"/>
                      </a:lnTo>
                      <a:lnTo>
                        <a:pt x="90" y="0"/>
                      </a:lnTo>
                      <a:lnTo>
                        <a:pt x="81" y="8"/>
                      </a:lnTo>
                      <a:lnTo>
                        <a:pt x="85" y="17"/>
                      </a:lnTo>
                      <a:lnTo>
                        <a:pt x="76" y="22"/>
                      </a:lnTo>
                      <a:lnTo>
                        <a:pt x="67" y="22"/>
                      </a:lnTo>
                      <a:lnTo>
                        <a:pt x="72" y="35"/>
                      </a:lnTo>
                      <a:lnTo>
                        <a:pt x="54" y="53"/>
                      </a:lnTo>
                      <a:lnTo>
                        <a:pt x="27" y="67"/>
                      </a:lnTo>
                      <a:lnTo>
                        <a:pt x="18" y="67"/>
                      </a:lnTo>
                      <a:lnTo>
                        <a:pt x="18" y="76"/>
                      </a:lnTo>
                      <a:lnTo>
                        <a:pt x="9" y="84"/>
                      </a:lnTo>
                      <a:lnTo>
                        <a:pt x="18" y="120"/>
                      </a:lnTo>
                      <a:lnTo>
                        <a:pt x="9" y="143"/>
                      </a:lnTo>
                      <a:lnTo>
                        <a:pt x="5" y="147"/>
                      </a:lnTo>
                      <a:lnTo>
                        <a:pt x="5" y="156"/>
                      </a:lnTo>
                      <a:lnTo>
                        <a:pt x="0" y="165"/>
                      </a:lnTo>
                      <a:lnTo>
                        <a:pt x="9" y="183"/>
                      </a:lnTo>
                      <a:lnTo>
                        <a:pt x="5" y="187"/>
                      </a:lnTo>
                      <a:lnTo>
                        <a:pt x="9" y="201"/>
                      </a:lnTo>
                      <a:lnTo>
                        <a:pt x="27" y="21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98" name="Freeform 32">
                  <a:extLst>
                    <a:ext uri="{FF2B5EF4-FFF2-40B4-BE49-F238E27FC236}">
                      <a16:creationId xmlns:a16="http://schemas.microsoft.com/office/drawing/2014/main" id="{09776E0E-6D4E-4503-9354-3E12F512AFAC}"/>
                    </a:ext>
                  </a:extLst>
                </p:cNvPr>
                <p:cNvSpPr>
                  <a:spLocks/>
                </p:cNvSpPr>
                <p:nvPr/>
              </p:nvSpPr>
              <p:spPr bwMode="gray">
                <a:xfrm>
                  <a:off x="3152" y="2913"/>
                  <a:ext cx="44" cy="121"/>
                </a:xfrm>
                <a:custGeom>
                  <a:avLst/>
                  <a:gdLst>
                    <a:gd name="T0" fmla="*/ 4 w 44"/>
                    <a:gd name="T1" fmla="*/ 5 h 121"/>
                    <a:gd name="T2" fmla="*/ 13 w 44"/>
                    <a:gd name="T3" fmla="*/ 18 h 121"/>
                    <a:gd name="T4" fmla="*/ 13 w 44"/>
                    <a:gd name="T5" fmla="*/ 27 h 121"/>
                    <a:gd name="T6" fmla="*/ 8 w 44"/>
                    <a:gd name="T7" fmla="*/ 27 h 121"/>
                    <a:gd name="T8" fmla="*/ 8 w 44"/>
                    <a:gd name="T9" fmla="*/ 49 h 121"/>
                    <a:gd name="T10" fmla="*/ 4 w 44"/>
                    <a:gd name="T11" fmla="*/ 54 h 121"/>
                    <a:gd name="T12" fmla="*/ 0 w 44"/>
                    <a:gd name="T13" fmla="*/ 67 h 121"/>
                    <a:gd name="T14" fmla="*/ 4 w 44"/>
                    <a:gd name="T15" fmla="*/ 72 h 121"/>
                    <a:gd name="T16" fmla="*/ 13 w 44"/>
                    <a:gd name="T17" fmla="*/ 81 h 121"/>
                    <a:gd name="T18" fmla="*/ 22 w 44"/>
                    <a:gd name="T19" fmla="*/ 81 h 121"/>
                    <a:gd name="T20" fmla="*/ 26 w 44"/>
                    <a:gd name="T21" fmla="*/ 90 h 121"/>
                    <a:gd name="T22" fmla="*/ 22 w 44"/>
                    <a:gd name="T23" fmla="*/ 103 h 121"/>
                    <a:gd name="T24" fmla="*/ 31 w 44"/>
                    <a:gd name="T25" fmla="*/ 121 h 121"/>
                    <a:gd name="T26" fmla="*/ 40 w 44"/>
                    <a:gd name="T27" fmla="*/ 117 h 121"/>
                    <a:gd name="T28" fmla="*/ 35 w 44"/>
                    <a:gd name="T29" fmla="*/ 108 h 121"/>
                    <a:gd name="T30" fmla="*/ 44 w 44"/>
                    <a:gd name="T31" fmla="*/ 103 h 121"/>
                    <a:gd name="T32" fmla="*/ 44 w 44"/>
                    <a:gd name="T33" fmla="*/ 76 h 121"/>
                    <a:gd name="T34" fmla="*/ 35 w 44"/>
                    <a:gd name="T35" fmla="*/ 63 h 121"/>
                    <a:gd name="T36" fmla="*/ 26 w 44"/>
                    <a:gd name="T37" fmla="*/ 58 h 121"/>
                    <a:gd name="T38" fmla="*/ 31 w 44"/>
                    <a:gd name="T39" fmla="*/ 67 h 121"/>
                    <a:gd name="T40" fmla="*/ 31 w 44"/>
                    <a:gd name="T41" fmla="*/ 67 h 121"/>
                    <a:gd name="T42" fmla="*/ 35 w 44"/>
                    <a:gd name="T43" fmla="*/ 81 h 121"/>
                    <a:gd name="T44" fmla="*/ 31 w 44"/>
                    <a:gd name="T45" fmla="*/ 85 h 121"/>
                    <a:gd name="T46" fmla="*/ 31 w 44"/>
                    <a:gd name="T47" fmla="*/ 76 h 121"/>
                    <a:gd name="T48" fmla="*/ 22 w 44"/>
                    <a:gd name="T49" fmla="*/ 72 h 121"/>
                    <a:gd name="T50" fmla="*/ 22 w 44"/>
                    <a:gd name="T51" fmla="*/ 54 h 121"/>
                    <a:gd name="T52" fmla="*/ 13 w 44"/>
                    <a:gd name="T53" fmla="*/ 45 h 121"/>
                    <a:gd name="T54" fmla="*/ 17 w 44"/>
                    <a:gd name="T55" fmla="*/ 41 h 121"/>
                    <a:gd name="T56" fmla="*/ 17 w 44"/>
                    <a:gd name="T57" fmla="*/ 18 h 121"/>
                    <a:gd name="T58" fmla="*/ 17 w 44"/>
                    <a:gd name="T59" fmla="*/ 18 h 121"/>
                    <a:gd name="T60" fmla="*/ 17 w 44"/>
                    <a:gd name="T61" fmla="*/ 9 h 121"/>
                    <a:gd name="T62" fmla="*/ 8 w 44"/>
                    <a:gd name="T63" fmla="*/ 0 h 121"/>
                    <a:gd name="T64" fmla="*/ 4 w 44"/>
                    <a:gd name="T65" fmla="*/ 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 h="121">
                      <a:moveTo>
                        <a:pt x="4" y="5"/>
                      </a:moveTo>
                      <a:lnTo>
                        <a:pt x="13" y="18"/>
                      </a:lnTo>
                      <a:lnTo>
                        <a:pt x="13" y="27"/>
                      </a:lnTo>
                      <a:lnTo>
                        <a:pt x="8" y="27"/>
                      </a:lnTo>
                      <a:lnTo>
                        <a:pt x="8" y="49"/>
                      </a:lnTo>
                      <a:lnTo>
                        <a:pt x="4" y="54"/>
                      </a:lnTo>
                      <a:lnTo>
                        <a:pt x="0" y="67"/>
                      </a:lnTo>
                      <a:lnTo>
                        <a:pt x="4" y="72"/>
                      </a:lnTo>
                      <a:lnTo>
                        <a:pt x="13" y="81"/>
                      </a:lnTo>
                      <a:lnTo>
                        <a:pt x="22" y="81"/>
                      </a:lnTo>
                      <a:lnTo>
                        <a:pt x="26" y="90"/>
                      </a:lnTo>
                      <a:lnTo>
                        <a:pt x="22" y="103"/>
                      </a:lnTo>
                      <a:lnTo>
                        <a:pt x="31" y="121"/>
                      </a:lnTo>
                      <a:lnTo>
                        <a:pt x="40" y="117"/>
                      </a:lnTo>
                      <a:lnTo>
                        <a:pt x="35" y="108"/>
                      </a:lnTo>
                      <a:lnTo>
                        <a:pt x="44" y="103"/>
                      </a:lnTo>
                      <a:lnTo>
                        <a:pt x="44" y="76"/>
                      </a:lnTo>
                      <a:lnTo>
                        <a:pt x="35" y="63"/>
                      </a:lnTo>
                      <a:lnTo>
                        <a:pt x="26" y="58"/>
                      </a:lnTo>
                      <a:lnTo>
                        <a:pt x="31" y="67"/>
                      </a:lnTo>
                      <a:lnTo>
                        <a:pt x="31" y="67"/>
                      </a:lnTo>
                      <a:lnTo>
                        <a:pt x="35" y="81"/>
                      </a:lnTo>
                      <a:lnTo>
                        <a:pt x="31" y="85"/>
                      </a:lnTo>
                      <a:lnTo>
                        <a:pt x="31" y="76"/>
                      </a:lnTo>
                      <a:lnTo>
                        <a:pt x="22" y="72"/>
                      </a:lnTo>
                      <a:lnTo>
                        <a:pt x="22" y="54"/>
                      </a:lnTo>
                      <a:lnTo>
                        <a:pt x="13" y="45"/>
                      </a:lnTo>
                      <a:lnTo>
                        <a:pt x="17" y="41"/>
                      </a:lnTo>
                      <a:lnTo>
                        <a:pt x="17" y="18"/>
                      </a:lnTo>
                      <a:lnTo>
                        <a:pt x="17" y="18"/>
                      </a:lnTo>
                      <a:lnTo>
                        <a:pt x="17" y="9"/>
                      </a:lnTo>
                      <a:lnTo>
                        <a:pt x="8" y="0"/>
                      </a:lnTo>
                      <a:lnTo>
                        <a:pt x="4" y="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99" name="Freeform 33">
                  <a:extLst>
                    <a:ext uri="{FF2B5EF4-FFF2-40B4-BE49-F238E27FC236}">
                      <a16:creationId xmlns:a16="http://schemas.microsoft.com/office/drawing/2014/main" id="{53268E02-F0F7-43D1-A6CA-28C2B28B5674}"/>
                    </a:ext>
                  </a:extLst>
                </p:cNvPr>
                <p:cNvSpPr>
                  <a:spLocks/>
                </p:cNvSpPr>
                <p:nvPr/>
              </p:nvSpPr>
              <p:spPr bwMode="gray">
                <a:xfrm>
                  <a:off x="2508" y="2408"/>
                  <a:ext cx="237" cy="224"/>
                </a:xfrm>
                <a:custGeom>
                  <a:avLst/>
                  <a:gdLst>
                    <a:gd name="T0" fmla="*/ 5 w 237"/>
                    <a:gd name="T1" fmla="*/ 152 h 224"/>
                    <a:gd name="T2" fmla="*/ 0 w 237"/>
                    <a:gd name="T3" fmla="*/ 161 h 224"/>
                    <a:gd name="T4" fmla="*/ 5 w 237"/>
                    <a:gd name="T5" fmla="*/ 175 h 224"/>
                    <a:gd name="T6" fmla="*/ 14 w 237"/>
                    <a:gd name="T7" fmla="*/ 184 h 224"/>
                    <a:gd name="T8" fmla="*/ 18 w 237"/>
                    <a:gd name="T9" fmla="*/ 197 h 224"/>
                    <a:gd name="T10" fmla="*/ 27 w 237"/>
                    <a:gd name="T11" fmla="*/ 197 h 224"/>
                    <a:gd name="T12" fmla="*/ 45 w 237"/>
                    <a:gd name="T13" fmla="*/ 188 h 224"/>
                    <a:gd name="T14" fmla="*/ 49 w 237"/>
                    <a:gd name="T15" fmla="*/ 201 h 224"/>
                    <a:gd name="T16" fmla="*/ 54 w 237"/>
                    <a:gd name="T17" fmla="*/ 206 h 224"/>
                    <a:gd name="T18" fmla="*/ 54 w 237"/>
                    <a:gd name="T19" fmla="*/ 215 h 224"/>
                    <a:gd name="T20" fmla="*/ 63 w 237"/>
                    <a:gd name="T21" fmla="*/ 219 h 224"/>
                    <a:gd name="T22" fmla="*/ 67 w 237"/>
                    <a:gd name="T23" fmla="*/ 224 h 224"/>
                    <a:gd name="T24" fmla="*/ 85 w 237"/>
                    <a:gd name="T25" fmla="*/ 219 h 224"/>
                    <a:gd name="T26" fmla="*/ 90 w 237"/>
                    <a:gd name="T27" fmla="*/ 224 h 224"/>
                    <a:gd name="T28" fmla="*/ 94 w 237"/>
                    <a:gd name="T29" fmla="*/ 219 h 224"/>
                    <a:gd name="T30" fmla="*/ 103 w 237"/>
                    <a:gd name="T31" fmla="*/ 193 h 224"/>
                    <a:gd name="T32" fmla="*/ 112 w 237"/>
                    <a:gd name="T33" fmla="*/ 188 h 224"/>
                    <a:gd name="T34" fmla="*/ 116 w 237"/>
                    <a:gd name="T35" fmla="*/ 170 h 224"/>
                    <a:gd name="T36" fmla="*/ 125 w 237"/>
                    <a:gd name="T37" fmla="*/ 175 h 224"/>
                    <a:gd name="T38" fmla="*/ 161 w 237"/>
                    <a:gd name="T39" fmla="*/ 148 h 224"/>
                    <a:gd name="T40" fmla="*/ 179 w 237"/>
                    <a:gd name="T41" fmla="*/ 152 h 224"/>
                    <a:gd name="T42" fmla="*/ 188 w 237"/>
                    <a:gd name="T43" fmla="*/ 152 h 224"/>
                    <a:gd name="T44" fmla="*/ 192 w 237"/>
                    <a:gd name="T45" fmla="*/ 143 h 224"/>
                    <a:gd name="T46" fmla="*/ 201 w 237"/>
                    <a:gd name="T47" fmla="*/ 143 h 224"/>
                    <a:gd name="T48" fmla="*/ 228 w 237"/>
                    <a:gd name="T49" fmla="*/ 143 h 224"/>
                    <a:gd name="T50" fmla="*/ 237 w 237"/>
                    <a:gd name="T51" fmla="*/ 134 h 224"/>
                    <a:gd name="T52" fmla="*/ 237 w 237"/>
                    <a:gd name="T53" fmla="*/ 121 h 224"/>
                    <a:gd name="T54" fmla="*/ 237 w 237"/>
                    <a:gd name="T55" fmla="*/ 85 h 224"/>
                    <a:gd name="T56" fmla="*/ 224 w 237"/>
                    <a:gd name="T57" fmla="*/ 94 h 224"/>
                    <a:gd name="T58" fmla="*/ 219 w 237"/>
                    <a:gd name="T59" fmla="*/ 90 h 224"/>
                    <a:gd name="T60" fmla="*/ 224 w 237"/>
                    <a:gd name="T61" fmla="*/ 76 h 224"/>
                    <a:gd name="T62" fmla="*/ 210 w 237"/>
                    <a:gd name="T63" fmla="*/ 72 h 224"/>
                    <a:gd name="T64" fmla="*/ 206 w 237"/>
                    <a:gd name="T65" fmla="*/ 76 h 224"/>
                    <a:gd name="T66" fmla="*/ 201 w 237"/>
                    <a:gd name="T67" fmla="*/ 67 h 224"/>
                    <a:gd name="T68" fmla="*/ 188 w 237"/>
                    <a:gd name="T69" fmla="*/ 67 h 224"/>
                    <a:gd name="T70" fmla="*/ 188 w 237"/>
                    <a:gd name="T71" fmla="*/ 58 h 224"/>
                    <a:gd name="T72" fmla="*/ 103 w 237"/>
                    <a:gd name="T73" fmla="*/ 0 h 224"/>
                    <a:gd name="T74" fmla="*/ 85 w 237"/>
                    <a:gd name="T75" fmla="*/ 0 h 224"/>
                    <a:gd name="T76" fmla="*/ 94 w 237"/>
                    <a:gd name="T77" fmla="*/ 130 h 224"/>
                    <a:gd name="T78" fmla="*/ 99 w 237"/>
                    <a:gd name="T79" fmla="*/ 134 h 224"/>
                    <a:gd name="T80" fmla="*/ 99 w 237"/>
                    <a:gd name="T81" fmla="*/ 139 h 224"/>
                    <a:gd name="T82" fmla="*/ 45 w 237"/>
                    <a:gd name="T83" fmla="*/ 143 h 224"/>
                    <a:gd name="T84" fmla="*/ 41 w 237"/>
                    <a:gd name="T85" fmla="*/ 134 h 224"/>
                    <a:gd name="T86" fmla="*/ 32 w 237"/>
                    <a:gd name="T87" fmla="*/ 143 h 224"/>
                    <a:gd name="T88" fmla="*/ 23 w 237"/>
                    <a:gd name="T89" fmla="*/ 139 h 224"/>
                    <a:gd name="T90" fmla="*/ 18 w 237"/>
                    <a:gd name="T91" fmla="*/ 148 h 224"/>
                    <a:gd name="T92" fmla="*/ 14 w 237"/>
                    <a:gd name="T93" fmla="*/ 134 h 224"/>
                    <a:gd name="T94" fmla="*/ 9 w 237"/>
                    <a:gd name="T95" fmla="*/ 139 h 224"/>
                    <a:gd name="T96" fmla="*/ 14 w 237"/>
                    <a:gd name="T97" fmla="*/ 152 h 224"/>
                    <a:gd name="T98" fmla="*/ 5 w 237"/>
                    <a:gd name="T99" fmla="*/ 15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7" h="224">
                      <a:moveTo>
                        <a:pt x="5" y="152"/>
                      </a:moveTo>
                      <a:lnTo>
                        <a:pt x="0" y="161"/>
                      </a:lnTo>
                      <a:lnTo>
                        <a:pt x="5" y="175"/>
                      </a:lnTo>
                      <a:lnTo>
                        <a:pt x="14" y="184"/>
                      </a:lnTo>
                      <a:lnTo>
                        <a:pt x="18" y="197"/>
                      </a:lnTo>
                      <a:lnTo>
                        <a:pt x="27" y="197"/>
                      </a:lnTo>
                      <a:lnTo>
                        <a:pt x="45" y="188"/>
                      </a:lnTo>
                      <a:lnTo>
                        <a:pt x="49" y="201"/>
                      </a:lnTo>
                      <a:lnTo>
                        <a:pt x="54" y="206"/>
                      </a:lnTo>
                      <a:lnTo>
                        <a:pt x="54" y="215"/>
                      </a:lnTo>
                      <a:lnTo>
                        <a:pt x="63" y="219"/>
                      </a:lnTo>
                      <a:lnTo>
                        <a:pt x="67" y="224"/>
                      </a:lnTo>
                      <a:lnTo>
                        <a:pt x="85" y="219"/>
                      </a:lnTo>
                      <a:lnTo>
                        <a:pt x="90" y="224"/>
                      </a:lnTo>
                      <a:lnTo>
                        <a:pt x="94" y="219"/>
                      </a:lnTo>
                      <a:lnTo>
                        <a:pt x="103" y="193"/>
                      </a:lnTo>
                      <a:lnTo>
                        <a:pt x="112" y="188"/>
                      </a:lnTo>
                      <a:lnTo>
                        <a:pt x="116" y="170"/>
                      </a:lnTo>
                      <a:lnTo>
                        <a:pt x="125" y="175"/>
                      </a:lnTo>
                      <a:lnTo>
                        <a:pt x="161" y="148"/>
                      </a:lnTo>
                      <a:lnTo>
                        <a:pt x="179" y="152"/>
                      </a:lnTo>
                      <a:lnTo>
                        <a:pt x="188" y="152"/>
                      </a:lnTo>
                      <a:lnTo>
                        <a:pt x="192" y="143"/>
                      </a:lnTo>
                      <a:lnTo>
                        <a:pt x="201" y="143"/>
                      </a:lnTo>
                      <a:lnTo>
                        <a:pt x="228" y="143"/>
                      </a:lnTo>
                      <a:lnTo>
                        <a:pt x="237" y="134"/>
                      </a:lnTo>
                      <a:lnTo>
                        <a:pt x="237" y="121"/>
                      </a:lnTo>
                      <a:lnTo>
                        <a:pt x="237" y="85"/>
                      </a:lnTo>
                      <a:lnTo>
                        <a:pt x="224" y="94"/>
                      </a:lnTo>
                      <a:lnTo>
                        <a:pt x="219" y="90"/>
                      </a:lnTo>
                      <a:lnTo>
                        <a:pt x="224" y="76"/>
                      </a:lnTo>
                      <a:lnTo>
                        <a:pt x="210" y="72"/>
                      </a:lnTo>
                      <a:lnTo>
                        <a:pt x="206" y="76"/>
                      </a:lnTo>
                      <a:lnTo>
                        <a:pt x="201" y="67"/>
                      </a:lnTo>
                      <a:lnTo>
                        <a:pt x="188" y="67"/>
                      </a:lnTo>
                      <a:lnTo>
                        <a:pt x="188" y="58"/>
                      </a:lnTo>
                      <a:lnTo>
                        <a:pt x="103" y="0"/>
                      </a:lnTo>
                      <a:lnTo>
                        <a:pt x="85" y="0"/>
                      </a:lnTo>
                      <a:lnTo>
                        <a:pt x="94" y="130"/>
                      </a:lnTo>
                      <a:lnTo>
                        <a:pt x="99" y="134"/>
                      </a:lnTo>
                      <a:lnTo>
                        <a:pt x="99" y="139"/>
                      </a:lnTo>
                      <a:lnTo>
                        <a:pt x="45" y="143"/>
                      </a:lnTo>
                      <a:lnTo>
                        <a:pt x="41" y="134"/>
                      </a:lnTo>
                      <a:lnTo>
                        <a:pt x="32" y="143"/>
                      </a:lnTo>
                      <a:lnTo>
                        <a:pt x="23" y="139"/>
                      </a:lnTo>
                      <a:lnTo>
                        <a:pt x="18" y="148"/>
                      </a:lnTo>
                      <a:lnTo>
                        <a:pt x="14" y="134"/>
                      </a:lnTo>
                      <a:lnTo>
                        <a:pt x="9" y="139"/>
                      </a:lnTo>
                      <a:lnTo>
                        <a:pt x="14" y="152"/>
                      </a:lnTo>
                      <a:lnTo>
                        <a:pt x="5" y="15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00" name="Freeform 34">
                  <a:extLst>
                    <a:ext uri="{FF2B5EF4-FFF2-40B4-BE49-F238E27FC236}">
                      <a16:creationId xmlns:a16="http://schemas.microsoft.com/office/drawing/2014/main" id="{25DBEFFB-4840-4A9F-8781-F485579F549B}"/>
                    </a:ext>
                  </a:extLst>
                </p:cNvPr>
                <p:cNvSpPr>
                  <a:spLocks noEditPoints="1"/>
                </p:cNvSpPr>
                <p:nvPr/>
              </p:nvSpPr>
              <p:spPr bwMode="gray">
                <a:xfrm>
                  <a:off x="2879" y="2216"/>
                  <a:ext cx="9" cy="9"/>
                </a:xfrm>
                <a:custGeom>
                  <a:avLst/>
                  <a:gdLst>
                    <a:gd name="T0" fmla="*/ 0 w 9"/>
                    <a:gd name="T1" fmla="*/ 0 h 9"/>
                    <a:gd name="T2" fmla="*/ 0 w 9"/>
                    <a:gd name="T3" fmla="*/ 0 h 9"/>
                    <a:gd name="T4" fmla="*/ 0 w 9"/>
                    <a:gd name="T5" fmla="*/ 0 h 9"/>
                    <a:gd name="T6" fmla="*/ 0 w 9"/>
                    <a:gd name="T7" fmla="*/ 0 h 9"/>
                    <a:gd name="T8" fmla="*/ 5 w 9"/>
                    <a:gd name="T9" fmla="*/ 5 h 9"/>
                    <a:gd name="T10" fmla="*/ 0 w 9"/>
                    <a:gd name="T11" fmla="*/ 5 h 9"/>
                    <a:gd name="T12" fmla="*/ 5 w 9"/>
                    <a:gd name="T13" fmla="*/ 9 h 9"/>
                    <a:gd name="T14" fmla="*/ 9 w 9"/>
                    <a:gd name="T15" fmla="*/ 9 h 9"/>
                    <a:gd name="T16" fmla="*/ 5 w 9"/>
                    <a:gd name="T17"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0" y="0"/>
                      </a:moveTo>
                      <a:lnTo>
                        <a:pt x="0" y="0"/>
                      </a:lnTo>
                      <a:lnTo>
                        <a:pt x="0" y="0"/>
                      </a:lnTo>
                      <a:lnTo>
                        <a:pt x="0" y="0"/>
                      </a:lnTo>
                      <a:close/>
                      <a:moveTo>
                        <a:pt x="5" y="5"/>
                      </a:moveTo>
                      <a:lnTo>
                        <a:pt x="0" y="5"/>
                      </a:lnTo>
                      <a:lnTo>
                        <a:pt x="5" y="9"/>
                      </a:lnTo>
                      <a:lnTo>
                        <a:pt x="9" y="9"/>
                      </a:lnTo>
                      <a:lnTo>
                        <a:pt x="5" y="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01" name="Freeform 35">
                  <a:extLst>
                    <a:ext uri="{FF2B5EF4-FFF2-40B4-BE49-F238E27FC236}">
                      <a16:creationId xmlns:a16="http://schemas.microsoft.com/office/drawing/2014/main" id="{64168C30-2BCF-423E-8760-0717C9184BCE}"/>
                    </a:ext>
                  </a:extLst>
                </p:cNvPr>
                <p:cNvSpPr>
                  <a:spLocks/>
                </p:cNvSpPr>
                <p:nvPr/>
              </p:nvSpPr>
              <p:spPr bwMode="gray">
                <a:xfrm>
                  <a:off x="2441" y="2373"/>
                  <a:ext cx="170" cy="187"/>
                </a:xfrm>
                <a:custGeom>
                  <a:avLst/>
                  <a:gdLst>
                    <a:gd name="T0" fmla="*/ 0 w 170"/>
                    <a:gd name="T1" fmla="*/ 89 h 187"/>
                    <a:gd name="T2" fmla="*/ 5 w 170"/>
                    <a:gd name="T3" fmla="*/ 98 h 187"/>
                    <a:gd name="T4" fmla="*/ 9 w 170"/>
                    <a:gd name="T5" fmla="*/ 98 h 187"/>
                    <a:gd name="T6" fmla="*/ 9 w 170"/>
                    <a:gd name="T7" fmla="*/ 107 h 187"/>
                    <a:gd name="T8" fmla="*/ 5 w 170"/>
                    <a:gd name="T9" fmla="*/ 120 h 187"/>
                    <a:gd name="T10" fmla="*/ 14 w 170"/>
                    <a:gd name="T11" fmla="*/ 125 h 187"/>
                    <a:gd name="T12" fmla="*/ 9 w 170"/>
                    <a:gd name="T13" fmla="*/ 147 h 187"/>
                    <a:gd name="T14" fmla="*/ 14 w 170"/>
                    <a:gd name="T15" fmla="*/ 152 h 187"/>
                    <a:gd name="T16" fmla="*/ 9 w 170"/>
                    <a:gd name="T17" fmla="*/ 160 h 187"/>
                    <a:gd name="T18" fmla="*/ 9 w 170"/>
                    <a:gd name="T19" fmla="*/ 169 h 187"/>
                    <a:gd name="T20" fmla="*/ 14 w 170"/>
                    <a:gd name="T21" fmla="*/ 165 h 187"/>
                    <a:gd name="T22" fmla="*/ 41 w 170"/>
                    <a:gd name="T23" fmla="*/ 160 h 187"/>
                    <a:gd name="T24" fmla="*/ 45 w 170"/>
                    <a:gd name="T25" fmla="*/ 169 h 187"/>
                    <a:gd name="T26" fmla="*/ 54 w 170"/>
                    <a:gd name="T27" fmla="*/ 169 h 187"/>
                    <a:gd name="T28" fmla="*/ 72 w 170"/>
                    <a:gd name="T29" fmla="*/ 187 h 187"/>
                    <a:gd name="T30" fmla="*/ 81 w 170"/>
                    <a:gd name="T31" fmla="*/ 187 h 187"/>
                    <a:gd name="T32" fmla="*/ 76 w 170"/>
                    <a:gd name="T33" fmla="*/ 174 h 187"/>
                    <a:gd name="T34" fmla="*/ 81 w 170"/>
                    <a:gd name="T35" fmla="*/ 169 h 187"/>
                    <a:gd name="T36" fmla="*/ 85 w 170"/>
                    <a:gd name="T37" fmla="*/ 183 h 187"/>
                    <a:gd name="T38" fmla="*/ 90 w 170"/>
                    <a:gd name="T39" fmla="*/ 174 h 187"/>
                    <a:gd name="T40" fmla="*/ 99 w 170"/>
                    <a:gd name="T41" fmla="*/ 178 h 187"/>
                    <a:gd name="T42" fmla="*/ 108 w 170"/>
                    <a:gd name="T43" fmla="*/ 169 h 187"/>
                    <a:gd name="T44" fmla="*/ 112 w 170"/>
                    <a:gd name="T45" fmla="*/ 178 h 187"/>
                    <a:gd name="T46" fmla="*/ 166 w 170"/>
                    <a:gd name="T47" fmla="*/ 174 h 187"/>
                    <a:gd name="T48" fmla="*/ 166 w 170"/>
                    <a:gd name="T49" fmla="*/ 169 h 187"/>
                    <a:gd name="T50" fmla="*/ 161 w 170"/>
                    <a:gd name="T51" fmla="*/ 165 h 187"/>
                    <a:gd name="T52" fmla="*/ 152 w 170"/>
                    <a:gd name="T53" fmla="*/ 35 h 187"/>
                    <a:gd name="T54" fmla="*/ 170 w 170"/>
                    <a:gd name="T55" fmla="*/ 35 h 187"/>
                    <a:gd name="T56" fmla="*/ 116 w 170"/>
                    <a:gd name="T57" fmla="*/ 0 h 187"/>
                    <a:gd name="T58" fmla="*/ 116 w 170"/>
                    <a:gd name="T59" fmla="*/ 17 h 187"/>
                    <a:gd name="T60" fmla="*/ 72 w 170"/>
                    <a:gd name="T61" fmla="*/ 17 h 187"/>
                    <a:gd name="T62" fmla="*/ 67 w 170"/>
                    <a:gd name="T63" fmla="*/ 58 h 187"/>
                    <a:gd name="T64" fmla="*/ 58 w 170"/>
                    <a:gd name="T65" fmla="*/ 58 h 187"/>
                    <a:gd name="T66" fmla="*/ 54 w 170"/>
                    <a:gd name="T67" fmla="*/ 62 h 187"/>
                    <a:gd name="T68" fmla="*/ 54 w 170"/>
                    <a:gd name="T69" fmla="*/ 89 h 187"/>
                    <a:gd name="T70" fmla="*/ 5 w 170"/>
                    <a:gd name="T71" fmla="*/ 93 h 187"/>
                    <a:gd name="T72" fmla="*/ 0 w 170"/>
                    <a:gd name="T73" fmla="*/ 8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187">
                      <a:moveTo>
                        <a:pt x="0" y="89"/>
                      </a:moveTo>
                      <a:lnTo>
                        <a:pt x="5" y="98"/>
                      </a:lnTo>
                      <a:lnTo>
                        <a:pt x="9" y="98"/>
                      </a:lnTo>
                      <a:lnTo>
                        <a:pt x="9" y="107"/>
                      </a:lnTo>
                      <a:lnTo>
                        <a:pt x="5" y="120"/>
                      </a:lnTo>
                      <a:lnTo>
                        <a:pt x="14" y="125"/>
                      </a:lnTo>
                      <a:lnTo>
                        <a:pt x="9" y="147"/>
                      </a:lnTo>
                      <a:lnTo>
                        <a:pt x="14" y="152"/>
                      </a:lnTo>
                      <a:lnTo>
                        <a:pt x="9" y="160"/>
                      </a:lnTo>
                      <a:lnTo>
                        <a:pt x="9" y="169"/>
                      </a:lnTo>
                      <a:lnTo>
                        <a:pt x="14" y="165"/>
                      </a:lnTo>
                      <a:lnTo>
                        <a:pt x="41" y="160"/>
                      </a:lnTo>
                      <a:lnTo>
                        <a:pt x="45" y="169"/>
                      </a:lnTo>
                      <a:lnTo>
                        <a:pt x="54" y="169"/>
                      </a:lnTo>
                      <a:lnTo>
                        <a:pt x="72" y="187"/>
                      </a:lnTo>
                      <a:lnTo>
                        <a:pt x="81" y="187"/>
                      </a:lnTo>
                      <a:lnTo>
                        <a:pt x="76" y="174"/>
                      </a:lnTo>
                      <a:lnTo>
                        <a:pt x="81" y="169"/>
                      </a:lnTo>
                      <a:lnTo>
                        <a:pt x="85" y="183"/>
                      </a:lnTo>
                      <a:lnTo>
                        <a:pt x="90" y="174"/>
                      </a:lnTo>
                      <a:lnTo>
                        <a:pt x="99" y="178"/>
                      </a:lnTo>
                      <a:lnTo>
                        <a:pt x="108" y="169"/>
                      </a:lnTo>
                      <a:lnTo>
                        <a:pt x="112" y="178"/>
                      </a:lnTo>
                      <a:lnTo>
                        <a:pt x="166" y="174"/>
                      </a:lnTo>
                      <a:lnTo>
                        <a:pt x="166" y="169"/>
                      </a:lnTo>
                      <a:lnTo>
                        <a:pt x="161" y="165"/>
                      </a:lnTo>
                      <a:lnTo>
                        <a:pt x="152" y="35"/>
                      </a:lnTo>
                      <a:lnTo>
                        <a:pt x="170" y="35"/>
                      </a:lnTo>
                      <a:lnTo>
                        <a:pt x="116" y="0"/>
                      </a:lnTo>
                      <a:lnTo>
                        <a:pt x="116" y="17"/>
                      </a:lnTo>
                      <a:lnTo>
                        <a:pt x="72" y="17"/>
                      </a:lnTo>
                      <a:lnTo>
                        <a:pt x="67" y="58"/>
                      </a:lnTo>
                      <a:lnTo>
                        <a:pt x="58" y="58"/>
                      </a:lnTo>
                      <a:lnTo>
                        <a:pt x="54" y="62"/>
                      </a:lnTo>
                      <a:lnTo>
                        <a:pt x="54" y="89"/>
                      </a:lnTo>
                      <a:lnTo>
                        <a:pt x="5" y="93"/>
                      </a:lnTo>
                      <a:lnTo>
                        <a:pt x="0" y="8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02" name="Freeform 36">
                  <a:extLst>
                    <a:ext uri="{FF2B5EF4-FFF2-40B4-BE49-F238E27FC236}">
                      <a16:creationId xmlns:a16="http://schemas.microsoft.com/office/drawing/2014/main" id="{32E409F0-297C-4D0C-A707-08CC740380AD}"/>
                    </a:ext>
                  </a:extLst>
                </p:cNvPr>
                <p:cNvSpPr>
                  <a:spLocks/>
                </p:cNvSpPr>
                <p:nvPr/>
              </p:nvSpPr>
              <p:spPr bwMode="gray">
                <a:xfrm>
                  <a:off x="3509" y="3079"/>
                  <a:ext cx="9" cy="13"/>
                </a:xfrm>
                <a:custGeom>
                  <a:avLst/>
                  <a:gdLst>
                    <a:gd name="T0" fmla="*/ 0 w 9"/>
                    <a:gd name="T1" fmla="*/ 13 h 13"/>
                    <a:gd name="T2" fmla="*/ 9 w 9"/>
                    <a:gd name="T3" fmla="*/ 4 h 13"/>
                    <a:gd name="T4" fmla="*/ 4 w 9"/>
                    <a:gd name="T5" fmla="*/ 0 h 13"/>
                    <a:gd name="T6" fmla="*/ 0 w 9"/>
                    <a:gd name="T7" fmla="*/ 0 h 13"/>
                    <a:gd name="T8" fmla="*/ 0 w 9"/>
                    <a:gd name="T9" fmla="*/ 4 h 13"/>
                    <a:gd name="T10" fmla="*/ 0 w 9"/>
                    <a:gd name="T11" fmla="*/ 13 h 13"/>
                    <a:gd name="T12" fmla="*/ 0 w 9"/>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9" h="13">
                      <a:moveTo>
                        <a:pt x="0" y="13"/>
                      </a:moveTo>
                      <a:lnTo>
                        <a:pt x="9" y="4"/>
                      </a:lnTo>
                      <a:lnTo>
                        <a:pt x="4" y="0"/>
                      </a:lnTo>
                      <a:lnTo>
                        <a:pt x="0" y="0"/>
                      </a:lnTo>
                      <a:lnTo>
                        <a:pt x="0" y="4"/>
                      </a:lnTo>
                      <a:lnTo>
                        <a:pt x="0" y="13"/>
                      </a:lnTo>
                      <a:lnTo>
                        <a:pt x="0" y="13"/>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03" name="Freeform 37">
                  <a:extLst>
                    <a:ext uri="{FF2B5EF4-FFF2-40B4-BE49-F238E27FC236}">
                      <a16:creationId xmlns:a16="http://schemas.microsoft.com/office/drawing/2014/main" id="{CFBCFEB7-FF6D-4900-9D96-C3F52CC8A8B2}"/>
                    </a:ext>
                  </a:extLst>
                </p:cNvPr>
                <p:cNvSpPr>
                  <a:spLocks/>
                </p:cNvSpPr>
                <p:nvPr/>
              </p:nvSpPr>
              <p:spPr bwMode="gray">
                <a:xfrm>
                  <a:off x="2495" y="2221"/>
                  <a:ext cx="174" cy="143"/>
                </a:xfrm>
                <a:custGeom>
                  <a:avLst/>
                  <a:gdLst>
                    <a:gd name="T0" fmla="*/ 0 w 174"/>
                    <a:gd name="T1" fmla="*/ 138 h 143"/>
                    <a:gd name="T2" fmla="*/ 62 w 174"/>
                    <a:gd name="T3" fmla="*/ 143 h 143"/>
                    <a:gd name="T4" fmla="*/ 67 w 174"/>
                    <a:gd name="T5" fmla="*/ 129 h 143"/>
                    <a:gd name="T6" fmla="*/ 76 w 174"/>
                    <a:gd name="T7" fmla="*/ 116 h 143"/>
                    <a:gd name="T8" fmla="*/ 94 w 174"/>
                    <a:gd name="T9" fmla="*/ 111 h 143"/>
                    <a:gd name="T10" fmla="*/ 103 w 174"/>
                    <a:gd name="T11" fmla="*/ 111 h 143"/>
                    <a:gd name="T12" fmla="*/ 143 w 174"/>
                    <a:gd name="T13" fmla="*/ 80 h 143"/>
                    <a:gd name="T14" fmla="*/ 152 w 174"/>
                    <a:gd name="T15" fmla="*/ 67 h 143"/>
                    <a:gd name="T16" fmla="*/ 170 w 174"/>
                    <a:gd name="T17" fmla="*/ 71 h 143"/>
                    <a:gd name="T18" fmla="*/ 174 w 174"/>
                    <a:gd name="T19" fmla="*/ 62 h 143"/>
                    <a:gd name="T20" fmla="*/ 165 w 174"/>
                    <a:gd name="T21" fmla="*/ 58 h 143"/>
                    <a:gd name="T22" fmla="*/ 161 w 174"/>
                    <a:gd name="T23" fmla="*/ 40 h 143"/>
                    <a:gd name="T24" fmla="*/ 161 w 174"/>
                    <a:gd name="T25" fmla="*/ 26 h 143"/>
                    <a:gd name="T26" fmla="*/ 156 w 174"/>
                    <a:gd name="T27" fmla="*/ 13 h 143"/>
                    <a:gd name="T28" fmla="*/ 147 w 174"/>
                    <a:gd name="T29" fmla="*/ 9 h 143"/>
                    <a:gd name="T30" fmla="*/ 147 w 174"/>
                    <a:gd name="T31" fmla="*/ 4 h 143"/>
                    <a:gd name="T32" fmla="*/ 138 w 174"/>
                    <a:gd name="T33" fmla="*/ 9 h 143"/>
                    <a:gd name="T34" fmla="*/ 129 w 174"/>
                    <a:gd name="T35" fmla="*/ 9 h 143"/>
                    <a:gd name="T36" fmla="*/ 116 w 174"/>
                    <a:gd name="T37" fmla="*/ 4 h 143"/>
                    <a:gd name="T38" fmla="*/ 107 w 174"/>
                    <a:gd name="T39" fmla="*/ 0 h 143"/>
                    <a:gd name="T40" fmla="*/ 103 w 174"/>
                    <a:gd name="T41" fmla="*/ 4 h 143"/>
                    <a:gd name="T42" fmla="*/ 94 w 174"/>
                    <a:gd name="T43" fmla="*/ 22 h 143"/>
                    <a:gd name="T44" fmla="*/ 67 w 174"/>
                    <a:gd name="T45" fmla="*/ 40 h 143"/>
                    <a:gd name="T46" fmla="*/ 58 w 174"/>
                    <a:gd name="T47" fmla="*/ 53 h 143"/>
                    <a:gd name="T48" fmla="*/ 58 w 174"/>
                    <a:gd name="T49" fmla="*/ 62 h 143"/>
                    <a:gd name="T50" fmla="*/ 49 w 174"/>
                    <a:gd name="T51" fmla="*/ 71 h 143"/>
                    <a:gd name="T52" fmla="*/ 49 w 174"/>
                    <a:gd name="T53" fmla="*/ 89 h 143"/>
                    <a:gd name="T54" fmla="*/ 54 w 174"/>
                    <a:gd name="T55" fmla="*/ 94 h 143"/>
                    <a:gd name="T56" fmla="*/ 54 w 174"/>
                    <a:gd name="T57" fmla="*/ 98 h 143"/>
                    <a:gd name="T58" fmla="*/ 4 w 174"/>
                    <a:gd name="T59" fmla="*/ 134 h 143"/>
                    <a:gd name="T60" fmla="*/ 0 w 174"/>
                    <a:gd name="T61"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4" h="143">
                      <a:moveTo>
                        <a:pt x="0" y="138"/>
                      </a:moveTo>
                      <a:lnTo>
                        <a:pt x="62" y="143"/>
                      </a:lnTo>
                      <a:lnTo>
                        <a:pt x="67" y="129"/>
                      </a:lnTo>
                      <a:lnTo>
                        <a:pt x="76" y="116"/>
                      </a:lnTo>
                      <a:lnTo>
                        <a:pt x="94" y="111"/>
                      </a:lnTo>
                      <a:lnTo>
                        <a:pt x="103" y="111"/>
                      </a:lnTo>
                      <a:lnTo>
                        <a:pt x="143" y="80"/>
                      </a:lnTo>
                      <a:lnTo>
                        <a:pt x="152" y="67"/>
                      </a:lnTo>
                      <a:lnTo>
                        <a:pt x="170" y="71"/>
                      </a:lnTo>
                      <a:lnTo>
                        <a:pt x="174" y="62"/>
                      </a:lnTo>
                      <a:lnTo>
                        <a:pt x="165" y="58"/>
                      </a:lnTo>
                      <a:lnTo>
                        <a:pt x="161" y="40"/>
                      </a:lnTo>
                      <a:lnTo>
                        <a:pt x="161" y="26"/>
                      </a:lnTo>
                      <a:lnTo>
                        <a:pt x="156" y="13"/>
                      </a:lnTo>
                      <a:lnTo>
                        <a:pt x="147" y="9"/>
                      </a:lnTo>
                      <a:lnTo>
                        <a:pt x="147" y="4"/>
                      </a:lnTo>
                      <a:lnTo>
                        <a:pt x="138" y="9"/>
                      </a:lnTo>
                      <a:lnTo>
                        <a:pt x="129" y="9"/>
                      </a:lnTo>
                      <a:lnTo>
                        <a:pt x="116" y="4"/>
                      </a:lnTo>
                      <a:lnTo>
                        <a:pt x="107" y="0"/>
                      </a:lnTo>
                      <a:lnTo>
                        <a:pt x="103" y="4"/>
                      </a:lnTo>
                      <a:lnTo>
                        <a:pt x="94" y="22"/>
                      </a:lnTo>
                      <a:lnTo>
                        <a:pt x="67" y="40"/>
                      </a:lnTo>
                      <a:lnTo>
                        <a:pt x="58" y="53"/>
                      </a:lnTo>
                      <a:lnTo>
                        <a:pt x="58" y="62"/>
                      </a:lnTo>
                      <a:lnTo>
                        <a:pt x="49" y="71"/>
                      </a:lnTo>
                      <a:lnTo>
                        <a:pt x="49" y="89"/>
                      </a:lnTo>
                      <a:lnTo>
                        <a:pt x="54" y="94"/>
                      </a:lnTo>
                      <a:lnTo>
                        <a:pt x="54" y="98"/>
                      </a:lnTo>
                      <a:lnTo>
                        <a:pt x="4" y="134"/>
                      </a:lnTo>
                      <a:lnTo>
                        <a:pt x="0" y="138"/>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04" name="Freeform 38">
                  <a:extLst>
                    <a:ext uri="{FF2B5EF4-FFF2-40B4-BE49-F238E27FC236}">
                      <a16:creationId xmlns:a16="http://schemas.microsoft.com/office/drawing/2014/main" id="{9D1ED23E-A852-4048-B426-8D863FB6838C}"/>
                    </a:ext>
                  </a:extLst>
                </p:cNvPr>
                <p:cNvSpPr>
                  <a:spLocks/>
                </p:cNvSpPr>
                <p:nvPr/>
              </p:nvSpPr>
              <p:spPr bwMode="gray">
                <a:xfrm>
                  <a:off x="3120" y="2931"/>
                  <a:ext cx="148" cy="259"/>
                </a:xfrm>
                <a:custGeom>
                  <a:avLst/>
                  <a:gdLst>
                    <a:gd name="T0" fmla="*/ 0 w 148"/>
                    <a:gd name="T1" fmla="*/ 81 h 259"/>
                    <a:gd name="T2" fmla="*/ 5 w 148"/>
                    <a:gd name="T3" fmla="*/ 85 h 259"/>
                    <a:gd name="T4" fmla="*/ 18 w 148"/>
                    <a:gd name="T5" fmla="*/ 85 h 259"/>
                    <a:gd name="T6" fmla="*/ 36 w 148"/>
                    <a:gd name="T7" fmla="*/ 94 h 259"/>
                    <a:gd name="T8" fmla="*/ 40 w 148"/>
                    <a:gd name="T9" fmla="*/ 130 h 259"/>
                    <a:gd name="T10" fmla="*/ 36 w 148"/>
                    <a:gd name="T11" fmla="*/ 139 h 259"/>
                    <a:gd name="T12" fmla="*/ 40 w 148"/>
                    <a:gd name="T13" fmla="*/ 148 h 259"/>
                    <a:gd name="T14" fmla="*/ 32 w 148"/>
                    <a:gd name="T15" fmla="*/ 170 h 259"/>
                    <a:gd name="T16" fmla="*/ 18 w 148"/>
                    <a:gd name="T17" fmla="*/ 188 h 259"/>
                    <a:gd name="T18" fmla="*/ 18 w 148"/>
                    <a:gd name="T19" fmla="*/ 192 h 259"/>
                    <a:gd name="T20" fmla="*/ 23 w 148"/>
                    <a:gd name="T21" fmla="*/ 228 h 259"/>
                    <a:gd name="T22" fmla="*/ 23 w 148"/>
                    <a:gd name="T23" fmla="*/ 237 h 259"/>
                    <a:gd name="T24" fmla="*/ 23 w 148"/>
                    <a:gd name="T25" fmla="*/ 242 h 259"/>
                    <a:gd name="T26" fmla="*/ 23 w 148"/>
                    <a:gd name="T27" fmla="*/ 246 h 259"/>
                    <a:gd name="T28" fmla="*/ 23 w 148"/>
                    <a:gd name="T29" fmla="*/ 259 h 259"/>
                    <a:gd name="T30" fmla="*/ 36 w 148"/>
                    <a:gd name="T31" fmla="*/ 255 h 259"/>
                    <a:gd name="T32" fmla="*/ 36 w 148"/>
                    <a:gd name="T33" fmla="*/ 242 h 259"/>
                    <a:gd name="T34" fmla="*/ 27 w 148"/>
                    <a:gd name="T35" fmla="*/ 242 h 259"/>
                    <a:gd name="T36" fmla="*/ 36 w 148"/>
                    <a:gd name="T37" fmla="*/ 233 h 259"/>
                    <a:gd name="T38" fmla="*/ 67 w 148"/>
                    <a:gd name="T39" fmla="*/ 219 h 259"/>
                    <a:gd name="T40" fmla="*/ 72 w 148"/>
                    <a:gd name="T41" fmla="*/ 210 h 259"/>
                    <a:gd name="T42" fmla="*/ 67 w 148"/>
                    <a:gd name="T43" fmla="*/ 210 h 259"/>
                    <a:gd name="T44" fmla="*/ 72 w 148"/>
                    <a:gd name="T45" fmla="*/ 201 h 259"/>
                    <a:gd name="T46" fmla="*/ 72 w 148"/>
                    <a:gd name="T47" fmla="*/ 183 h 259"/>
                    <a:gd name="T48" fmla="*/ 67 w 148"/>
                    <a:gd name="T49" fmla="*/ 179 h 259"/>
                    <a:gd name="T50" fmla="*/ 67 w 148"/>
                    <a:gd name="T51" fmla="*/ 183 h 259"/>
                    <a:gd name="T52" fmla="*/ 63 w 148"/>
                    <a:gd name="T53" fmla="*/ 157 h 259"/>
                    <a:gd name="T54" fmla="*/ 58 w 148"/>
                    <a:gd name="T55" fmla="*/ 152 h 259"/>
                    <a:gd name="T56" fmla="*/ 72 w 148"/>
                    <a:gd name="T57" fmla="*/ 134 h 259"/>
                    <a:gd name="T58" fmla="*/ 85 w 148"/>
                    <a:gd name="T59" fmla="*/ 130 h 259"/>
                    <a:gd name="T60" fmla="*/ 99 w 148"/>
                    <a:gd name="T61" fmla="*/ 112 h 259"/>
                    <a:gd name="T62" fmla="*/ 134 w 148"/>
                    <a:gd name="T63" fmla="*/ 94 h 259"/>
                    <a:gd name="T64" fmla="*/ 148 w 148"/>
                    <a:gd name="T65" fmla="*/ 76 h 259"/>
                    <a:gd name="T66" fmla="*/ 148 w 148"/>
                    <a:gd name="T67" fmla="*/ 54 h 259"/>
                    <a:gd name="T68" fmla="*/ 143 w 148"/>
                    <a:gd name="T69" fmla="*/ 54 h 259"/>
                    <a:gd name="T70" fmla="*/ 148 w 148"/>
                    <a:gd name="T71" fmla="*/ 5 h 259"/>
                    <a:gd name="T72" fmla="*/ 143 w 148"/>
                    <a:gd name="T73" fmla="*/ 0 h 259"/>
                    <a:gd name="T74" fmla="*/ 130 w 148"/>
                    <a:gd name="T75" fmla="*/ 9 h 259"/>
                    <a:gd name="T76" fmla="*/ 107 w 148"/>
                    <a:gd name="T77" fmla="*/ 9 h 259"/>
                    <a:gd name="T78" fmla="*/ 103 w 148"/>
                    <a:gd name="T79" fmla="*/ 18 h 259"/>
                    <a:gd name="T80" fmla="*/ 94 w 148"/>
                    <a:gd name="T81" fmla="*/ 14 h 259"/>
                    <a:gd name="T82" fmla="*/ 85 w 148"/>
                    <a:gd name="T83" fmla="*/ 23 h 259"/>
                    <a:gd name="T84" fmla="*/ 76 w 148"/>
                    <a:gd name="T85" fmla="*/ 14 h 259"/>
                    <a:gd name="T86" fmla="*/ 63 w 148"/>
                    <a:gd name="T87" fmla="*/ 18 h 259"/>
                    <a:gd name="T88" fmla="*/ 63 w 148"/>
                    <a:gd name="T89" fmla="*/ 23 h 259"/>
                    <a:gd name="T90" fmla="*/ 58 w 148"/>
                    <a:gd name="T91" fmla="*/ 31 h 259"/>
                    <a:gd name="T92" fmla="*/ 58 w 148"/>
                    <a:gd name="T93" fmla="*/ 40 h 259"/>
                    <a:gd name="T94" fmla="*/ 67 w 148"/>
                    <a:gd name="T95" fmla="*/ 45 h 259"/>
                    <a:gd name="T96" fmla="*/ 76 w 148"/>
                    <a:gd name="T97" fmla="*/ 58 h 259"/>
                    <a:gd name="T98" fmla="*/ 76 w 148"/>
                    <a:gd name="T99" fmla="*/ 85 h 259"/>
                    <a:gd name="T100" fmla="*/ 67 w 148"/>
                    <a:gd name="T101" fmla="*/ 90 h 259"/>
                    <a:gd name="T102" fmla="*/ 72 w 148"/>
                    <a:gd name="T103" fmla="*/ 99 h 259"/>
                    <a:gd name="T104" fmla="*/ 63 w 148"/>
                    <a:gd name="T105" fmla="*/ 103 h 259"/>
                    <a:gd name="T106" fmla="*/ 54 w 148"/>
                    <a:gd name="T107" fmla="*/ 85 h 259"/>
                    <a:gd name="T108" fmla="*/ 58 w 148"/>
                    <a:gd name="T109" fmla="*/ 72 h 259"/>
                    <a:gd name="T110" fmla="*/ 54 w 148"/>
                    <a:gd name="T111" fmla="*/ 63 h 259"/>
                    <a:gd name="T112" fmla="*/ 45 w 148"/>
                    <a:gd name="T113" fmla="*/ 63 h 259"/>
                    <a:gd name="T114" fmla="*/ 36 w 148"/>
                    <a:gd name="T115" fmla="*/ 54 h 259"/>
                    <a:gd name="T116" fmla="*/ 0 w 148"/>
                    <a:gd name="T117" fmla="*/ 72 h 259"/>
                    <a:gd name="T118" fmla="*/ 0 w 148"/>
                    <a:gd name="T119" fmla="*/ 8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8" h="259">
                      <a:moveTo>
                        <a:pt x="0" y="81"/>
                      </a:moveTo>
                      <a:lnTo>
                        <a:pt x="5" y="85"/>
                      </a:lnTo>
                      <a:lnTo>
                        <a:pt x="18" y="85"/>
                      </a:lnTo>
                      <a:lnTo>
                        <a:pt x="36" y="94"/>
                      </a:lnTo>
                      <a:lnTo>
                        <a:pt x="40" y="130"/>
                      </a:lnTo>
                      <a:lnTo>
                        <a:pt x="36" y="139"/>
                      </a:lnTo>
                      <a:lnTo>
                        <a:pt x="40" y="148"/>
                      </a:lnTo>
                      <a:lnTo>
                        <a:pt x="32" y="170"/>
                      </a:lnTo>
                      <a:lnTo>
                        <a:pt x="18" y="188"/>
                      </a:lnTo>
                      <a:lnTo>
                        <a:pt x="18" y="192"/>
                      </a:lnTo>
                      <a:lnTo>
                        <a:pt x="23" y="228"/>
                      </a:lnTo>
                      <a:lnTo>
                        <a:pt x="23" y="237"/>
                      </a:lnTo>
                      <a:lnTo>
                        <a:pt x="23" y="242"/>
                      </a:lnTo>
                      <a:lnTo>
                        <a:pt x="23" y="246"/>
                      </a:lnTo>
                      <a:lnTo>
                        <a:pt x="23" y="259"/>
                      </a:lnTo>
                      <a:lnTo>
                        <a:pt x="36" y="255"/>
                      </a:lnTo>
                      <a:lnTo>
                        <a:pt x="36" y="242"/>
                      </a:lnTo>
                      <a:lnTo>
                        <a:pt x="27" y="242"/>
                      </a:lnTo>
                      <a:lnTo>
                        <a:pt x="36" y="233"/>
                      </a:lnTo>
                      <a:lnTo>
                        <a:pt x="67" y="219"/>
                      </a:lnTo>
                      <a:lnTo>
                        <a:pt x="72" y="210"/>
                      </a:lnTo>
                      <a:lnTo>
                        <a:pt x="67" y="210"/>
                      </a:lnTo>
                      <a:lnTo>
                        <a:pt x="72" y="201"/>
                      </a:lnTo>
                      <a:lnTo>
                        <a:pt x="72" y="183"/>
                      </a:lnTo>
                      <a:lnTo>
                        <a:pt x="67" y="179"/>
                      </a:lnTo>
                      <a:lnTo>
                        <a:pt x="67" y="183"/>
                      </a:lnTo>
                      <a:lnTo>
                        <a:pt x="63" y="157"/>
                      </a:lnTo>
                      <a:lnTo>
                        <a:pt x="58" y="152"/>
                      </a:lnTo>
                      <a:lnTo>
                        <a:pt x="72" y="134"/>
                      </a:lnTo>
                      <a:lnTo>
                        <a:pt x="85" y="130"/>
                      </a:lnTo>
                      <a:lnTo>
                        <a:pt x="99" y="112"/>
                      </a:lnTo>
                      <a:lnTo>
                        <a:pt x="134" y="94"/>
                      </a:lnTo>
                      <a:lnTo>
                        <a:pt x="148" y="76"/>
                      </a:lnTo>
                      <a:lnTo>
                        <a:pt x="148" y="54"/>
                      </a:lnTo>
                      <a:lnTo>
                        <a:pt x="143" y="54"/>
                      </a:lnTo>
                      <a:lnTo>
                        <a:pt x="148" y="5"/>
                      </a:lnTo>
                      <a:lnTo>
                        <a:pt x="143" y="0"/>
                      </a:lnTo>
                      <a:lnTo>
                        <a:pt x="130" y="9"/>
                      </a:lnTo>
                      <a:lnTo>
                        <a:pt x="107" y="9"/>
                      </a:lnTo>
                      <a:lnTo>
                        <a:pt x="103" y="18"/>
                      </a:lnTo>
                      <a:lnTo>
                        <a:pt x="94" y="14"/>
                      </a:lnTo>
                      <a:lnTo>
                        <a:pt x="85" y="23"/>
                      </a:lnTo>
                      <a:lnTo>
                        <a:pt x="76" y="14"/>
                      </a:lnTo>
                      <a:lnTo>
                        <a:pt x="63" y="18"/>
                      </a:lnTo>
                      <a:lnTo>
                        <a:pt x="63" y="23"/>
                      </a:lnTo>
                      <a:lnTo>
                        <a:pt x="58" y="31"/>
                      </a:lnTo>
                      <a:lnTo>
                        <a:pt x="58" y="40"/>
                      </a:lnTo>
                      <a:lnTo>
                        <a:pt x="67" y="45"/>
                      </a:lnTo>
                      <a:lnTo>
                        <a:pt x="76" y="58"/>
                      </a:lnTo>
                      <a:lnTo>
                        <a:pt x="76" y="85"/>
                      </a:lnTo>
                      <a:lnTo>
                        <a:pt x="67" y="90"/>
                      </a:lnTo>
                      <a:lnTo>
                        <a:pt x="72" y="99"/>
                      </a:lnTo>
                      <a:lnTo>
                        <a:pt x="63" y="103"/>
                      </a:lnTo>
                      <a:lnTo>
                        <a:pt x="54" y="85"/>
                      </a:lnTo>
                      <a:lnTo>
                        <a:pt x="58" y="72"/>
                      </a:lnTo>
                      <a:lnTo>
                        <a:pt x="54" y="63"/>
                      </a:lnTo>
                      <a:lnTo>
                        <a:pt x="45" y="63"/>
                      </a:lnTo>
                      <a:lnTo>
                        <a:pt x="36" y="54"/>
                      </a:lnTo>
                      <a:lnTo>
                        <a:pt x="0" y="72"/>
                      </a:lnTo>
                      <a:lnTo>
                        <a:pt x="0" y="81"/>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05" name="Freeform 39">
                  <a:extLst>
                    <a:ext uri="{FF2B5EF4-FFF2-40B4-BE49-F238E27FC236}">
                      <a16:creationId xmlns:a16="http://schemas.microsoft.com/office/drawing/2014/main" id="{B0C72F90-F172-4CCD-8EA7-5A8F23653002}"/>
                    </a:ext>
                  </a:extLst>
                </p:cNvPr>
                <p:cNvSpPr>
                  <a:spLocks/>
                </p:cNvSpPr>
                <p:nvPr/>
              </p:nvSpPr>
              <p:spPr bwMode="gray">
                <a:xfrm>
                  <a:off x="2848" y="3030"/>
                  <a:ext cx="192" cy="196"/>
                </a:xfrm>
                <a:custGeom>
                  <a:avLst/>
                  <a:gdLst>
                    <a:gd name="T0" fmla="*/ 4 w 192"/>
                    <a:gd name="T1" fmla="*/ 4 h 196"/>
                    <a:gd name="T2" fmla="*/ 9 w 192"/>
                    <a:gd name="T3" fmla="*/ 0 h 196"/>
                    <a:gd name="T4" fmla="*/ 27 w 192"/>
                    <a:gd name="T5" fmla="*/ 0 h 196"/>
                    <a:gd name="T6" fmla="*/ 40 w 192"/>
                    <a:gd name="T7" fmla="*/ 8 h 196"/>
                    <a:gd name="T8" fmla="*/ 49 w 192"/>
                    <a:gd name="T9" fmla="*/ 4 h 196"/>
                    <a:gd name="T10" fmla="*/ 103 w 192"/>
                    <a:gd name="T11" fmla="*/ 4 h 196"/>
                    <a:gd name="T12" fmla="*/ 116 w 192"/>
                    <a:gd name="T13" fmla="*/ 17 h 196"/>
                    <a:gd name="T14" fmla="*/ 134 w 192"/>
                    <a:gd name="T15" fmla="*/ 17 h 196"/>
                    <a:gd name="T16" fmla="*/ 170 w 192"/>
                    <a:gd name="T17" fmla="*/ 8 h 196"/>
                    <a:gd name="T18" fmla="*/ 178 w 192"/>
                    <a:gd name="T19" fmla="*/ 4 h 196"/>
                    <a:gd name="T20" fmla="*/ 192 w 192"/>
                    <a:gd name="T21" fmla="*/ 13 h 196"/>
                    <a:gd name="T22" fmla="*/ 178 w 192"/>
                    <a:gd name="T23" fmla="*/ 17 h 196"/>
                    <a:gd name="T24" fmla="*/ 174 w 192"/>
                    <a:gd name="T25" fmla="*/ 26 h 196"/>
                    <a:gd name="T26" fmla="*/ 165 w 192"/>
                    <a:gd name="T27" fmla="*/ 17 h 196"/>
                    <a:gd name="T28" fmla="*/ 147 w 192"/>
                    <a:gd name="T29" fmla="*/ 22 h 196"/>
                    <a:gd name="T30" fmla="*/ 138 w 192"/>
                    <a:gd name="T31" fmla="*/ 22 h 196"/>
                    <a:gd name="T32" fmla="*/ 138 w 192"/>
                    <a:gd name="T33" fmla="*/ 80 h 196"/>
                    <a:gd name="T34" fmla="*/ 125 w 192"/>
                    <a:gd name="T35" fmla="*/ 80 h 196"/>
                    <a:gd name="T36" fmla="*/ 120 w 192"/>
                    <a:gd name="T37" fmla="*/ 125 h 196"/>
                    <a:gd name="T38" fmla="*/ 120 w 192"/>
                    <a:gd name="T39" fmla="*/ 187 h 196"/>
                    <a:gd name="T40" fmla="*/ 111 w 192"/>
                    <a:gd name="T41" fmla="*/ 187 h 196"/>
                    <a:gd name="T42" fmla="*/ 111 w 192"/>
                    <a:gd name="T43" fmla="*/ 196 h 196"/>
                    <a:gd name="T44" fmla="*/ 94 w 192"/>
                    <a:gd name="T45" fmla="*/ 192 h 196"/>
                    <a:gd name="T46" fmla="*/ 80 w 192"/>
                    <a:gd name="T47" fmla="*/ 192 h 196"/>
                    <a:gd name="T48" fmla="*/ 80 w 192"/>
                    <a:gd name="T49" fmla="*/ 183 h 196"/>
                    <a:gd name="T50" fmla="*/ 76 w 192"/>
                    <a:gd name="T51" fmla="*/ 183 h 196"/>
                    <a:gd name="T52" fmla="*/ 67 w 192"/>
                    <a:gd name="T53" fmla="*/ 187 h 196"/>
                    <a:gd name="T54" fmla="*/ 53 w 192"/>
                    <a:gd name="T55" fmla="*/ 169 h 196"/>
                    <a:gd name="T56" fmla="*/ 49 w 192"/>
                    <a:gd name="T57" fmla="*/ 160 h 196"/>
                    <a:gd name="T58" fmla="*/ 40 w 192"/>
                    <a:gd name="T59" fmla="*/ 111 h 196"/>
                    <a:gd name="T60" fmla="*/ 40 w 192"/>
                    <a:gd name="T61" fmla="*/ 93 h 196"/>
                    <a:gd name="T62" fmla="*/ 22 w 192"/>
                    <a:gd name="T63" fmla="*/ 44 h 196"/>
                    <a:gd name="T64" fmla="*/ 0 w 192"/>
                    <a:gd name="T65" fmla="*/ 22 h 196"/>
                    <a:gd name="T66" fmla="*/ 4 w 192"/>
                    <a:gd name="T67" fmla="*/ 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2" h="196">
                      <a:moveTo>
                        <a:pt x="4" y="4"/>
                      </a:moveTo>
                      <a:lnTo>
                        <a:pt x="9" y="0"/>
                      </a:lnTo>
                      <a:lnTo>
                        <a:pt x="27" y="0"/>
                      </a:lnTo>
                      <a:lnTo>
                        <a:pt x="40" y="8"/>
                      </a:lnTo>
                      <a:lnTo>
                        <a:pt x="49" y="4"/>
                      </a:lnTo>
                      <a:lnTo>
                        <a:pt x="103" y="4"/>
                      </a:lnTo>
                      <a:lnTo>
                        <a:pt x="116" y="17"/>
                      </a:lnTo>
                      <a:lnTo>
                        <a:pt x="134" y="17"/>
                      </a:lnTo>
                      <a:lnTo>
                        <a:pt x="170" y="8"/>
                      </a:lnTo>
                      <a:lnTo>
                        <a:pt x="178" y="4"/>
                      </a:lnTo>
                      <a:lnTo>
                        <a:pt x="192" y="13"/>
                      </a:lnTo>
                      <a:lnTo>
                        <a:pt x="178" y="17"/>
                      </a:lnTo>
                      <a:lnTo>
                        <a:pt x="174" y="26"/>
                      </a:lnTo>
                      <a:lnTo>
                        <a:pt x="165" y="17"/>
                      </a:lnTo>
                      <a:lnTo>
                        <a:pt x="147" y="22"/>
                      </a:lnTo>
                      <a:lnTo>
                        <a:pt x="138" y="22"/>
                      </a:lnTo>
                      <a:lnTo>
                        <a:pt x="138" y="80"/>
                      </a:lnTo>
                      <a:lnTo>
                        <a:pt x="125" y="80"/>
                      </a:lnTo>
                      <a:lnTo>
                        <a:pt x="120" y="125"/>
                      </a:lnTo>
                      <a:lnTo>
                        <a:pt x="120" y="187"/>
                      </a:lnTo>
                      <a:lnTo>
                        <a:pt x="111" y="187"/>
                      </a:lnTo>
                      <a:lnTo>
                        <a:pt x="111" y="196"/>
                      </a:lnTo>
                      <a:lnTo>
                        <a:pt x="94" y="192"/>
                      </a:lnTo>
                      <a:lnTo>
                        <a:pt x="80" y="192"/>
                      </a:lnTo>
                      <a:lnTo>
                        <a:pt x="80" y="183"/>
                      </a:lnTo>
                      <a:lnTo>
                        <a:pt x="76" y="183"/>
                      </a:lnTo>
                      <a:lnTo>
                        <a:pt x="67" y="187"/>
                      </a:lnTo>
                      <a:lnTo>
                        <a:pt x="53" y="169"/>
                      </a:lnTo>
                      <a:lnTo>
                        <a:pt x="49" y="160"/>
                      </a:lnTo>
                      <a:lnTo>
                        <a:pt x="40" y="111"/>
                      </a:lnTo>
                      <a:lnTo>
                        <a:pt x="40" y="93"/>
                      </a:lnTo>
                      <a:lnTo>
                        <a:pt x="22" y="44"/>
                      </a:lnTo>
                      <a:lnTo>
                        <a:pt x="0" y="22"/>
                      </a:lnTo>
                      <a:lnTo>
                        <a:pt x="4" y="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06" name="Freeform 40">
                  <a:extLst>
                    <a:ext uri="{FF2B5EF4-FFF2-40B4-BE49-F238E27FC236}">
                      <a16:creationId xmlns:a16="http://schemas.microsoft.com/office/drawing/2014/main" id="{EC049915-CDD2-4980-8076-73DBC6FD9B0B}"/>
                    </a:ext>
                  </a:extLst>
                </p:cNvPr>
                <p:cNvSpPr>
                  <a:spLocks/>
                </p:cNvSpPr>
                <p:nvPr/>
              </p:nvSpPr>
              <p:spPr bwMode="gray">
                <a:xfrm>
                  <a:off x="2687" y="2431"/>
                  <a:ext cx="228" cy="174"/>
                </a:xfrm>
                <a:custGeom>
                  <a:avLst/>
                  <a:gdLst>
                    <a:gd name="T0" fmla="*/ 0 w 228"/>
                    <a:gd name="T1" fmla="*/ 129 h 174"/>
                    <a:gd name="T2" fmla="*/ 0 w 228"/>
                    <a:gd name="T3" fmla="*/ 138 h 174"/>
                    <a:gd name="T4" fmla="*/ 9 w 228"/>
                    <a:gd name="T5" fmla="*/ 152 h 174"/>
                    <a:gd name="T6" fmla="*/ 9 w 228"/>
                    <a:gd name="T7" fmla="*/ 161 h 174"/>
                    <a:gd name="T8" fmla="*/ 18 w 228"/>
                    <a:gd name="T9" fmla="*/ 165 h 174"/>
                    <a:gd name="T10" fmla="*/ 27 w 228"/>
                    <a:gd name="T11" fmla="*/ 161 h 174"/>
                    <a:gd name="T12" fmla="*/ 27 w 228"/>
                    <a:gd name="T13" fmla="*/ 174 h 174"/>
                    <a:gd name="T14" fmla="*/ 31 w 228"/>
                    <a:gd name="T15" fmla="*/ 174 h 174"/>
                    <a:gd name="T16" fmla="*/ 40 w 228"/>
                    <a:gd name="T17" fmla="*/ 165 h 174"/>
                    <a:gd name="T18" fmla="*/ 54 w 228"/>
                    <a:gd name="T19" fmla="*/ 174 h 174"/>
                    <a:gd name="T20" fmla="*/ 54 w 228"/>
                    <a:gd name="T21" fmla="*/ 165 h 174"/>
                    <a:gd name="T22" fmla="*/ 58 w 228"/>
                    <a:gd name="T23" fmla="*/ 156 h 174"/>
                    <a:gd name="T24" fmla="*/ 58 w 228"/>
                    <a:gd name="T25" fmla="*/ 147 h 174"/>
                    <a:gd name="T26" fmla="*/ 71 w 228"/>
                    <a:gd name="T27" fmla="*/ 143 h 174"/>
                    <a:gd name="T28" fmla="*/ 94 w 228"/>
                    <a:gd name="T29" fmla="*/ 147 h 174"/>
                    <a:gd name="T30" fmla="*/ 107 w 228"/>
                    <a:gd name="T31" fmla="*/ 161 h 174"/>
                    <a:gd name="T32" fmla="*/ 121 w 228"/>
                    <a:gd name="T33" fmla="*/ 156 h 174"/>
                    <a:gd name="T34" fmla="*/ 138 w 228"/>
                    <a:gd name="T35" fmla="*/ 156 h 174"/>
                    <a:gd name="T36" fmla="*/ 156 w 228"/>
                    <a:gd name="T37" fmla="*/ 152 h 174"/>
                    <a:gd name="T38" fmla="*/ 170 w 228"/>
                    <a:gd name="T39" fmla="*/ 156 h 174"/>
                    <a:gd name="T40" fmla="*/ 188 w 228"/>
                    <a:gd name="T41" fmla="*/ 147 h 174"/>
                    <a:gd name="T42" fmla="*/ 188 w 228"/>
                    <a:gd name="T43" fmla="*/ 134 h 174"/>
                    <a:gd name="T44" fmla="*/ 192 w 228"/>
                    <a:gd name="T45" fmla="*/ 125 h 174"/>
                    <a:gd name="T46" fmla="*/ 214 w 228"/>
                    <a:gd name="T47" fmla="*/ 107 h 174"/>
                    <a:gd name="T48" fmla="*/ 219 w 228"/>
                    <a:gd name="T49" fmla="*/ 62 h 174"/>
                    <a:gd name="T50" fmla="*/ 228 w 228"/>
                    <a:gd name="T51" fmla="*/ 44 h 174"/>
                    <a:gd name="T52" fmla="*/ 219 w 228"/>
                    <a:gd name="T53" fmla="*/ 35 h 174"/>
                    <a:gd name="T54" fmla="*/ 219 w 228"/>
                    <a:gd name="T55" fmla="*/ 22 h 174"/>
                    <a:gd name="T56" fmla="*/ 210 w 228"/>
                    <a:gd name="T57" fmla="*/ 4 h 174"/>
                    <a:gd name="T58" fmla="*/ 197 w 228"/>
                    <a:gd name="T59" fmla="*/ 13 h 174"/>
                    <a:gd name="T60" fmla="*/ 192 w 228"/>
                    <a:gd name="T61" fmla="*/ 0 h 174"/>
                    <a:gd name="T62" fmla="*/ 170 w 228"/>
                    <a:gd name="T63" fmla="*/ 0 h 174"/>
                    <a:gd name="T64" fmla="*/ 94 w 228"/>
                    <a:gd name="T65" fmla="*/ 53 h 174"/>
                    <a:gd name="T66" fmla="*/ 58 w 228"/>
                    <a:gd name="T67" fmla="*/ 62 h 174"/>
                    <a:gd name="T68" fmla="*/ 58 w 228"/>
                    <a:gd name="T69" fmla="*/ 98 h 174"/>
                    <a:gd name="T70" fmla="*/ 58 w 228"/>
                    <a:gd name="T71" fmla="*/ 111 h 174"/>
                    <a:gd name="T72" fmla="*/ 49 w 228"/>
                    <a:gd name="T73" fmla="*/ 120 h 174"/>
                    <a:gd name="T74" fmla="*/ 22 w 228"/>
                    <a:gd name="T75" fmla="*/ 120 h 174"/>
                    <a:gd name="T76" fmla="*/ 13 w 228"/>
                    <a:gd name="T77" fmla="*/ 120 h 174"/>
                    <a:gd name="T78" fmla="*/ 9 w 228"/>
                    <a:gd name="T79" fmla="*/ 129 h 174"/>
                    <a:gd name="T80" fmla="*/ 0 w 228"/>
                    <a:gd name="T81" fmla="*/ 129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8" h="174">
                      <a:moveTo>
                        <a:pt x="0" y="129"/>
                      </a:moveTo>
                      <a:lnTo>
                        <a:pt x="0" y="138"/>
                      </a:lnTo>
                      <a:lnTo>
                        <a:pt x="9" y="152"/>
                      </a:lnTo>
                      <a:lnTo>
                        <a:pt x="9" y="161"/>
                      </a:lnTo>
                      <a:lnTo>
                        <a:pt x="18" y="165"/>
                      </a:lnTo>
                      <a:lnTo>
                        <a:pt x="27" y="161"/>
                      </a:lnTo>
                      <a:lnTo>
                        <a:pt x="27" y="174"/>
                      </a:lnTo>
                      <a:lnTo>
                        <a:pt x="31" y="174"/>
                      </a:lnTo>
                      <a:lnTo>
                        <a:pt x="40" y="165"/>
                      </a:lnTo>
                      <a:lnTo>
                        <a:pt x="54" y="174"/>
                      </a:lnTo>
                      <a:lnTo>
                        <a:pt x="54" y="165"/>
                      </a:lnTo>
                      <a:lnTo>
                        <a:pt x="58" y="156"/>
                      </a:lnTo>
                      <a:lnTo>
                        <a:pt x="58" y="147"/>
                      </a:lnTo>
                      <a:lnTo>
                        <a:pt x="71" y="143"/>
                      </a:lnTo>
                      <a:lnTo>
                        <a:pt x="94" y="147"/>
                      </a:lnTo>
                      <a:lnTo>
                        <a:pt x="107" y="161"/>
                      </a:lnTo>
                      <a:lnTo>
                        <a:pt x="121" y="156"/>
                      </a:lnTo>
                      <a:lnTo>
                        <a:pt x="138" y="156"/>
                      </a:lnTo>
                      <a:lnTo>
                        <a:pt x="156" y="152"/>
                      </a:lnTo>
                      <a:lnTo>
                        <a:pt x="170" y="156"/>
                      </a:lnTo>
                      <a:lnTo>
                        <a:pt x="188" y="147"/>
                      </a:lnTo>
                      <a:lnTo>
                        <a:pt x="188" y="134"/>
                      </a:lnTo>
                      <a:lnTo>
                        <a:pt x="192" y="125"/>
                      </a:lnTo>
                      <a:lnTo>
                        <a:pt x="214" y="107"/>
                      </a:lnTo>
                      <a:lnTo>
                        <a:pt x="219" y="62"/>
                      </a:lnTo>
                      <a:lnTo>
                        <a:pt x="228" y="44"/>
                      </a:lnTo>
                      <a:lnTo>
                        <a:pt x="219" y="35"/>
                      </a:lnTo>
                      <a:lnTo>
                        <a:pt x="219" y="22"/>
                      </a:lnTo>
                      <a:lnTo>
                        <a:pt x="210" y="4"/>
                      </a:lnTo>
                      <a:lnTo>
                        <a:pt x="197" y="13"/>
                      </a:lnTo>
                      <a:lnTo>
                        <a:pt x="192" y="0"/>
                      </a:lnTo>
                      <a:lnTo>
                        <a:pt x="170" y="0"/>
                      </a:lnTo>
                      <a:lnTo>
                        <a:pt x="94" y="53"/>
                      </a:lnTo>
                      <a:lnTo>
                        <a:pt x="58" y="62"/>
                      </a:lnTo>
                      <a:lnTo>
                        <a:pt x="58" y="98"/>
                      </a:lnTo>
                      <a:lnTo>
                        <a:pt x="58" y="111"/>
                      </a:lnTo>
                      <a:lnTo>
                        <a:pt x="49" y="120"/>
                      </a:lnTo>
                      <a:lnTo>
                        <a:pt x="22" y="120"/>
                      </a:lnTo>
                      <a:lnTo>
                        <a:pt x="13" y="120"/>
                      </a:lnTo>
                      <a:lnTo>
                        <a:pt x="9" y="129"/>
                      </a:lnTo>
                      <a:lnTo>
                        <a:pt x="0" y="12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07" name="Freeform 41">
                  <a:extLst>
                    <a:ext uri="{FF2B5EF4-FFF2-40B4-BE49-F238E27FC236}">
                      <a16:creationId xmlns:a16="http://schemas.microsoft.com/office/drawing/2014/main" id="{EC34C773-D42D-4A3C-B92D-31C6BEFABC0B}"/>
                    </a:ext>
                  </a:extLst>
                </p:cNvPr>
                <p:cNvSpPr>
                  <a:spLocks/>
                </p:cNvSpPr>
                <p:nvPr/>
              </p:nvSpPr>
              <p:spPr bwMode="gray">
                <a:xfrm>
                  <a:off x="2727" y="2574"/>
                  <a:ext cx="161" cy="147"/>
                </a:xfrm>
                <a:custGeom>
                  <a:avLst/>
                  <a:gdLst>
                    <a:gd name="T0" fmla="*/ 5 w 161"/>
                    <a:gd name="T1" fmla="*/ 111 h 147"/>
                    <a:gd name="T2" fmla="*/ 0 w 161"/>
                    <a:gd name="T3" fmla="*/ 98 h 147"/>
                    <a:gd name="T4" fmla="*/ 0 w 161"/>
                    <a:gd name="T5" fmla="*/ 80 h 147"/>
                    <a:gd name="T6" fmla="*/ 9 w 161"/>
                    <a:gd name="T7" fmla="*/ 76 h 147"/>
                    <a:gd name="T8" fmla="*/ 14 w 161"/>
                    <a:gd name="T9" fmla="*/ 67 h 147"/>
                    <a:gd name="T10" fmla="*/ 14 w 161"/>
                    <a:gd name="T11" fmla="*/ 49 h 147"/>
                    <a:gd name="T12" fmla="*/ 9 w 161"/>
                    <a:gd name="T13" fmla="*/ 40 h 147"/>
                    <a:gd name="T14" fmla="*/ 14 w 161"/>
                    <a:gd name="T15" fmla="*/ 31 h 147"/>
                    <a:gd name="T16" fmla="*/ 14 w 161"/>
                    <a:gd name="T17" fmla="*/ 22 h 147"/>
                    <a:gd name="T18" fmla="*/ 18 w 161"/>
                    <a:gd name="T19" fmla="*/ 13 h 147"/>
                    <a:gd name="T20" fmla="*/ 18 w 161"/>
                    <a:gd name="T21" fmla="*/ 4 h 147"/>
                    <a:gd name="T22" fmla="*/ 31 w 161"/>
                    <a:gd name="T23" fmla="*/ 0 h 147"/>
                    <a:gd name="T24" fmla="*/ 54 w 161"/>
                    <a:gd name="T25" fmla="*/ 4 h 147"/>
                    <a:gd name="T26" fmla="*/ 67 w 161"/>
                    <a:gd name="T27" fmla="*/ 18 h 147"/>
                    <a:gd name="T28" fmla="*/ 81 w 161"/>
                    <a:gd name="T29" fmla="*/ 13 h 147"/>
                    <a:gd name="T30" fmla="*/ 98 w 161"/>
                    <a:gd name="T31" fmla="*/ 13 h 147"/>
                    <a:gd name="T32" fmla="*/ 116 w 161"/>
                    <a:gd name="T33" fmla="*/ 9 h 147"/>
                    <a:gd name="T34" fmla="*/ 130 w 161"/>
                    <a:gd name="T35" fmla="*/ 13 h 147"/>
                    <a:gd name="T36" fmla="*/ 148 w 161"/>
                    <a:gd name="T37" fmla="*/ 4 h 147"/>
                    <a:gd name="T38" fmla="*/ 152 w 161"/>
                    <a:gd name="T39" fmla="*/ 9 h 147"/>
                    <a:gd name="T40" fmla="*/ 161 w 161"/>
                    <a:gd name="T41" fmla="*/ 22 h 147"/>
                    <a:gd name="T42" fmla="*/ 161 w 161"/>
                    <a:gd name="T43" fmla="*/ 35 h 147"/>
                    <a:gd name="T44" fmla="*/ 152 w 161"/>
                    <a:gd name="T45" fmla="*/ 40 h 147"/>
                    <a:gd name="T46" fmla="*/ 148 w 161"/>
                    <a:gd name="T47" fmla="*/ 67 h 147"/>
                    <a:gd name="T48" fmla="*/ 143 w 161"/>
                    <a:gd name="T49" fmla="*/ 67 h 147"/>
                    <a:gd name="T50" fmla="*/ 139 w 161"/>
                    <a:gd name="T51" fmla="*/ 80 h 147"/>
                    <a:gd name="T52" fmla="*/ 130 w 161"/>
                    <a:gd name="T53" fmla="*/ 85 h 147"/>
                    <a:gd name="T54" fmla="*/ 116 w 161"/>
                    <a:gd name="T55" fmla="*/ 107 h 147"/>
                    <a:gd name="T56" fmla="*/ 107 w 161"/>
                    <a:gd name="T57" fmla="*/ 102 h 147"/>
                    <a:gd name="T58" fmla="*/ 98 w 161"/>
                    <a:gd name="T59" fmla="*/ 102 h 147"/>
                    <a:gd name="T60" fmla="*/ 90 w 161"/>
                    <a:gd name="T61" fmla="*/ 129 h 147"/>
                    <a:gd name="T62" fmla="*/ 85 w 161"/>
                    <a:gd name="T63" fmla="*/ 134 h 147"/>
                    <a:gd name="T64" fmla="*/ 81 w 161"/>
                    <a:gd name="T65" fmla="*/ 134 h 147"/>
                    <a:gd name="T66" fmla="*/ 81 w 161"/>
                    <a:gd name="T67" fmla="*/ 138 h 147"/>
                    <a:gd name="T68" fmla="*/ 67 w 161"/>
                    <a:gd name="T69" fmla="*/ 138 h 147"/>
                    <a:gd name="T70" fmla="*/ 63 w 161"/>
                    <a:gd name="T71" fmla="*/ 134 h 147"/>
                    <a:gd name="T72" fmla="*/ 58 w 161"/>
                    <a:gd name="T73" fmla="*/ 143 h 147"/>
                    <a:gd name="T74" fmla="*/ 49 w 161"/>
                    <a:gd name="T75" fmla="*/ 147 h 147"/>
                    <a:gd name="T76" fmla="*/ 40 w 161"/>
                    <a:gd name="T77" fmla="*/ 138 h 147"/>
                    <a:gd name="T78" fmla="*/ 36 w 161"/>
                    <a:gd name="T79" fmla="*/ 129 h 147"/>
                    <a:gd name="T80" fmla="*/ 23 w 161"/>
                    <a:gd name="T81" fmla="*/ 116 h 147"/>
                    <a:gd name="T82" fmla="*/ 5 w 161"/>
                    <a:gd name="T83" fmla="*/ 1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1" h="147">
                      <a:moveTo>
                        <a:pt x="5" y="111"/>
                      </a:moveTo>
                      <a:lnTo>
                        <a:pt x="0" y="98"/>
                      </a:lnTo>
                      <a:lnTo>
                        <a:pt x="0" y="80"/>
                      </a:lnTo>
                      <a:lnTo>
                        <a:pt x="9" y="76"/>
                      </a:lnTo>
                      <a:lnTo>
                        <a:pt x="14" y="67"/>
                      </a:lnTo>
                      <a:lnTo>
                        <a:pt x="14" y="49"/>
                      </a:lnTo>
                      <a:lnTo>
                        <a:pt x="9" y="40"/>
                      </a:lnTo>
                      <a:lnTo>
                        <a:pt x="14" y="31"/>
                      </a:lnTo>
                      <a:lnTo>
                        <a:pt x="14" y="22"/>
                      </a:lnTo>
                      <a:lnTo>
                        <a:pt x="18" y="13"/>
                      </a:lnTo>
                      <a:lnTo>
                        <a:pt x="18" y="4"/>
                      </a:lnTo>
                      <a:lnTo>
                        <a:pt x="31" y="0"/>
                      </a:lnTo>
                      <a:lnTo>
                        <a:pt x="54" y="4"/>
                      </a:lnTo>
                      <a:lnTo>
                        <a:pt x="67" y="18"/>
                      </a:lnTo>
                      <a:lnTo>
                        <a:pt x="81" y="13"/>
                      </a:lnTo>
                      <a:lnTo>
                        <a:pt x="98" y="13"/>
                      </a:lnTo>
                      <a:lnTo>
                        <a:pt x="116" y="9"/>
                      </a:lnTo>
                      <a:lnTo>
                        <a:pt x="130" y="13"/>
                      </a:lnTo>
                      <a:lnTo>
                        <a:pt x="148" y="4"/>
                      </a:lnTo>
                      <a:lnTo>
                        <a:pt x="152" y="9"/>
                      </a:lnTo>
                      <a:lnTo>
                        <a:pt x="161" y="22"/>
                      </a:lnTo>
                      <a:lnTo>
                        <a:pt x="161" y="35"/>
                      </a:lnTo>
                      <a:lnTo>
                        <a:pt x="152" y="40"/>
                      </a:lnTo>
                      <a:lnTo>
                        <a:pt x="148" y="67"/>
                      </a:lnTo>
                      <a:lnTo>
                        <a:pt x="143" y="67"/>
                      </a:lnTo>
                      <a:lnTo>
                        <a:pt x="139" y="80"/>
                      </a:lnTo>
                      <a:lnTo>
                        <a:pt x="130" y="85"/>
                      </a:lnTo>
                      <a:lnTo>
                        <a:pt x="116" y="107"/>
                      </a:lnTo>
                      <a:lnTo>
                        <a:pt x="107" y="102"/>
                      </a:lnTo>
                      <a:lnTo>
                        <a:pt x="98" y="102"/>
                      </a:lnTo>
                      <a:lnTo>
                        <a:pt x="90" y="129"/>
                      </a:lnTo>
                      <a:lnTo>
                        <a:pt x="85" y="134"/>
                      </a:lnTo>
                      <a:lnTo>
                        <a:pt x="81" y="134"/>
                      </a:lnTo>
                      <a:lnTo>
                        <a:pt x="81" y="138"/>
                      </a:lnTo>
                      <a:lnTo>
                        <a:pt x="67" y="138"/>
                      </a:lnTo>
                      <a:lnTo>
                        <a:pt x="63" y="134"/>
                      </a:lnTo>
                      <a:lnTo>
                        <a:pt x="58" y="143"/>
                      </a:lnTo>
                      <a:lnTo>
                        <a:pt x="49" y="147"/>
                      </a:lnTo>
                      <a:lnTo>
                        <a:pt x="40" y="138"/>
                      </a:lnTo>
                      <a:lnTo>
                        <a:pt x="36" y="129"/>
                      </a:lnTo>
                      <a:lnTo>
                        <a:pt x="23" y="116"/>
                      </a:lnTo>
                      <a:lnTo>
                        <a:pt x="5" y="111"/>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08" name="Freeform 42">
                  <a:extLst>
                    <a:ext uri="{FF2B5EF4-FFF2-40B4-BE49-F238E27FC236}">
                      <a16:creationId xmlns:a16="http://schemas.microsoft.com/office/drawing/2014/main" id="{15FFCDBE-CD0C-4F84-922F-0F46D1812C4B}"/>
                    </a:ext>
                  </a:extLst>
                </p:cNvPr>
                <p:cNvSpPr>
                  <a:spLocks noEditPoints="1"/>
                </p:cNvSpPr>
                <p:nvPr/>
              </p:nvSpPr>
              <p:spPr bwMode="gray">
                <a:xfrm>
                  <a:off x="2450" y="2596"/>
                  <a:ext cx="40" cy="31"/>
                </a:xfrm>
                <a:custGeom>
                  <a:avLst/>
                  <a:gdLst>
                    <a:gd name="T0" fmla="*/ 0 w 40"/>
                    <a:gd name="T1" fmla="*/ 9 h 31"/>
                    <a:gd name="T2" fmla="*/ 5 w 40"/>
                    <a:gd name="T3" fmla="*/ 13 h 31"/>
                    <a:gd name="T4" fmla="*/ 14 w 40"/>
                    <a:gd name="T5" fmla="*/ 13 h 31"/>
                    <a:gd name="T6" fmla="*/ 14 w 40"/>
                    <a:gd name="T7" fmla="*/ 18 h 31"/>
                    <a:gd name="T8" fmla="*/ 23 w 40"/>
                    <a:gd name="T9" fmla="*/ 13 h 31"/>
                    <a:gd name="T10" fmla="*/ 14 w 40"/>
                    <a:gd name="T11" fmla="*/ 22 h 31"/>
                    <a:gd name="T12" fmla="*/ 14 w 40"/>
                    <a:gd name="T13" fmla="*/ 27 h 31"/>
                    <a:gd name="T14" fmla="*/ 23 w 40"/>
                    <a:gd name="T15" fmla="*/ 31 h 31"/>
                    <a:gd name="T16" fmla="*/ 27 w 40"/>
                    <a:gd name="T17" fmla="*/ 22 h 31"/>
                    <a:gd name="T18" fmla="*/ 40 w 40"/>
                    <a:gd name="T19" fmla="*/ 13 h 31"/>
                    <a:gd name="T20" fmla="*/ 40 w 40"/>
                    <a:gd name="T21" fmla="*/ 5 h 31"/>
                    <a:gd name="T22" fmla="*/ 27 w 40"/>
                    <a:gd name="T23" fmla="*/ 0 h 31"/>
                    <a:gd name="T24" fmla="*/ 0 w 40"/>
                    <a:gd name="T25" fmla="*/ 9 h 31"/>
                    <a:gd name="T26" fmla="*/ 14 w 40"/>
                    <a:gd name="T27" fmla="*/ 22 h 31"/>
                    <a:gd name="T28" fmla="*/ 9 w 40"/>
                    <a:gd name="T29" fmla="*/ 22 h 31"/>
                    <a:gd name="T30" fmla="*/ 9 w 40"/>
                    <a:gd name="T31" fmla="*/ 18 h 31"/>
                    <a:gd name="T32" fmla="*/ 5 w 40"/>
                    <a:gd name="T33" fmla="*/ 18 h 31"/>
                    <a:gd name="T34" fmla="*/ 5 w 40"/>
                    <a:gd name="T35" fmla="*/ 22 h 31"/>
                    <a:gd name="T36" fmla="*/ 5 w 40"/>
                    <a:gd name="T37" fmla="*/ 31 h 31"/>
                    <a:gd name="T38" fmla="*/ 14 w 40"/>
                    <a:gd name="T39"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31">
                      <a:moveTo>
                        <a:pt x="0" y="9"/>
                      </a:moveTo>
                      <a:lnTo>
                        <a:pt x="5" y="13"/>
                      </a:lnTo>
                      <a:lnTo>
                        <a:pt x="14" y="13"/>
                      </a:lnTo>
                      <a:lnTo>
                        <a:pt x="14" y="18"/>
                      </a:lnTo>
                      <a:lnTo>
                        <a:pt x="23" y="13"/>
                      </a:lnTo>
                      <a:lnTo>
                        <a:pt x="14" y="22"/>
                      </a:lnTo>
                      <a:lnTo>
                        <a:pt x="14" y="27"/>
                      </a:lnTo>
                      <a:lnTo>
                        <a:pt x="23" y="31"/>
                      </a:lnTo>
                      <a:lnTo>
                        <a:pt x="27" y="22"/>
                      </a:lnTo>
                      <a:lnTo>
                        <a:pt x="40" y="13"/>
                      </a:lnTo>
                      <a:lnTo>
                        <a:pt x="40" y="5"/>
                      </a:lnTo>
                      <a:lnTo>
                        <a:pt x="27" y="0"/>
                      </a:lnTo>
                      <a:lnTo>
                        <a:pt x="0" y="9"/>
                      </a:lnTo>
                      <a:close/>
                      <a:moveTo>
                        <a:pt x="14" y="22"/>
                      </a:moveTo>
                      <a:lnTo>
                        <a:pt x="9" y="22"/>
                      </a:lnTo>
                      <a:lnTo>
                        <a:pt x="9" y="18"/>
                      </a:lnTo>
                      <a:lnTo>
                        <a:pt x="5" y="18"/>
                      </a:lnTo>
                      <a:lnTo>
                        <a:pt x="5" y="22"/>
                      </a:lnTo>
                      <a:lnTo>
                        <a:pt x="5" y="31"/>
                      </a:lnTo>
                      <a:lnTo>
                        <a:pt x="14" y="2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09" name="Freeform 43">
                  <a:extLst>
                    <a:ext uri="{FF2B5EF4-FFF2-40B4-BE49-F238E27FC236}">
                      <a16:creationId xmlns:a16="http://schemas.microsoft.com/office/drawing/2014/main" id="{67558CB1-3AFA-4FF4-AB15-D1126ED66B06}"/>
                    </a:ext>
                  </a:extLst>
                </p:cNvPr>
                <p:cNvSpPr>
                  <a:spLocks/>
                </p:cNvSpPr>
                <p:nvPr/>
              </p:nvSpPr>
              <p:spPr bwMode="gray">
                <a:xfrm>
                  <a:off x="3473" y="3092"/>
                  <a:ext cx="14" cy="9"/>
                </a:xfrm>
                <a:custGeom>
                  <a:avLst/>
                  <a:gdLst>
                    <a:gd name="T0" fmla="*/ 9 w 14"/>
                    <a:gd name="T1" fmla="*/ 0 h 9"/>
                    <a:gd name="T2" fmla="*/ 0 w 14"/>
                    <a:gd name="T3" fmla="*/ 0 h 9"/>
                    <a:gd name="T4" fmla="*/ 0 w 14"/>
                    <a:gd name="T5" fmla="*/ 5 h 9"/>
                    <a:gd name="T6" fmla="*/ 5 w 14"/>
                    <a:gd name="T7" fmla="*/ 9 h 9"/>
                    <a:gd name="T8" fmla="*/ 9 w 14"/>
                    <a:gd name="T9" fmla="*/ 9 h 9"/>
                    <a:gd name="T10" fmla="*/ 14 w 14"/>
                    <a:gd name="T11" fmla="*/ 5 h 9"/>
                    <a:gd name="T12" fmla="*/ 9 w 14"/>
                    <a:gd name="T13" fmla="*/ 5 h 9"/>
                    <a:gd name="T14" fmla="*/ 9 w 14"/>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0"/>
                      </a:moveTo>
                      <a:lnTo>
                        <a:pt x="0" y="0"/>
                      </a:lnTo>
                      <a:lnTo>
                        <a:pt x="0" y="5"/>
                      </a:lnTo>
                      <a:lnTo>
                        <a:pt x="5" y="9"/>
                      </a:lnTo>
                      <a:lnTo>
                        <a:pt x="9" y="9"/>
                      </a:lnTo>
                      <a:lnTo>
                        <a:pt x="14" y="5"/>
                      </a:lnTo>
                      <a:lnTo>
                        <a:pt x="9" y="5"/>
                      </a:lnTo>
                      <a:lnTo>
                        <a:pt x="9"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10" name="Freeform 44">
                  <a:extLst>
                    <a:ext uri="{FF2B5EF4-FFF2-40B4-BE49-F238E27FC236}">
                      <a16:creationId xmlns:a16="http://schemas.microsoft.com/office/drawing/2014/main" id="{8BB5BF85-6A5A-4DF4-938D-1EFFC018F076}"/>
                    </a:ext>
                  </a:extLst>
                </p:cNvPr>
                <p:cNvSpPr>
                  <a:spLocks/>
                </p:cNvSpPr>
                <p:nvPr/>
              </p:nvSpPr>
              <p:spPr bwMode="gray">
                <a:xfrm>
                  <a:off x="3102" y="2797"/>
                  <a:ext cx="23" cy="22"/>
                </a:xfrm>
                <a:custGeom>
                  <a:avLst/>
                  <a:gdLst>
                    <a:gd name="T0" fmla="*/ 0 w 23"/>
                    <a:gd name="T1" fmla="*/ 22 h 22"/>
                    <a:gd name="T2" fmla="*/ 0 w 23"/>
                    <a:gd name="T3" fmla="*/ 14 h 22"/>
                    <a:gd name="T4" fmla="*/ 0 w 23"/>
                    <a:gd name="T5" fmla="*/ 9 h 22"/>
                    <a:gd name="T6" fmla="*/ 9 w 23"/>
                    <a:gd name="T7" fmla="*/ 5 h 22"/>
                    <a:gd name="T8" fmla="*/ 18 w 23"/>
                    <a:gd name="T9" fmla="*/ 0 h 22"/>
                    <a:gd name="T10" fmla="*/ 23 w 23"/>
                    <a:gd name="T11" fmla="*/ 5 h 22"/>
                    <a:gd name="T12" fmla="*/ 23 w 23"/>
                    <a:gd name="T13" fmla="*/ 18 h 22"/>
                    <a:gd name="T14" fmla="*/ 14 w 23"/>
                    <a:gd name="T15" fmla="*/ 18 h 22"/>
                    <a:gd name="T16" fmla="*/ 9 w 23"/>
                    <a:gd name="T17" fmla="*/ 22 h 22"/>
                    <a:gd name="T18" fmla="*/ 0 w 23"/>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2">
                      <a:moveTo>
                        <a:pt x="0" y="22"/>
                      </a:moveTo>
                      <a:lnTo>
                        <a:pt x="0" y="14"/>
                      </a:lnTo>
                      <a:lnTo>
                        <a:pt x="0" y="9"/>
                      </a:lnTo>
                      <a:lnTo>
                        <a:pt x="9" y="5"/>
                      </a:lnTo>
                      <a:lnTo>
                        <a:pt x="18" y="0"/>
                      </a:lnTo>
                      <a:lnTo>
                        <a:pt x="23" y="5"/>
                      </a:lnTo>
                      <a:lnTo>
                        <a:pt x="23" y="18"/>
                      </a:lnTo>
                      <a:lnTo>
                        <a:pt x="14" y="18"/>
                      </a:lnTo>
                      <a:lnTo>
                        <a:pt x="9" y="22"/>
                      </a:lnTo>
                      <a:lnTo>
                        <a:pt x="0" y="2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11" name="Freeform 45">
                  <a:extLst>
                    <a:ext uri="{FF2B5EF4-FFF2-40B4-BE49-F238E27FC236}">
                      <a16:creationId xmlns:a16="http://schemas.microsoft.com/office/drawing/2014/main" id="{801331AA-76C6-48F5-AC91-55034F5E92DF}"/>
                    </a:ext>
                  </a:extLst>
                </p:cNvPr>
                <p:cNvSpPr>
                  <a:spLocks noEditPoints="1"/>
                </p:cNvSpPr>
                <p:nvPr/>
              </p:nvSpPr>
              <p:spPr bwMode="gray">
                <a:xfrm>
                  <a:off x="2781" y="2757"/>
                  <a:ext cx="13" cy="27"/>
                </a:xfrm>
                <a:custGeom>
                  <a:avLst/>
                  <a:gdLst>
                    <a:gd name="T0" fmla="*/ 4 w 13"/>
                    <a:gd name="T1" fmla="*/ 27 h 27"/>
                    <a:gd name="T2" fmla="*/ 4 w 13"/>
                    <a:gd name="T3" fmla="*/ 22 h 27"/>
                    <a:gd name="T4" fmla="*/ 9 w 13"/>
                    <a:gd name="T5" fmla="*/ 18 h 27"/>
                    <a:gd name="T6" fmla="*/ 4 w 13"/>
                    <a:gd name="T7" fmla="*/ 18 h 27"/>
                    <a:gd name="T8" fmla="*/ 0 w 13"/>
                    <a:gd name="T9" fmla="*/ 22 h 27"/>
                    <a:gd name="T10" fmla="*/ 0 w 13"/>
                    <a:gd name="T11" fmla="*/ 22 h 27"/>
                    <a:gd name="T12" fmla="*/ 4 w 13"/>
                    <a:gd name="T13" fmla="*/ 27 h 27"/>
                    <a:gd name="T14" fmla="*/ 13 w 13"/>
                    <a:gd name="T15" fmla="*/ 0 h 27"/>
                    <a:gd name="T16" fmla="*/ 9 w 13"/>
                    <a:gd name="T17" fmla="*/ 0 h 27"/>
                    <a:gd name="T18" fmla="*/ 13 w 13"/>
                    <a:gd name="T19" fmla="*/ 4 h 27"/>
                    <a:gd name="T20" fmla="*/ 13 w 13"/>
                    <a:gd name="T21" fmla="*/ 0 h 27"/>
                    <a:gd name="T22" fmla="*/ 13 w 13"/>
                    <a:gd name="T2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27">
                      <a:moveTo>
                        <a:pt x="4" y="27"/>
                      </a:moveTo>
                      <a:lnTo>
                        <a:pt x="4" y="22"/>
                      </a:lnTo>
                      <a:lnTo>
                        <a:pt x="9" y="18"/>
                      </a:lnTo>
                      <a:lnTo>
                        <a:pt x="4" y="18"/>
                      </a:lnTo>
                      <a:lnTo>
                        <a:pt x="0" y="22"/>
                      </a:lnTo>
                      <a:lnTo>
                        <a:pt x="0" y="22"/>
                      </a:lnTo>
                      <a:lnTo>
                        <a:pt x="4" y="27"/>
                      </a:lnTo>
                      <a:close/>
                      <a:moveTo>
                        <a:pt x="13" y="0"/>
                      </a:moveTo>
                      <a:lnTo>
                        <a:pt x="9" y="0"/>
                      </a:lnTo>
                      <a:lnTo>
                        <a:pt x="13" y="4"/>
                      </a:lnTo>
                      <a:lnTo>
                        <a:pt x="13" y="0"/>
                      </a:lnTo>
                      <a:lnTo>
                        <a:pt x="13"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12" name="Freeform 46">
                  <a:extLst>
                    <a:ext uri="{FF2B5EF4-FFF2-40B4-BE49-F238E27FC236}">
                      <a16:creationId xmlns:a16="http://schemas.microsoft.com/office/drawing/2014/main" id="{11C65D56-897B-4980-B53B-C1145F9F8A28}"/>
                    </a:ext>
                  </a:extLst>
                </p:cNvPr>
                <p:cNvSpPr>
                  <a:spLocks/>
                </p:cNvSpPr>
                <p:nvPr/>
              </p:nvSpPr>
              <p:spPr bwMode="gray">
                <a:xfrm>
                  <a:off x="2437" y="2533"/>
                  <a:ext cx="89" cy="76"/>
                </a:xfrm>
                <a:custGeom>
                  <a:avLst/>
                  <a:gdLst>
                    <a:gd name="T0" fmla="*/ 9 w 89"/>
                    <a:gd name="T1" fmla="*/ 54 h 76"/>
                    <a:gd name="T2" fmla="*/ 4 w 89"/>
                    <a:gd name="T3" fmla="*/ 63 h 76"/>
                    <a:gd name="T4" fmla="*/ 9 w 89"/>
                    <a:gd name="T5" fmla="*/ 72 h 76"/>
                    <a:gd name="T6" fmla="*/ 13 w 89"/>
                    <a:gd name="T7" fmla="*/ 72 h 76"/>
                    <a:gd name="T8" fmla="*/ 40 w 89"/>
                    <a:gd name="T9" fmla="*/ 63 h 76"/>
                    <a:gd name="T10" fmla="*/ 53 w 89"/>
                    <a:gd name="T11" fmla="*/ 68 h 76"/>
                    <a:gd name="T12" fmla="*/ 80 w 89"/>
                    <a:gd name="T13" fmla="*/ 68 h 76"/>
                    <a:gd name="T14" fmla="*/ 85 w 89"/>
                    <a:gd name="T15" fmla="*/ 76 h 76"/>
                    <a:gd name="T16" fmla="*/ 89 w 89"/>
                    <a:gd name="T17" fmla="*/ 72 h 76"/>
                    <a:gd name="T18" fmla="*/ 85 w 89"/>
                    <a:gd name="T19" fmla="*/ 59 h 76"/>
                    <a:gd name="T20" fmla="*/ 76 w 89"/>
                    <a:gd name="T21" fmla="*/ 50 h 76"/>
                    <a:gd name="T22" fmla="*/ 71 w 89"/>
                    <a:gd name="T23" fmla="*/ 36 h 76"/>
                    <a:gd name="T24" fmla="*/ 76 w 89"/>
                    <a:gd name="T25" fmla="*/ 27 h 76"/>
                    <a:gd name="T26" fmla="*/ 58 w 89"/>
                    <a:gd name="T27" fmla="*/ 9 h 76"/>
                    <a:gd name="T28" fmla="*/ 49 w 89"/>
                    <a:gd name="T29" fmla="*/ 9 h 76"/>
                    <a:gd name="T30" fmla="*/ 45 w 89"/>
                    <a:gd name="T31" fmla="*/ 0 h 76"/>
                    <a:gd name="T32" fmla="*/ 18 w 89"/>
                    <a:gd name="T33" fmla="*/ 5 h 76"/>
                    <a:gd name="T34" fmla="*/ 13 w 89"/>
                    <a:gd name="T35" fmla="*/ 9 h 76"/>
                    <a:gd name="T36" fmla="*/ 9 w 89"/>
                    <a:gd name="T37" fmla="*/ 14 h 76"/>
                    <a:gd name="T38" fmla="*/ 0 w 89"/>
                    <a:gd name="T39" fmla="*/ 27 h 76"/>
                    <a:gd name="T40" fmla="*/ 9 w 89"/>
                    <a:gd name="T41" fmla="*/ 41 h 76"/>
                    <a:gd name="T42" fmla="*/ 13 w 89"/>
                    <a:gd name="T43" fmla="*/ 45 h 76"/>
                    <a:gd name="T44" fmla="*/ 36 w 89"/>
                    <a:gd name="T45" fmla="*/ 45 h 76"/>
                    <a:gd name="T46" fmla="*/ 45 w 89"/>
                    <a:gd name="T47" fmla="*/ 45 h 76"/>
                    <a:gd name="T48" fmla="*/ 49 w 89"/>
                    <a:gd name="T49" fmla="*/ 50 h 76"/>
                    <a:gd name="T50" fmla="*/ 45 w 89"/>
                    <a:gd name="T51" fmla="*/ 54 h 76"/>
                    <a:gd name="T52" fmla="*/ 36 w 89"/>
                    <a:gd name="T53" fmla="*/ 50 h 76"/>
                    <a:gd name="T54" fmla="*/ 27 w 89"/>
                    <a:gd name="T55" fmla="*/ 59 h 76"/>
                    <a:gd name="T56" fmla="*/ 9 w 89"/>
                    <a:gd name="T57" fmla="*/ 5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 h="76">
                      <a:moveTo>
                        <a:pt x="9" y="54"/>
                      </a:moveTo>
                      <a:lnTo>
                        <a:pt x="4" y="63"/>
                      </a:lnTo>
                      <a:lnTo>
                        <a:pt x="9" y="72"/>
                      </a:lnTo>
                      <a:lnTo>
                        <a:pt x="13" y="72"/>
                      </a:lnTo>
                      <a:lnTo>
                        <a:pt x="40" y="63"/>
                      </a:lnTo>
                      <a:lnTo>
                        <a:pt x="53" y="68"/>
                      </a:lnTo>
                      <a:lnTo>
                        <a:pt x="80" y="68"/>
                      </a:lnTo>
                      <a:lnTo>
                        <a:pt x="85" y="76"/>
                      </a:lnTo>
                      <a:lnTo>
                        <a:pt x="89" y="72"/>
                      </a:lnTo>
                      <a:lnTo>
                        <a:pt x="85" y="59"/>
                      </a:lnTo>
                      <a:lnTo>
                        <a:pt x="76" y="50"/>
                      </a:lnTo>
                      <a:lnTo>
                        <a:pt x="71" y="36"/>
                      </a:lnTo>
                      <a:lnTo>
                        <a:pt x="76" y="27"/>
                      </a:lnTo>
                      <a:lnTo>
                        <a:pt x="58" y="9"/>
                      </a:lnTo>
                      <a:lnTo>
                        <a:pt x="49" y="9"/>
                      </a:lnTo>
                      <a:lnTo>
                        <a:pt x="45" y="0"/>
                      </a:lnTo>
                      <a:lnTo>
                        <a:pt x="18" y="5"/>
                      </a:lnTo>
                      <a:lnTo>
                        <a:pt x="13" y="9"/>
                      </a:lnTo>
                      <a:lnTo>
                        <a:pt x="9" y="14"/>
                      </a:lnTo>
                      <a:lnTo>
                        <a:pt x="0" y="27"/>
                      </a:lnTo>
                      <a:lnTo>
                        <a:pt x="9" y="41"/>
                      </a:lnTo>
                      <a:lnTo>
                        <a:pt x="13" y="45"/>
                      </a:lnTo>
                      <a:lnTo>
                        <a:pt x="36" y="45"/>
                      </a:lnTo>
                      <a:lnTo>
                        <a:pt x="45" y="45"/>
                      </a:lnTo>
                      <a:lnTo>
                        <a:pt x="49" y="50"/>
                      </a:lnTo>
                      <a:lnTo>
                        <a:pt x="45" y="54"/>
                      </a:lnTo>
                      <a:lnTo>
                        <a:pt x="36" y="50"/>
                      </a:lnTo>
                      <a:lnTo>
                        <a:pt x="27" y="59"/>
                      </a:lnTo>
                      <a:lnTo>
                        <a:pt x="9" y="5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13" name="Freeform 47">
                  <a:extLst>
                    <a:ext uri="{FF2B5EF4-FFF2-40B4-BE49-F238E27FC236}">
                      <a16:creationId xmlns:a16="http://schemas.microsoft.com/office/drawing/2014/main" id="{0E422A89-F73E-4490-8B44-79653EF79CF6}"/>
                    </a:ext>
                  </a:extLst>
                </p:cNvPr>
                <p:cNvSpPr>
                  <a:spLocks/>
                </p:cNvSpPr>
                <p:nvPr/>
              </p:nvSpPr>
              <p:spPr bwMode="gray">
                <a:xfrm>
                  <a:off x="2490" y="2636"/>
                  <a:ext cx="45" cy="45"/>
                </a:xfrm>
                <a:custGeom>
                  <a:avLst/>
                  <a:gdLst>
                    <a:gd name="T0" fmla="*/ 0 w 45"/>
                    <a:gd name="T1" fmla="*/ 14 h 45"/>
                    <a:gd name="T2" fmla="*/ 5 w 45"/>
                    <a:gd name="T3" fmla="*/ 27 h 45"/>
                    <a:gd name="T4" fmla="*/ 9 w 45"/>
                    <a:gd name="T5" fmla="*/ 27 h 45"/>
                    <a:gd name="T6" fmla="*/ 9 w 45"/>
                    <a:gd name="T7" fmla="*/ 36 h 45"/>
                    <a:gd name="T8" fmla="*/ 27 w 45"/>
                    <a:gd name="T9" fmla="*/ 45 h 45"/>
                    <a:gd name="T10" fmla="*/ 32 w 45"/>
                    <a:gd name="T11" fmla="*/ 40 h 45"/>
                    <a:gd name="T12" fmla="*/ 41 w 45"/>
                    <a:gd name="T13" fmla="*/ 36 h 45"/>
                    <a:gd name="T14" fmla="*/ 41 w 45"/>
                    <a:gd name="T15" fmla="*/ 32 h 45"/>
                    <a:gd name="T16" fmla="*/ 45 w 45"/>
                    <a:gd name="T17" fmla="*/ 32 h 45"/>
                    <a:gd name="T18" fmla="*/ 45 w 45"/>
                    <a:gd name="T19" fmla="*/ 23 h 45"/>
                    <a:gd name="T20" fmla="*/ 41 w 45"/>
                    <a:gd name="T21" fmla="*/ 23 h 45"/>
                    <a:gd name="T22" fmla="*/ 41 w 45"/>
                    <a:gd name="T23" fmla="*/ 14 h 45"/>
                    <a:gd name="T24" fmla="*/ 36 w 45"/>
                    <a:gd name="T25" fmla="*/ 5 h 45"/>
                    <a:gd name="T26" fmla="*/ 32 w 45"/>
                    <a:gd name="T27" fmla="*/ 0 h 45"/>
                    <a:gd name="T28" fmla="*/ 14 w 45"/>
                    <a:gd name="T29" fmla="*/ 5 h 45"/>
                    <a:gd name="T30" fmla="*/ 9 w 45"/>
                    <a:gd name="T31" fmla="*/ 9 h 45"/>
                    <a:gd name="T32" fmla="*/ 0 w 45"/>
                    <a:gd name="T33" fmla="*/ 1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45">
                      <a:moveTo>
                        <a:pt x="0" y="14"/>
                      </a:moveTo>
                      <a:lnTo>
                        <a:pt x="5" y="27"/>
                      </a:lnTo>
                      <a:lnTo>
                        <a:pt x="9" y="27"/>
                      </a:lnTo>
                      <a:lnTo>
                        <a:pt x="9" y="36"/>
                      </a:lnTo>
                      <a:lnTo>
                        <a:pt x="27" y="45"/>
                      </a:lnTo>
                      <a:lnTo>
                        <a:pt x="32" y="40"/>
                      </a:lnTo>
                      <a:lnTo>
                        <a:pt x="41" y="36"/>
                      </a:lnTo>
                      <a:lnTo>
                        <a:pt x="41" y="32"/>
                      </a:lnTo>
                      <a:lnTo>
                        <a:pt x="45" y="32"/>
                      </a:lnTo>
                      <a:lnTo>
                        <a:pt x="45" y="23"/>
                      </a:lnTo>
                      <a:lnTo>
                        <a:pt x="41" y="23"/>
                      </a:lnTo>
                      <a:lnTo>
                        <a:pt x="41" y="14"/>
                      </a:lnTo>
                      <a:lnTo>
                        <a:pt x="36" y="5"/>
                      </a:lnTo>
                      <a:lnTo>
                        <a:pt x="32" y="0"/>
                      </a:lnTo>
                      <a:lnTo>
                        <a:pt x="14" y="5"/>
                      </a:lnTo>
                      <a:lnTo>
                        <a:pt x="9" y="9"/>
                      </a:lnTo>
                      <a:lnTo>
                        <a:pt x="0" y="1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14" name="Freeform 48">
                  <a:extLst>
                    <a:ext uri="{FF2B5EF4-FFF2-40B4-BE49-F238E27FC236}">
                      <a16:creationId xmlns:a16="http://schemas.microsoft.com/office/drawing/2014/main" id="{8AE9A8E9-B1FC-43DD-A6AD-4B99A3840F9D}"/>
                    </a:ext>
                  </a:extLst>
                </p:cNvPr>
                <p:cNvSpPr>
                  <a:spLocks/>
                </p:cNvSpPr>
                <p:nvPr/>
              </p:nvSpPr>
              <p:spPr bwMode="gray">
                <a:xfrm>
                  <a:off x="3272" y="2605"/>
                  <a:ext cx="152" cy="201"/>
                </a:xfrm>
                <a:custGeom>
                  <a:avLst/>
                  <a:gdLst>
                    <a:gd name="T0" fmla="*/ 9 w 152"/>
                    <a:gd name="T1" fmla="*/ 201 h 201"/>
                    <a:gd name="T2" fmla="*/ 31 w 152"/>
                    <a:gd name="T3" fmla="*/ 179 h 201"/>
                    <a:gd name="T4" fmla="*/ 58 w 152"/>
                    <a:gd name="T5" fmla="*/ 147 h 201"/>
                    <a:gd name="T6" fmla="*/ 63 w 152"/>
                    <a:gd name="T7" fmla="*/ 147 h 201"/>
                    <a:gd name="T8" fmla="*/ 72 w 152"/>
                    <a:gd name="T9" fmla="*/ 139 h 201"/>
                    <a:gd name="T10" fmla="*/ 85 w 152"/>
                    <a:gd name="T11" fmla="*/ 134 h 201"/>
                    <a:gd name="T12" fmla="*/ 116 w 152"/>
                    <a:gd name="T13" fmla="*/ 94 h 201"/>
                    <a:gd name="T14" fmla="*/ 130 w 152"/>
                    <a:gd name="T15" fmla="*/ 63 h 201"/>
                    <a:gd name="T16" fmla="*/ 143 w 152"/>
                    <a:gd name="T17" fmla="*/ 45 h 201"/>
                    <a:gd name="T18" fmla="*/ 139 w 152"/>
                    <a:gd name="T19" fmla="*/ 40 h 201"/>
                    <a:gd name="T20" fmla="*/ 148 w 152"/>
                    <a:gd name="T21" fmla="*/ 27 h 201"/>
                    <a:gd name="T22" fmla="*/ 152 w 152"/>
                    <a:gd name="T23" fmla="*/ 22 h 201"/>
                    <a:gd name="T24" fmla="*/ 148 w 152"/>
                    <a:gd name="T25" fmla="*/ 22 h 201"/>
                    <a:gd name="T26" fmla="*/ 148 w 152"/>
                    <a:gd name="T27" fmla="*/ 0 h 201"/>
                    <a:gd name="T28" fmla="*/ 139 w 152"/>
                    <a:gd name="T29" fmla="*/ 0 h 201"/>
                    <a:gd name="T30" fmla="*/ 134 w 152"/>
                    <a:gd name="T31" fmla="*/ 4 h 201"/>
                    <a:gd name="T32" fmla="*/ 130 w 152"/>
                    <a:gd name="T33" fmla="*/ 4 h 201"/>
                    <a:gd name="T34" fmla="*/ 103 w 152"/>
                    <a:gd name="T35" fmla="*/ 13 h 201"/>
                    <a:gd name="T36" fmla="*/ 89 w 152"/>
                    <a:gd name="T37" fmla="*/ 13 h 201"/>
                    <a:gd name="T38" fmla="*/ 81 w 152"/>
                    <a:gd name="T39" fmla="*/ 22 h 201"/>
                    <a:gd name="T40" fmla="*/ 67 w 152"/>
                    <a:gd name="T41" fmla="*/ 18 h 201"/>
                    <a:gd name="T42" fmla="*/ 54 w 152"/>
                    <a:gd name="T43" fmla="*/ 22 h 201"/>
                    <a:gd name="T44" fmla="*/ 36 w 152"/>
                    <a:gd name="T45" fmla="*/ 9 h 201"/>
                    <a:gd name="T46" fmla="*/ 31 w 152"/>
                    <a:gd name="T47" fmla="*/ 13 h 201"/>
                    <a:gd name="T48" fmla="*/ 27 w 152"/>
                    <a:gd name="T49" fmla="*/ 22 h 201"/>
                    <a:gd name="T50" fmla="*/ 36 w 152"/>
                    <a:gd name="T51" fmla="*/ 36 h 201"/>
                    <a:gd name="T52" fmla="*/ 45 w 152"/>
                    <a:gd name="T53" fmla="*/ 45 h 201"/>
                    <a:gd name="T54" fmla="*/ 81 w 152"/>
                    <a:gd name="T55" fmla="*/ 63 h 201"/>
                    <a:gd name="T56" fmla="*/ 103 w 152"/>
                    <a:gd name="T57" fmla="*/ 63 h 201"/>
                    <a:gd name="T58" fmla="*/ 54 w 152"/>
                    <a:gd name="T59" fmla="*/ 103 h 201"/>
                    <a:gd name="T60" fmla="*/ 27 w 152"/>
                    <a:gd name="T61" fmla="*/ 107 h 201"/>
                    <a:gd name="T62" fmla="*/ 18 w 152"/>
                    <a:gd name="T63" fmla="*/ 116 h 201"/>
                    <a:gd name="T64" fmla="*/ 0 w 152"/>
                    <a:gd name="T65" fmla="*/ 130 h 201"/>
                    <a:gd name="T66" fmla="*/ 5 w 152"/>
                    <a:gd name="T67" fmla="*/ 183 h 201"/>
                    <a:gd name="T68" fmla="*/ 9 w 152"/>
                    <a:gd name="T6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2" h="201">
                      <a:moveTo>
                        <a:pt x="9" y="201"/>
                      </a:moveTo>
                      <a:lnTo>
                        <a:pt x="31" y="179"/>
                      </a:lnTo>
                      <a:lnTo>
                        <a:pt x="58" y="147"/>
                      </a:lnTo>
                      <a:lnTo>
                        <a:pt x="63" y="147"/>
                      </a:lnTo>
                      <a:lnTo>
                        <a:pt x="72" y="139"/>
                      </a:lnTo>
                      <a:lnTo>
                        <a:pt x="85" y="134"/>
                      </a:lnTo>
                      <a:lnTo>
                        <a:pt x="116" y="94"/>
                      </a:lnTo>
                      <a:lnTo>
                        <a:pt x="130" y="63"/>
                      </a:lnTo>
                      <a:lnTo>
                        <a:pt x="143" y="45"/>
                      </a:lnTo>
                      <a:lnTo>
                        <a:pt x="139" y="40"/>
                      </a:lnTo>
                      <a:lnTo>
                        <a:pt x="148" y="27"/>
                      </a:lnTo>
                      <a:lnTo>
                        <a:pt x="152" y="22"/>
                      </a:lnTo>
                      <a:lnTo>
                        <a:pt x="148" y="22"/>
                      </a:lnTo>
                      <a:lnTo>
                        <a:pt x="148" y="0"/>
                      </a:lnTo>
                      <a:lnTo>
                        <a:pt x="139" y="0"/>
                      </a:lnTo>
                      <a:lnTo>
                        <a:pt x="134" y="4"/>
                      </a:lnTo>
                      <a:lnTo>
                        <a:pt x="130" y="4"/>
                      </a:lnTo>
                      <a:lnTo>
                        <a:pt x="103" y="13"/>
                      </a:lnTo>
                      <a:lnTo>
                        <a:pt x="89" y="13"/>
                      </a:lnTo>
                      <a:lnTo>
                        <a:pt x="81" y="22"/>
                      </a:lnTo>
                      <a:lnTo>
                        <a:pt x="67" y="18"/>
                      </a:lnTo>
                      <a:lnTo>
                        <a:pt x="54" y="22"/>
                      </a:lnTo>
                      <a:lnTo>
                        <a:pt x="36" y="9"/>
                      </a:lnTo>
                      <a:lnTo>
                        <a:pt x="31" y="13"/>
                      </a:lnTo>
                      <a:lnTo>
                        <a:pt x="27" y="22"/>
                      </a:lnTo>
                      <a:lnTo>
                        <a:pt x="36" y="36"/>
                      </a:lnTo>
                      <a:lnTo>
                        <a:pt x="45" y="45"/>
                      </a:lnTo>
                      <a:lnTo>
                        <a:pt x="81" y="63"/>
                      </a:lnTo>
                      <a:lnTo>
                        <a:pt x="103" y="63"/>
                      </a:lnTo>
                      <a:lnTo>
                        <a:pt x="54" y="103"/>
                      </a:lnTo>
                      <a:lnTo>
                        <a:pt x="27" y="107"/>
                      </a:lnTo>
                      <a:lnTo>
                        <a:pt x="18" y="116"/>
                      </a:lnTo>
                      <a:lnTo>
                        <a:pt x="0" y="130"/>
                      </a:lnTo>
                      <a:lnTo>
                        <a:pt x="5" y="183"/>
                      </a:lnTo>
                      <a:lnTo>
                        <a:pt x="9" y="201"/>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15" name="Freeform 49">
                  <a:extLst>
                    <a:ext uri="{FF2B5EF4-FFF2-40B4-BE49-F238E27FC236}">
                      <a16:creationId xmlns:a16="http://schemas.microsoft.com/office/drawing/2014/main" id="{C3C3DF61-A0DD-4ADB-9BC7-D6A94813277D}"/>
                    </a:ext>
                  </a:extLst>
                </p:cNvPr>
                <p:cNvSpPr>
                  <a:spLocks noEditPoints="1"/>
                </p:cNvSpPr>
                <p:nvPr/>
              </p:nvSpPr>
              <p:spPr bwMode="gray">
                <a:xfrm>
                  <a:off x="2915" y="3110"/>
                  <a:ext cx="241" cy="214"/>
                </a:xfrm>
                <a:custGeom>
                  <a:avLst/>
                  <a:gdLst>
                    <a:gd name="T0" fmla="*/ 9 w 241"/>
                    <a:gd name="T1" fmla="*/ 112 h 214"/>
                    <a:gd name="T2" fmla="*/ 27 w 241"/>
                    <a:gd name="T3" fmla="*/ 174 h 214"/>
                    <a:gd name="T4" fmla="*/ 31 w 241"/>
                    <a:gd name="T5" fmla="*/ 192 h 214"/>
                    <a:gd name="T6" fmla="*/ 31 w 241"/>
                    <a:gd name="T7" fmla="*/ 210 h 214"/>
                    <a:gd name="T8" fmla="*/ 53 w 241"/>
                    <a:gd name="T9" fmla="*/ 214 h 214"/>
                    <a:gd name="T10" fmla="*/ 80 w 241"/>
                    <a:gd name="T11" fmla="*/ 206 h 214"/>
                    <a:gd name="T12" fmla="*/ 98 w 241"/>
                    <a:gd name="T13" fmla="*/ 201 h 214"/>
                    <a:gd name="T14" fmla="*/ 125 w 241"/>
                    <a:gd name="T15" fmla="*/ 201 h 214"/>
                    <a:gd name="T16" fmla="*/ 134 w 241"/>
                    <a:gd name="T17" fmla="*/ 192 h 214"/>
                    <a:gd name="T18" fmla="*/ 156 w 241"/>
                    <a:gd name="T19" fmla="*/ 192 h 214"/>
                    <a:gd name="T20" fmla="*/ 174 w 241"/>
                    <a:gd name="T21" fmla="*/ 174 h 214"/>
                    <a:gd name="T22" fmla="*/ 205 w 241"/>
                    <a:gd name="T23" fmla="*/ 147 h 214"/>
                    <a:gd name="T24" fmla="*/ 232 w 241"/>
                    <a:gd name="T25" fmla="*/ 112 h 214"/>
                    <a:gd name="T26" fmla="*/ 237 w 241"/>
                    <a:gd name="T27" fmla="*/ 94 h 214"/>
                    <a:gd name="T28" fmla="*/ 241 w 241"/>
                    <a:gd name="T29" fmla="*/ 89 h 214"/>
                    <a:gd name="T30" fmla="*/ 228 w 241"/>
                    <a:gd name="T31" fmla="*/ 80 h 214"/>
                    <a:gd name="T32" fmla="*/ 210 w 241"/>
                    <a:gd name="T33" fmla="*/ 85 h 214"/>
                    <a:gd name="T34" fmla="*/ 210 w 241"/>
                    <a:gd name="T35" fmla="*/ 63 h 214"/>
                    <a:gd name="T36" fmla="*/ 223 w 241"/>
                    <a:gd name="T37" fmla="*/ 63 h 214"/>
                    <a:gd name="T38" fmla="*/ 228 w 241"/>
                    <a:gd name="T39" fmla="*/ 58 h 214"/>
                    <a:gd name="T40" fmla="*/ 223 w 241"/>
                    <a:gd name="T41" fmla="*/ 13 h 214"/>
                    <a:gd name="T42" fmla="*/ 201 w 241"/>
                    <a:gd name="T43" fmla="*/ 0 h 214"/>
                    <a:gd name="T44" fmla="*/ 187 w 241"/>
                    <a:gd name="T45" fmla="*/ 4 h 214"/>
                    <a:gd name="T46" fmla="*/ 152 w 241"/>
                    <a:gd name="T47" fmla="*/ 31 h 214"/>
                    <a:gd name="T48" fmla="*/ 138 w 241"/>
                    <a:gd name="T49" fmla="*/ 45 h 214"/>
                    <a:gd name="T50" fmla="*/ 111 w 241"/>
                    <a:gd name="T51" fmla="*/ 63 h 214"/>
                    <a:gd name="T52" fmla="*/ 103 w 241"/>
                    <a:gd name="T53" fmla="*/ 54 h 214"/>
                    <a:gd name="T54" fmla="*/ 85 w 241"/>
                    <a:gd name="T55" fmla="*/ 76 h 214"/>
                    <a:gd name="T56" fmla="*/ 62 w 241"/>
                    <a:gd name="T57" fmla="*/ 71 h 214"/>
                    <a:gd name="T58" fmla="*/ 53 w 241"/>
                    <a:gd name="T59" fmla="*/ 45 h 214"/>
                    <a:gd name="T60" fmla="*/ 44 w 241"/>
                    <a:gd name="T61" fmla="*/ 107 h 214"/>
                    <a:gd name="T62" fmla="*/ 27 w 241"/>
                    <a:gd name="T63" fmla="*/ 112 h 214"/>
                    <a:gd name="T64" fmla="*/ 13 w 241"/>
                    <a:gd name="T65" fmla="*/ 103 h 214"/>
                    <a:gd name="T66" fmla="*/ 0 w 241"/>
                    <a:gd name="T67" fmla="*/ 107 h 214"/>
                    <a:gd name="T68" fmla="*/ 170 w 241"/>
                    <a:gd name="T69" fmla="*/ 138 h 214"/>
                    <a:gd name="T70" fmla="*/ 187 w 241"/>
                    <a:gd name="T71" fmla="*/ 130 h 214"/>
                    <a:gd name="T72" fmla="*/ 183 w 241"/>
                    <a:gd name="T73" fmla="*/ 107 h 214"/>
                    <a:gd name="T74" fmla="*/ 156 w 241"/>
                    <a:gd name="T75" fmla="*/ 12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1" h="214">
                      <a:moveTo>
                        <a:pt x="0" y="107"/>
                      </a:moveTo>
                      <a:lnTo>
                        <a:pt x="9" y="112"/>
                      </a:lnTo>
                      <a:lnTo>
                        <a:pt x="27" y="156"/>
                      </a:lnTo>
                      <a:lnTo>
                        <a:pt x="27" y="174"/>
                      </a:lnTo>
                      <a:lnTo>
                        <a:pt x="22" y="174"/>
                      </a:lnTo>
                      <a:lnTo>
                        <a:pt x="31" y="192"/>
                      </a:lnTo>
                      <a:lnTo>
                        <a:pt x="27" y="197"/>
                      </a:lnTo>
                      <a:lnTo>
                        <a:pt x="31" y="210"/>
                      </a:lnTo>
                      <a:lnTo>
                        <a:pt x="36" y="206"/>
                      </a:lnTo>
                      <a:lnTo>
                        <a:pt x="53" y="214"/>
                      </a:lnTo>
                      <a:lnTo>
                        <a:pt x="58" y="206"/>
                      </a:lnTo>
                      <a:lnTo>
                        <a:pt x="80" y="206"/>
                      </a:lnTo>
                      <a:lnTo>
                        <a:pt x="80" y="201"/>
                      </a:lnTo>
                      <a:lnTo>
                        <a:pt x="98" y="201"/>
                      </a:lnTo>
                      <a:lnTo>
                        <a:pt x="120" y="206"/>
                      </a:lnTo>
                      <a:lnTo>
                        <a:pt x="125" y="201"/>
                      </a:lnTo>
                      <a:lnTo>
                        <a:pt x="138" y="201"/>
                      </a:lnTo>
                      <a:lnTo>
                        <a:pt x="134" y="192"/>
                      </a:lnTo>
                      <a:lnTo>
                        <a:pt x="152" y="197"/>
                      </a:lnTo>
                      <a:lnTo>
                        <a:pt x="156" y="192"/>
                      </a:lnTo>
                      <a:lnTo>
                        <a:pt x="161" y="183"/>
                      </a:lnTo>
                      <a:lnTo>
                        <a:pt x="174" y="174"/>
                      </a:lnTo>
                      <a:lnTo>
                        <a:pt x="192" y="156"/>
                      </a:lnTo>
                      <a:lnTo>
                        <a:pt x="205" y="147"/>
                      </a:lnTo>
                      <a:lnTo>
                        <a:pt x="223" y="116"/>
                      </a:lnTo>
                      <a:lnTo>
                        <a:pt x="232" y="112"/>
                      </a:lnTo>
                      <a:lnTo>
                        <a:pt x="237" y="103"/>
                      </a:lnTo>
                      <a:lnTo>
                        <a:pt x="237" y="94"/>
                      </a:lnTo>
                      <a:lnTo>
                        <a:pt x="237" y="85"/>
                      </a:lnTo>
                      <a:lnTo>
                        <a:pt x="241" y="89"/>
                      </a:lnTo>
                      <a:lnTo>
                        <a:pt x="241" y="76"/>
                      </a:lnTo>
                      <a:lnTo>
                        <a:pt x="228" y="80"/>
                      </a:lnTo>
                      <a:lnTo>
                        <a:pt x="223" y="85"/>
                      </a:lnTo>
                      <a:lnTo>
                        <a:pt x="210" y="85"/>
                      </a:lnTo>
                      <a:lnTo>
                        <a:pt x="205" y="80"/>
                      </a:lnTo>
                      <a:lnTo>
                        <a:pt x="210" y="63"/>
                      </a:lnTo>
                      <a:lnTo>
                        <a:pt x="219" y="58"/>
                      </a:lnTo>
                      <a:lnTo>
                        <a:pt x="223" y="63"/>
                      </a:lnTo>
                      <a:lnTo>
                        <a:pt x="228" y="63"/>
                      </a:lnTo>
                      <a:lnTo>
                        <a:pt x="228" y="58"/>
                      </a:lnTo>
                      <a:lnTo>
                        <a:pt x="228" y="49"/>
                      </a:lnTo>
                      <a:lnTo>
                        <a:pt x="223" y="13"/>
                      </a:lnTo>
                      <a:lnTo>
                        <a:pt x="223" y="9"/>
                      </a:lnTo>
                      <a:lnTo>
                        <a:pt x="201" y="0"/>
                      </a:lnTo>
                      <a:lnTo>
                        <a:pt x="192" y="0"/>
                      </a:lnTo>
                      <a:lnTo>
                        <a:pt x="187" y="4"/>
                      </a:lnTo>
                      <a:lnTo>
                        <a:pt x="174" y="9"/>
                      </a:lnTo>
                      <a:lnTo>
                        <a:pt x="152" y="31"/>
                      </a:lnTo>
                      <a:lnTo>
                        <a:pt x="152" y="36"/>
                      </a:lnTo>
                      <a:lnTo>
                        <a:pt x="138" y="45"/>
                      </a:lnTo>
                      <a:lnTo>
                        <a:pt x="134" y="58"/>
                      </a:lnTo>
                      <a:lnTo>
                        <a:pt x="111" y="63"/>
                      </a:lnTo>
                      <a:lnTo>
                        <a:pt x="107" y="58"/>
                      </a:lnTo>
                      <a:lnTo>
                        <a:pt x="103" y="54"/>
                      </a:lnTo>
                      <a:lnTo>
                        <a:pt x="98" y="54"/>
                      </a:lnTo>
                      <a:lnTo>
                        <a:pt x="85" y="76"/>
                      </a:lnTo>
                      <a:lnTo>
                        <a:pt x="62" y="80"/>
                      </a:lnTo>
                      <a:lnTo>
                        <a:pt x="62" y="71"/>
                      </a:lnTo>
                      <a:lnTo>
                        <a:pt x="62" y="63"/>
                      </a:lnTo>
                      <a:lnTo>
                        <a:pt x="53" y="45"/>
                      </a:lnTo>
                      <a:lnTo>
                        <a:pt x="53" y="107"/>
                      </a:lnTo>
                      <a:lnTo>
                        <a:pt x="44" y="107"/>
                      </a:lnTo>
                      <a:lnTo>
                        <a:pt x="44" y="116"/>
                      </a:lnTo>
                      <a:lnTo>
                        <a:pt x="27" y="112"/>
                      </a:lnTo>
                      <a:lnTo>
                        <a:pt x="13" y="112"/>
                      </a:lnTo>
                      <a:lnTo>
                        <a:pt x="13" y="103"/>
                      </a:lnTo>
                      <a:lnTo>
                        <a:pt x="9" y="103"/>
                      </a:lnTo>
                      <a:lnTo>
                        <a:pt x="0" y="107"/>
                      </a:lnTo>
                      <a:close/>
                      <a:moveTo>
                        <a:pt x="165" y="134"/>
                      </a:moveTo>
                      <a:lnTo>
                        <a:pt x="170" y="138"/>
                      </a:lnTo>
                      <a:lnTo>
                        <a:pt x="174" y="134"/>
                      </a:lnTo>
                      <a:lnTo>
                        <a:pt x="187" y="130"/>
                      </a:lnTo>
                      <a:lnTo>
                        <a:pt x="196" y="121"/>
                      </a:lnTo>
                      <a:lnTo>
                        <a:pt x="183" y="107"/>
                      </a:lnTo>
                      <a:lnTo>
                        <a:pt x="165" y="112"/>
                      </a:lnTo>
                      <a:lnTo>
                        <a:pt x="156" y="121"/>
                      </a:lnTo>
                      <a:lnTo>
                        <a:pt x="165" y="13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16" name="Freeform 50">
                  <a:extLst>
                    <a:ext uri="{FF2B5EF4-FFF2-40B4-BE49-F238E27FC236}">
                      <a16:creationId xmlns:a16="http://schemas.microsoft.com/office/drawing/2014/main" id="{87166611-2B7D-465A-97E8-15B38AB7B9E3}"/>
                    </a:ext>
                  </a:extLst>
                </p:cNvPr>
                <p:cNvSpPr>
                  <a:spLocks/>
                </p:cNvSpPr>
                <p:nvPr/>
              </p:nvSpPr>
              <p:spPr bwMode="gray">
                <a:xfrm>
                  <a:off x="3040" y="3012"/>
                  <a:ext cx="120" cy="107"/>
                </a:xfrm>
                <a:custGeom>
                  <a:avLst/>
                  <a:gdLst>
                    <a:gd name="T0" fmla="*/ 67 w 120"/>
                    <a:gd name="T1" fmla="*/ 98 h 107"/>
                    <a:gd name="T2" fmla="*/ 67 w 120"/>
                    <a:gd name="T3" fmla="*/ 93 h 107"/>
                    <a:gd name="T4" fmla="*/ 53 w 120"/>
                    <a:gd name="T5" fmla="*/ 93 h 107"/>
                    <a:gd name="T6" fmla="*/ 40 w 120"/>
                    <a:gd name="T7" fmla="*/ 76 h 107"/>
                    <a:gd name="T8" fmla="*/ 13 w 120"/>
                    <a:gd name="T9" fmla="*/ 53 h 107"/>
                    <a:gd name="T10" fmla="*/ 0 w 120"/>
                    <a:gd name="T11" fmla="*/ 31 h 107"/>
                    <a:gd name="T12" fmla="*/ 27 w 120"/>
                    <a:gd name="T13" fmla="*/ 35 h 107"/>
                    <a:gd name="T14" fmla="*/ 45 w 120"/>
                    <a:gd name="T15" fmla="*/ 18 h 107"/>
                    <a:gd name="T16" fmla="*/ 58 w 120"/>
                    <a:gd name="T17" fmla="*/ 9 h 107"/>
                    <a:gd name="T18" fmla="*/ 62 w 120"/>
                    <a:gd name="T19" fmla="*/ 4 h 107"/>
                    <a:gd name="T20" fmla="*/ 80 w 120"/>
                    <a:gd name="T21" fmla="*/ 0 h 107"/>
                    <a:gd name="T22" fmla="*/ 85 w 120"/>
                    <a:gd name="T23" fmla="*/ 4 h 107"/>
                    <a:gd name="T24" fmla="*/ 98 w 120"/>
                    <a:gd name="T25" fmla="*/ 4 h 107"/>
                    <a:gd name="T26" fmla="*/ 116 w 120"/>
                    <a:gd name="T27" fmla="*/ 13 h 107"/>
                    <a:gd name="T28" fmla="*/ 120 w 120"/>
                    <a:gd name="T29" fmla="*/ 49 h 107"/>
                    <a:gd name="T30" fmla="*/ 116 w 120"/>
                    <a:gd name="T31" fmla="*/ 58 h 107"/>
                    <a:gd name="T32" fmla="*/ 120 w 120"/>
                    <a:gd name="T33" fmla="*/ 67 h 107"/>
                    <a:gd name="T34" fmla="*/ 112 w 120"/>
                    <a:gd name="T35" fmla="*/ 89 h 107"/>
                    <a:gd name="T36" fmla="*/ 98 w 120"/>
                    <a:gd name="T37" fmla="*/ 107 h 107"/>
                    <a:gd name="T38" fmla="*/ 76 w 120"/>
                    <a:gd name="T39" fmla="*/ 98 h 107"/>
                    <a:gd name="T40" fmla="*/ 67 w 120"/>
                    <a:gd name="T41" fmla="*/ 9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 h="107">
                      <a:moveTo>
                        <a:pt x="67" y="98"/>
                      </a:moveTo>
                      <a:lnTo>
                        <a:pt x="67" y="93"/>
                      </a:lnTo>
                      <a:lnTo>
                        <a:pt x="53" y="93"/>
                      </a:lnTo>
                      <a:lnTo>
                        <a:pt x="40" y="76"/>
                      </a:lnTo>
                      <a:lnTo>
                        <a:pt x="13" y="53"/>
                      </a:lnTo>
                      <a:lnTo>
                        <a:pt x="0" y="31"/>
                      </a:lnTo>
                      <a:lnTo>
                        <a:pt x="27" y="35"/>
                      </a:lnTo>
                      <a:lnTo>
                        <a:pt x="45" y="18"/>
                      </a:lnTo>
                      <a:lnTo>
                        <a:pt x="58" y="9"/>
                      </a:lnTo>
                      <a:lnTo>
                        <a:pt x="62" y="4"/>
                      </a:lnTo>
                      <a:lnTo>
                        <a:pt x="80" y="0"/>
                      </a:lnTo>
                      <a:lnTo>
                        <a:pt x="85" y="4"/>
                      </a:lnTo>
                      <a:lnTo>
                        <a:pt x="98" y="4"/>
                      </a:lnTo>
                      <a:lnTo>
                        <a:pt x="116" y="13"/>
                      </a:lnTo>
                      <a:lnTo>
                        <a:pt x="120" y="49"/>
                      </a:lnTo>
                      <a:lnTo>
                        <a:pt x="116" y="58"/>
                      </a:lnTo>
                      <a:lnTo>
                        <a:pt x="120" y="67"/>
                      </a:lnTo>
                      <a:lnTo>
                        <a:pt x="112" y="89"/>
                      </a:lnTo>
                      <a:lnTo>
                        <a:pt x="98" y="107"/>
                      </a:lnTo>
                      <a:lnTo>
                        <a:pt x="76" y="98"/>
                      </a:lnTo>
                      <a:lnTo>
                        <a:pt x="67" y="98"/>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17" name="Freeform 51">
                  <a:extLst>
                    <a:ext uri="{FF2B5EF4-FFF2-40B4-BE49-F238E27FC236}">
                      <a16:creationId xmlns:a16="http://schemas.microsoft.com/office/drawing/2014/main" id="{E48A15F4-7162-4303-B4E7-E0A44E69021E}"/>
                    </a:ext>
                  </a:extLst>
                </p:cNvPr>
                <p:cNvSpPr>
                  <a:spLocks/>
                </p:cNvSpPr>
                <p:nvPr/>
              </p:nvSpPr>
              <p:spPr bwMode="gray">
                <a:xfrm>
                  <a:off x="2441" y="2359"/>
                  <a:ext cx="116" cy="107"/>
                </a:xfrm>
                <a:custGeom>
                  <a:avLst/>
                  <a:gdLst>
                    <a:gd name="T0" fmla="*/ 54 w 116"/>
                    <a:gd name="T1" fmla="*/ 0 h 107"/>
                    <a:gd name="T2" fmla="*/ 45 w 116"/>
                    <a:gd name="T3" fmla="*/ 23 h 107"/>
                    <a:gd name="T4" fmla="*/ 36 w 116"/>
                    <a:gd name="T5" fmla="*/ 27 h 107"/>
                    <a:gd name="T6" fmla="*/ 36 w 116"/>
                    <a:gd name="T7" fmla="*/ 36 h 107"/>
                    <a:gd name="T8" fmla="*/ 27 w 116"/>
                    <a:gd name="T9" fmla="*/ 49 h 107"/>
                    <a:gd name="T10" fmla="*/ 14 w 116"/>
                    <a:gd name="T11" fmla="*/ 58 h 107"/>
                    <a:gd name="T12" fmla="*/ 9 w 116"/>
                    <a:gd name="T13" fmla="*/ 72 h 107"/>
                    <a:gd name="T14" fmla="*/ 9 w 116"/>
                    <a:gd name="T15" fmla="*/ 76 h 107"/>
                    <a:gd name="T16" fmla="*/ 0 w 116"/>
                    <a:gd name="T17" fmla="*/ 90 h 107"/>
                    <a:gd name="T18" fmla="*/ 0 w 116"/>
                    <a:gd name="T19" fmla="*/ 94 h 107"/>
                    <a:gd name="T20" fmla="*/ 0 w 116"/>
                    <a:gd name="T21" fmla="*/ 103 h 107"/>
                    <a:gd name="T22" fmla="*/ 5 w 116"/>
                    <a:gd name="T23" fmla="*/ 107 h 107"/>
                    <a:gd name="T24" fmla="*/ 54 w 116"/>
                    <a:gd name="T25" fmla="*/ 103 h 107"/>
                    <a:gd name="T26" fmla="*/ 54 w 116"/>
                    <a:gd name="T27" fmla="*/ 76 h 107"/>
                    <a:gd name="T28" fmla="*/ 58 w 116"/>
                    <a:gd name="T29" fmla="*/ 72 h 107"/>
                    <a:gd name="T30" fmla="*/ 67 w 116"/>
                    <a:gd name="T31" fmla="*/ 72 h 107"/>
                    <a:gd name="T32" fmla="*/ 72 w 116"/>
                    <a:gd name="T33" fmla="*/ 31 h 107"/>
                    <a:gd name="T34" fmla="*/ 116 w 116"/>
                    <a:gd name="T35" fmla="*/ 31 h 107"/>
                    <a:gd name="T36" fmla="*/ 116 w 116"/>
                    <a:gd name="T37" fmla="*/ 14 h 107"/>
                    <a:gd name="T38" fmla="*/ 116 w 116"/>
                    <a:gd name="T39" fmla="*/ 5 h 107"/>
                    <a:gd name="T40" fmla="*/ 54 w 116"/>
                    <a:gd name="T41"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6" h="107">
                      <a:moveTo>
                        <a:pt x="54" y="0"/>
                      </a:moveTo>
                      <a:lnTo>
                        <a:pt x="45" y="23"/>
                      </a:lnTo>
                      <a:lnTo>
                        <a:pt x="36" y="27"/>
                      </a:lnTo>
                      <a:lnTo>
                        <a:pt x="36" y="36"/>
                      </a:lnTo>
                      <a:lnTo>
                        <a:pt x="27" y="49"/>
                      </a:lnTo>
                      <a:lnTo>
                        <a:pt x="14" y="58"/>
                      </a:lnTo>
                      <a:lnTo>
                        <a:pt x="9" y="72"/>
                      </a:lnTo>
                      <a:lnTo>
                        <a:pt x="9" y="76"/>
                      </a:lnTo>
                      <a:lnTo>
                        <a:pt x="0" y="90"/>
                      </a:lnTo>
                      <a:lnTo>
                        <a:pt x="0" y="94"/>
                      </a:lnTo>
                      <a:lnTo>
                        <a:pt x="0" y="103"/>
                      </a:lnTo>
                      <a:lnTo>
                        <a:pt x="5" y="107"/>
                      </a:lnTo>
                      <a:lnTo>
                        <a:pt x="54" y="103"/>
                      </a:lnTo>
                      <a:lnTo>
                        <a:pt x="54" y="76"/>
                      </a:lnTo>
                      <a:lnTo>
                        <a:pt x="58" y="72"/>
                      </a:lnTo>
                      <a:lnTo>
                        <a:pt x="67" y="72"/>
                      </a:lnTo>
                      <a:lnTo>
                        <a:pt x="72" y="31"/>
                      </a:lnTo>
                      <a:lnTo>
                        <a:pt x="116" y="31"/>
                      </a:lnTo>
                      <a:lnTo>
                        <a:pt x="116" y="14"/>
                      </a:lnTo>
                      <a:lnTo>
                        <a:pt x="116" y="5"/>
                      </a:lnTo>
                      <a:lnTo>
                        <a:pt x="54"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18" name="Freeform 52">
                  <a:extLst>
                    <a:ext uri="{FF2B5EF4-FFF2-40B4-BE49-F238E27FC236}">
                      <a16:creationId xmlns:a16="http://schemas.microsoft.com/office/drawing/2014/main" id="{211B0FEA-4B65-4D27-B5F3-76977318F26D}"/>
                    </a:ext>
                  </a:extLst>
                </p:cNvPr>
                <p:cNvSpPr>
                  <a:spLocks/>
                </p:cNvSpPr>
                <p:nvPr/>
              </p:nvSpPr>
              <p:spPr bwMode="gray">
                <a:xfrm>
                  <a:off x="2995" y="2435"/>
                  <a:ext cx="241" cy="291"/>
                </a:xfrm>
                <a:custGeom>
                  <a:avLst/>
                  <a:gdLst>
                    <a:gd name="T0" fmla="*/ 9 w 241"/>
                    <a:gd name="T1" fmla="*/ 174 h 291"/>
                    <a:gd name="T2" fmla="*/ 0 w 241"/>
                    <a:gd name="T3" fmla="*/ 157 h 291"/>
                    <a:gd name="T4" fmla="*/ 14 w 241"/>
                    <a:gd name="T5" fmla="*/ 139 h 291"/>
                    <a:gd name="T6" fmla="*/ 14 w 241"/>
                    <a:gd name="T7" fmla="*/ 130 h 291"/>
                    <a:gd name="T8" fmla="*/ 27 w 241"/>
                    <a:gd name="T9" fmla="*/ 116 h 291"/>
                    <a:gd name="T10" fmla="*/ 27 w 241"/>
                    <a:gd name="T11" fmla="*/ 49 h 291"/>
                    <a:gd name="T12" fmla="*/ 45 w 241"/>
                    <a:gd name="T13" fmla="*/ 23 h 291"/>
                    <a:gd name="T14" fmla="*/ 170 w 241"/>
                    <a:gd name="T15" fmla="*/ 27 h 291"/>
                    <a:gd name="T16" fmla="*/ 188 w 241"/>
                    <a:gd name="T17" fmla="*/ 14 h 291"/>
                    <a:gd name="T18" fmla="*/ 192 w 241"/>
                    <a:gd name="T19" fmla="*/ 0 h 291"/>
                    <a:gd name="T20" fmla="*/ 215 w 241"/>
                    <a:gd name="T21" fmla="*/ 27 h 291"/>
                    <a:gd name="T22" fmla="*/ 219 w 241"/>
                    <a:gd name="T23" fmla="*/ 36 h 291"/>
                    <a:gd name="T24" fmla="*/ 237 w 241"/>
                    <a:gd name="T25" fmla="*/ 72 h 291"/>
                    <a:gd name="T26" fmla="*/ 228 w 241"/>
                    <a:gd name="T27" fmla="*/ 85 h 291"/>
                    <a:gd name="T28" fmla="*/ 219 w 241"/>
                    <a:gd name="T29" fmla="*/ 112 h 291"/>
                    <a:gd name="T30" fmla="*/ 215 w 241"/>
                    <a:gd name="T31" fmla="*/ 139 h 291"/>
                    <a:gd name="T32" fmla="*/ 197 w 241"/>
                    <a:gd name="T33" fmla="*/ 157 h 291"/>
                    <a:gd name="T34" fmla="*/ 188 w 241"/>
                    <a:gd name="T35" fmla="*/ 188 h 291"/>
                    <a:gd name="T36" fmla="*/ 179 w 241"/>
                    <a:gd name="T37" fmla="*/ 224 h 291"/>
                    <a:gd name="T38" fmla="*/ 165 w 241"/>
                    <a:gd name="T39" fmla="*/ 237 h 291"/>
                    <a:gd name="T40" fmla="*/ 192 w 241"/>
                    <a:gd name="T41" fmla="*/ 255 h 291"/>
                    <a:gd name="T42" fmla="*/ 201 w 241"/>
                    <a:gd name="T43" fmla="*/ 268 h 291"/>
                    <a:gd name="T44" fmla="*/ 179 w 241"/>
                    <a:gd name="T45" fmla="*/ 277 h 291"/>
                    <a:gd name="T46" fmla="*/ 170 w 241"/>
                    <a:gd name="T47" fmla="*/ 286 h 291"/>
                    <a:gd name="T48" fmla="*/ 152 w 241"/>
                    <a:gd name="T49" fmla="*/ 291 h 291"/>
                    <a:gd name="T50" fmla="*/ 134 w 241"/>
                    <a:gd name="T51" fmla="*/ 286 h 291"/>
                    <a:gd name="T52" fmla="*/ 116 w 241"/>
                    <a:gd name="T53" fmla="*/ 277 h 291"/>
                    <a:gd name="T54" fmla="*/ 81 w 241"/>
                    <a:gd name="T55" fmla="*/ 273 h 291"/>
                    <a:gd name="T56" fmla="*/ 67 w 241"/>
                    <a:gd name="T57" fmla="*/ 255 h 291"/>
                    <a:gd name="T58" fmla="*/ 40 w 241"/>
                    <a:gd name="T59" fmla="*/ 224 h 291"/>
                    <a:gd name="T60" fmla="*/ 23 w 241"/>
                    <a:gd name="T61" fmla="*/ 215 h 291"/>
                    <a:gd name="T62" fmla="*/ 14 w 241"/>
                    <a:gd name="T63" fmla="*/ 183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1" h="291">
                      <a:moveTo>
                        <a:pt x="14" y="183"/>
                      </a:moveTo>
                      <a:lnTo>
                        <a:pt x="9" y="174"/>
                      </a:lnTo>
                      <a:lnTo>
                        <a:pt x="9" y="170"/>
                      </a:lnTo>
                      <a:lnTo>
                        <a:pt x="0" y="157"/>
                      </a:lnTo>
                      <a:lnTo>
                        <a:pt x="5" y="143"/>
                      </a:lnTo>
                      <a:lnTo>
                        <a:pt x="14" y="139"/>
                      </a:lnTo>
                      <a:lnTo>
                        <a:pt x="9" y="134"/>
                      </a:lnTo>
                      <a:lnTo>
                        <a:pt x="14" y="130"/>
                      </a:lnTo>
                      <a:lnTo>
                        <a:pt x="14" y="121"/>
                      </a:lnTo>
                      <a:lnTo>
                        <a:pt x="27" y="116"/>
                      </a:lnTo>
                      <a:lnTo>
                        <a:pt x="27" y="58"/>
                      </a:lnTo>
                      <a:lnTo>
                        <a:pt x="27" y="49"/>
                      </a:lnTo>
                      <a:lnTo>
                        <a:pt x="49" y="49"/>
                      </a:lnTo>
                      <a:lnTo>
                        <a:pt x="45" y="23"/>
                      </a:lnTo>
                      <a:lnTo>
                        <a:pt x="165" y="18"/>
                      </a:lnTo>
                      <a:lnTo>
                        <a:pt x="170" y="27"/>
                      </a:lnTo>
                      <a:lnTo>
                        <a:pt x="183" y="14"/>
                      </a:lnTo>
                      <a:lnTo>
                        <a:pt x="188" y="14"/>
                      </a:lnTo>
                      <a:lnTo>
                        <a:pt x="192" y="0"/>
                      </a:lnTo>
                      <a:lnTo>
                        <a:pt x="192" y="0"/>
                      </a:lnTo>
                      <a:lnTo>
                        <a:pt x="215" y="14"/>
                      </a:lnTo>
                      <a:lnTo>
                        <a:pt x="215" y="27"/>
                      </a:lnTo>
                      <a:lnTo>
                        <a:pt x="224" y="31"/>
                      </a:lnTo>
                      <a:lnTo>
                        <a:pt x="219" y="36"/>
                      </a:lnTo>
                      <a:lnTo>
                        <a:pt x="224" y="67"/>
                      </a:lnTo>
                      <a:lnTo>
                        <a:pt x="237" y="72"/>
                      </a:lnTo>
                      <a:lnTo>
                        <a:pt x="241" y="81"/>
                      </a:lnTo>
                      <a:lnTo>
                        <a:pt x="228" y="85"/>
                      </a:lnTo>
                      <a:lnTo>
                        <a:pt x="219" y="94"/>
                      </a:lnTo>
                      <a:lnTo>
                        <a:pt x="219" y="112"/>
                      </a:lnTo>
                      <a:lnTo>
                        <a:pt x="210" y="121"/>
                      </a:lnTo>
                      <a:lnTo>
                        <a:pt x="215" y="139"/>
                      </a:lnTo>
                      <a:lnTo>
                        <a:pt x="210" y="157"/>
                      </a:lnTo>
                      <a:lnTo>
                        <a:pt x="197" y="157"/>
                      </a:lnTo>
                      <a:lnTo>
                        <a:pt x="188" y="179"/>
                      </a:lnTo>
                      <a:lnTo>
                        <a:pt x="188" y="188"/>
                      </a:lnTo>
                      <a:lnTo>
                        <a:pt x="179" y="188"/>
                      </a:lnTo>
                      <a:lnTo>
                        <a:pt x="179" y="224"/>
                      </a:lnTo>
                      <a:lnTo>
                        <a:pt x="165" y="224"/>
                      </a:lnTo>
                      <a:lnTo>
                        <a:pt x="165" y="237"/>
                      </a:lnTo>
                      <a:lnTo>
                        <a:pt x="179" y="241"/>
                      </a:lnTo>
                      <a:lnTo>
                        <a:pt x="192" y="255"/>
                      </a:lnTo>
                      <a:lnTo>
                        <a:pt x="188" y="264"/>
                      </a:lnTo>
                      <a:lnTo>
                        <a:pt x="201" y="268"/>
                      </a:lnTo>
                      <a:lnTo>
                        <a:pt x="201" y="277"/>
                      </a:lnTo>
                      <a:lnTo>
                        <a:pt x="179" y="277"/>
                      </a:lnTo>
                      <a:lnTo>
                        <a:pt x="174" y="282"/>
                      </a:lnTo>
                      <a:lnTo>
                        <a:pt x="170" y="286"/>
                      </a:lnTo>
                      <a:lnTo>
                        <a:pt x="161" y="286"/>
                      </a:lnTo>
                      <a:lnTo>
                        <a:pt x="152" y="291"/>
                      </a:lnTo>
                      <a:lnTo>
                        <a:pt x="143" y="286"/>
                      </a:lnTo>
                      <a:lnTo>
                        <a:pt x="134" y="286"/>
                      </a:lnTo>
                      <a:lnTo>
                        <a:pt x="130" y="291"/>
                      </a:lnTo>
                      <a:lnTo>
                        <a:pt x="116" y="277"/>
                      </a:lnTo>
                      <a:lnTo>
                        <a:pt x="94" y="282"/>
                      </a:lnTo>
                      <a:lnTo>
                        <a:pt x="81" y="273"/>
                      </a:lnTo>
                      <a:lnTo>
                        <a:pt x="81" y="259"/>
                      </a:lnTo>
                      <a:lnTo>
                        <a:pt x="67" y="255"/>
                      </a:lnTo>
                      <a:lnTo>
                        <a:pt x="54" y="228"/>
                      </a:lnTo>
                      <a:lnTo>
                        <a:pt x="40" y="224"/>
                      </a:lnTo>
                      <a:lnTo>
                        <a:pt x="36" y="219"/>
                      </a:lnTo>
                      <a:lnTo>
                        <a:pt x="23" y="215"/>
                      </a:lnTo>
                      <a:lnTo>
                        <a:pt x="18" y="201"/>
                      </a:lnTo>
                      <a:lnTo>
                        <a:pt x="14" y="183"/>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19" name="Freeform 53">
                  <a:extLst>
                    <a:ext uri="{FF2B5EF4-FFF2-40B4-BE49-F238E27FC236}">
                      <a16:creationId xmlns:a16="http://schemas.microsoft.com/office/drawing/2014/main" id="{721C5529-BDD2-4BA6-BB91-3E804ABBA707}"/>
                    </a:ext>
                  </a:extLst>
                </p:cNvPr>
                <p:cNvSpPr>
                  <a:spLocks/>
                </p:cNvSpPr>
                <p:nvPr/>
              </p:nvSpPr>
              <p:spPr bwMode="gray">
                <a:xfrm>
                  <a:off x="3120" y="3168"/>
                  <a:ext cx="23" cy="27"/>
                </a:xfrm>
                <a:custGeom>
                  <a:avLst/>
                  <a:gdLst>
                    <a:gd name="T0" fmla="*/ 23 w 23"/>
                    <a:gd name="T1" fmla="*/ 22 h 27"/>
                    <a:gd name="T2" fmla="*/ 18 w 23"/>
                    <a:gd name="T3" fmla="*/ 27 h 27"/>
                    <a:gd name="T4" fmla="*/ 5 w 23"/>
                    <a:gd name="T5" fmla="*/ 27 h 27"/>
                    <a:gd name="T6" fmla="*/ 0 w 23"/>
                    <a:gd name="T7" fmla="*/ 22 h 27"/>
                    <a:gd name="T8" fmla="*/ 5 w 23"/>
                    <a:gd name="T9" fmla="*/ 5 h 27"/>
                    <a:gd name="T10" fmla="*/ 14 w 23"/>
                    <a:gd name="T11" fmla="*/ 0 h 27"/>
                    <a:gd name="T12" fmla="*/ 18 w 23"/>
                    <a:gd name="T13" fmla="*/ 5 h 27"/>
                    <a:gd name="T14" fmla="*/ 23 w 23"/>
                    <a:gd name="T15" fmla="*/ 5 h 27"/>
                    <a:gd name="T16" fmla="*/ 23 w 23"/>
                    <a:gd name="T17" fmla="*/ 9 h 27"/>
                    <a:gd name="T18" fmla="*/ 23 w 23"/>
                    <a:gd name="T19"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7">
                      <a:moveTo>
                        <a:pt x="23" y="22"/>
                      </a:moveTo>
                      <a:lnTo>
                        <a:pt x="18" y="27"/>
                      </a:lnTo>
                      <a:lnTo>
                        <a:pt x="5" y="27"/>
                      </a:lnTo>
                      <a:lnTo>
                        <a:pt x="0" y="22"/>
                      </a:lnTo>
                      <a:lnTo>
                        <a:pt x="5" y="5"/>
                      </a:lnTo>
                      <a:lnTo>
                        <a:pt x="14" y="0"/>
                      </a:lnTo>
                      <a:lnTo>
                        <a:pt x="18" y="5"/>
                      </a:lnTo>
                      <a:lnTo>
                        <a:pt x="23" y="5"/>
                      </a:lnTo>
                      <a:lnTo>
                        <a:pt x="23" y="9"/>
                      </a:lnTo>
                      <a:lnTo>
                        <a:pt x="23" y="2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20" name="Freeform 54">
                  <a:extLst>
                    <a:ext uri="{FF2B5EF4-FFF2-40B4-BE49-F238E27FC236}">
                      <a16:creationId xmlns:a16="http://schemas.microsoft.com/office/drawing/2014/main" id="{860BB4C5-E253-4AD7-9349-157D7DDC7610}"/>
                    </a:ext>
                  </a:extLst>
                </p:cNvPr>
                <p:cNvSpPr>
                  <a:spLocks/>
                </p:cNvSpPr>
                <p:nvPr/>
              </p:nvSpPr>
              <p:spPr bwMode="gray">
                <a:xfrm>
                  <a:off x="2683" y="2614"/>
                  <a:ext cx="31" cy="76"/>
                </a:xfrm>
                <a:custGeom>
                  <a:avLst/>
                  <a:gdLst>
                    <a:gd name="T0" fmla="*/ 13 w 31"/>
                    <a:gd name="T1" fmla="*/ 0 h 76"/>
                    <a:gd name="T2" fmla="*/ 4 w 31"/>
                    <a:gd name="T3" fmla="*/ 0 h 76"/>
                    <a:gd name="T4" fmla="*/ 0 w 31"/>
                    <a:gd name="T5" fmla="*/ 9 h 76"/>
                    <a:gd name="T6" fmla="*/ 8 w 31"/>
                    <a:gd name="T7" fmla="*/ 13 h 76"/>
                    <a:gd name="T8" fmla="*/ 8 w 31"/>
                    <a:gd name="T9" fmla="*/ 36 h 76"/>
                    <a:gd name="T10" fmla="*/ 4 w 31"/>
                    <a:gd name="T11" fmla="*/ 40 h 76"/>
                    <a:gd name="T12" fmla="*/ 8 w 31"/>
                    <a:gd name="T13" fmla="*/ 54 h 76"/>
                    <a:gd name="T14" fmla="*/ 8 w 31"/>
                    <a:gd name="T15" fmla="*/ 62 h 76"/>
                    <a:gd name="T16" fmla="*/ 13 w 31"/>
                    <a:gd name="T17" fmla="*/ 71 h 76"/>
                    <a:gd name="T18" fmla="*/ 17 w 31"/>
                    <a:gd name="T19" fmla="*/ 76 h 76"/>
                    <a:gd name="T20" fmla="*/ 31 w 31"/>
                    <a:gd name="T21" fmla="*/ 76 h 76"/>
                    <a:gd name="T22" fmla="*/ 26 w 31"/>
                    <a:gd name="T23" fmla="*/ 62 h 76"/>
                    <a:gd name="T24" fmla="*/ 26 w 31"/>
                    <a:gd name="T25" fmla="*/ 36 h 76"/>
                    <a:gd name="T26" fmla="*/ 22 w 31"/>
                    <a:gd name="T27" fmla="*/ 36 h 76"/>
                    <a:gd name="T28" fmla="*/ 22 w 31"/>
                    <a:gd name="T29" fmla="*/ 22 h 76"/>
                    <a:gd name="T30" fmla="*/ 13 w 31"/>
                    <a:gd name="T31" fmla="*/ 13 h 76"/>
                    <a:gd name="T32" fmla="*/ 13 w 31"/>
                    <a:gd name="T3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76">
                      <a:moveTo>
                        <a:pt x="13" y="0"/>
                      </a:moveTo>
                      <a:lnTo>
                        <a:pt x="4" y="0"/>
                      </a:lnTo>
                      <a:lnTo>
                        <a:pt x="0" y="9"/>
                      </a:lnTo>
                      <a:lnTo>
                        <a:pt x="8" y="13"/>
                      </a:lnTo>
                      <a:lnTo>
                        <a:pt x="8" y="36"/>
                      </a:lnTo>
                      <a:lnTo>
                        <a:pt x="4" y="40"/>
                      </a:lnTo>
                      <a:lnTo>
                        <a:pt x="8" y="54"/>
                      </a:lnTo>
                      <a:lnTo>
                        <a:pt x="8" y="62"/>
                      </a:lnTo>
                      <a:lnTo>
                        <a:pt x="13" y="71"/>
                      </a:lnTo>
                      <a:lnTo>
                        <a:pt x="17" y="76"/>
                      </a:lnTo>
                      <a:lnTo>
                        <a:pt x="31" y="76"/>
                      </a:lnTo>
                      <a:lnTo>
                        <a:pt x="26" y="62"/>
                      </a:lnTo>
                      <a:lnTo>
                        <a:pt x="26" y="36"/>
                      </a:lnTo>
                      <a:lnTo>
                        <a:pt x="22" y="36"/>
                      </a:lnTo>
                      <a:lnTo>
                        <a:pt x="22" y="22"/>
                      </a:lnTo>
                      <a:lnTo>
                        <a:pt x="13" y="13"/>
                      </a:lnTo>
                      <a:lnTo>
                        <a:pt x="13"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21" name="Freeform 55">
                  <a:extLst>
                    <a:ext uri="{FF2B5EF4-FFF2-40B4-BE49-F238E27FC236}">
                      <a16:creationId xmlns:a16="http://schemas.microsoft.com/office/drawing/2014/main" id="{30276CCA-562D-4A44-832B-237307C05A6F}"/>
                    </a:ext>
                  </a:extLst>
                </p:cNvPr>
                <p:cNvSpPr>
                  <a:spLocks/>
                </p:cNvSpPr>
                <p:nvPr/>
              </p:nvSpPr>
              <p:spPr bwMode="gray">
                <a:xfrm>
                  <a:off x="2790" y="2189"/>
                  <a:ext cx="62" cy="134"/>
                </a:xfrm>
                <a:custGeom>
                  <a:avLst/>
                  <a:gdLst>
                    <a:gd name="T0" fmla="*/ 22 w 62"/>
                    <a:gd name="T1" fmla="*/ 134 h 134"/>
                    <a:gd name="T2" fmla="*/ 22 w 62"/>
                    <a:gd name="T3" fmla="*/ 99 h 134"/>
                    <a:gd name="T4" fmla="*/ 13 w 62"/>
                    <a:gd name="T5" fmla="*/ 94 h 134"/>
                    <a:gd name="T6" fmla="*/ 4 w 62"/>
                    <a:gd name="T7" fmla="*/ 81 h 134"/>
                    <a:gd name="T8" fmla="*/ 0 w 62"/>
                    <a:gd name="T9" fmla="*/ 63 h 134"/>
                    <a:gd name="T10" fmla="*/ 13 w 62"/>
                    <a:gd name="T11" fmla="*/ 45 h 134"/>
                    <a:gd name="T12" fmla="*/ 9 w 62"/>
                    <a:gd name="T13" fmla="*/ 18 h 134"/>
                    <a:gd name="T14" fmla="*/ 18 w 62"/>
                    <a:gd name="T15" fmla="*/ 9 h 134"/>
                    <a:gd name="T16" fmla="*/ 22 w 62"/>
                    <a:gd name="T17" fmla="*/ 5 h 134"/>
                    <a:gd name="T18" fmla="*/ 35 w 62"/>
                    <a:gd name="T19" fmla="*/ 0 h 134"/>
                    <a:gd name="T20" fmla="*/ 35 w 62"/>
                    <a:gd name="T21" fmla="*/ 9 h 134"/>
                    <a:gd name="T22" fmla="*/ 35 w 62"/>
                    <a:gd name="T23" fmla="*/ 9 h 134"/>
                    <a:gd name="T24" fmla="*/ 44 w 62"/>
                    <a:gd name="T25" fmla="*/ 5 h 134"/>
                    <a:gd name="T26" fmla="*/ 44 w 62"/>
                    <a:gd name="T27" fmla="*/ 9 h 134"/>
                    <a:gd name="T28" fmla="*/ 40 w 62"/>
                    <a:gd name="T29" fmla="*/ 18 h 134"/>
                    <a:gd name="T30" fmla="*/ 40 w 62"/>
                    <a:gd name="T31" fmla="*/ 27 h 134"/>
                    <a:gd name="T32" fmla="*/ 49 w 62"/>
                    <a:gd name="T33" fmla="*/ 36 h 134"/>
                    <a:gd name="T34" fmla="*/ 49 w 62"/>
                    <a:gd name="T35" fmla="*/ 45 h 134"/>
                    <a:gd name="T36" fmla="*/ 35 w 62"/>
                    <a:gd name="T37" fmla="*/ 54 h 134"/>
                    <a:gd name="T38" fmla="*/ 40 w 62"/>
                    <a:gd name="T39" fmla="*/ 63 h 134"/>
                    <a:gd name="T40" fmla="*/ 44 w 62"/>
                    <a:gd name="T41" fmla="*/ 67 h 134"/>
                    <a:gd name="T42" fmla="*/ 44 w 62"/>
                    <a:gd name="T43" fmla="*/ 58 h 134"/>
                    <a:gd name="T44" fmla="*/ 49 w 62"/>
                    <a:gd name="T45" fmla="*/ 63 h 134"/>
                    <a:gd name="T46" fmla="*/ 49 w 62"/>
                    <a:gd name="T47" fmla="*/ 72 h 134"/>
                    <a:gd name="T48" fmla="*/ 53 w 62"/>
                    <a:gd name="T49" fmla="*/ 72 h 134"/>
                    <a:gd name="T50" fmla="*/ 62 w 62"/>
                    <a:gd name="T51" fmla="*/ 76 h 134"/>
                    <a:gd name="T52" fmla="*/ 58 w 62"/>
                    <a:gd name="T53" fmla="*/ 81 h 134"/>
                    <a:gd name="T54" fmla="*/ 58 w 62"/>
                    <a:gd name="T55" fmla="*/ 90 h 134"/>
                    <a:gd name="T56" fmla="*/ 49 w 62"/>
                    <a:gd name="T57" fmla="*/ 99 h 134"/>
                    <a:gd name="T58" fmla="*/ 40 w 62"/>
                    <a:gd name="T59" fmla="*/ 103 h 134"/>
                    <a:gd name="T60" fmla="*/ 40 w 62"/>
                    <a:gd name="T61" fmla="*/ 126 h 134"/>
                    <a:gd name="T62" fmla="*/ 27 w 62"/>
                    <a:gd name="T63" fmla="*/ 130 h 134"/>
                    <a:gd name="T64" fmla="*/ 22 w 62"/>
                    <a:gd name="T65"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2" h="134">
                      <a:moveTo>
                        <a:pt x="22" y="134"/>
                      </a:moveTo>
                      <a:lnTo>
                        <a:pt x="22" y="99"/>
                      </a:lnTo>
                      <a:lnTo>
                        <a:pt x="13" y="94"/>
                      </a:lnTo>
                      <a:lnTo>
                        <a:pt x="4" y="81"/>
                      </a:lnTo>
                      <a:lnTo>
                        <a:pt x="0" y="63"/>
                      </a:lnTo>
                      <a:lnTo>
                        <a:pt x="13" y="45"/>
                      </a:lnTo>
                      <a:lnTo>
                        <a:pt x="9" y="18"/>
                      </a:lnTo>
                      <a:lnTo>
                        <a:pt x="18" y="9"/>
                      </a:lnTo>
                      <a:lnTo>
                        <a:pt x="22" y="5"/>
                      </a:lnTo>
                      <a:lnTo>
                        <a:pt x="35" y="0"/>
                      </a:lnTo>
                      <a:lnTo>
                        <a:pt x="35" y="9"/>
                      </a:lnTo>
                      <a:lnTo>
                        <a:pt x="35" y="9"/>
                      </a:lnTo>
                      <a:lnTo>
                        <a:pt x="44" y="5"/>
                      </a:lnTo>
                      <a:lnTo>
                        <a:pt x="44" y="9"/>
                      </a:lnTo>
                      <a:lnTo>
                        <a:pt x="40" y="18"/>
                      </a:lnTo>
                      <a:lnTo>
                        <a:pt x="40" y="27"/>
                      </a:lnTo>
                      <a:lnTo>
                        <a:pt x="49" y="36"/>
                      </a:lnTo>
                      <a:lnTo>
                        <a:pt x="49" y="45"/>
                      </a:lnTo>
                      <a:lnTo>
                        <a:pt x="35" y="54"/>
                      </a:lnTo>
                      <a:lnTo>
                        <a:pt x="40" y="63"/>
                      </a:lnTo>
                      <a:lnTo>
                        <a:pt x="44" y="67"/>
                      </a:lnTo>
                      <a:lnTo>
                        <a:pt x="44" y="58"/>
                      </a:lnTo>
                      <a:lnTo>
                        <a:pt x="49" y="63"/>
                      </a:lnTo>
                      <a:lnTo>
                        <a:pt x="49" y="72"/>
                      </a:lnTo>
                      <a:lnTo>
                        <a:pt x="53" y="72"/>
                      </a:lnTo>
                      <a:lnTo>
                        <a:pt x="62" y="76"/>
                      </a:lnTo>
                      <a:lnTo>
                        <a:pt x="58" y="81"/>
                      </a:lnTo>
                      <a:lnTo>
                        <a:pt x="58" y="90"/>
                      </a:lnTo>
                      <a:lnTo>
                        <a:pt x="49" y="99"/>
                      </a:lnTo>
                      <a:lnTo>
                        <a:pt x="40" y="103"/>
                      </a:lnTo>
                      <a:lnTo>
                        <a:pt x="40" y="126"/>
                      </a:lnTo>
                      <a:lnTo>
                        <a:pt x="27" y="130"/>
                      </a:lnTo>
                      <a:lnTo>
                        <a:pt x="22" y="13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22" name="Freeform 56">
                  <a:extLst>
                    <a:ext uri="{FF2B5EF4-FFF2-40B4-BE49-F238E27FC236}">
                      <a16:creationId xmlns:a16="http://schemas.microsoft.com/office/drawing/2014/main" id="{E424EFF9-7508-4EB3-8058-9AFC2FE17B54}"/>
                    </a:ext>
                  </a:extLst>
                </p:cNvPr>
                <p:cNvSpPr>
                  <a:spLocks/>
                </p:cNvSpPr>
                <p:nvPr/>
              </p:nvSpPr>
              <p:spPr bwMode="gray">
                <a:xfrm>
                  <a:off x="3111" y="2717"/>
                  <a:ext cx="72" cy="85"/>
                </a:xfrm>
                <a:custGeom>
                  <a:avLst/>
                  <a:gdLst>
                    <a:gd name="T0" fmla="*/ 0 w 72"/>
                    <a:gd name="T1" fmla="*/ 85 h 85"/>
                    <a:gd name="T2" fmla="*/ 0 w 72"/>
                    <a:gd name="T3" fmla="*/ 53 h 85"/>
                    <a:gd name="T4" fmla="*/ 18 w 72"/>
                    <a:gd name="T5" fmla="*/ 31 h 85"/>
                    <a:gd name="T6" fmla="*/ 14 w 72"/>
                    <a:gd name="T7" fmla="*/ 27 h 85"/>
                    <a:gd name="T8" fmla="*/ 14 w 72"/>
                    <a:gd name="T9" fmla="*/ 9 h 85"/>
                    <a:gd name="T10" fmla="*/ 18 w 72"/>
                    <a:gd name="T11" fmla="*/ 4 h 85"/>
                    <a:gd name="T12" fmla="*/ 27 w 72"/>
                    <a:gd name="T13" fmla="*/ 4 h 85"/>
                    <a:gd name="T14" fmla="*/ 36 w 72"/>
                    <a:gd name="T15" fmla="*/ 9 h 85"/>
                    <a:gd name="T16" fmla="*/ 45 w 72"/>
                    <a:gd name="T17" fmla="*/ 4 h 85"/>
                    <a:gd name="T18" fmla="*/ 54 w 72"/>
                    <a:gd name="T19" fmla="*/ 4 h 85"/>
                    <a:gd name="T20" fmla="*/ 58 w 72"/>
                    <a:gd name="T21" fmla="*/ 0 h 85"/>
                    <a:gd name="T22" fmla="*/ 67 w 72"/>
                    <a:gd name="T23" fmla="*/ 9 h 85"/>
                    <a:gd name="T24" fmla="*/ 72 w 72"/>
                    <a:gd name="T25" fmla="*/ 22 h 85"/>
                    <a:gd name="T26" fmla="*/ 67 w 72"/>
                    <a:gd name="T27" fmla="*/ 44 h 85"/>
                    <a:gd name="T28" fmla="*/ 63 w 72"/>
                    <a:gd name="T29" fmla="*/ 58 h 85"/>
                    <a:gd name="T30" fmla="*/ 49 w 72"/>
                    <a:gd name="T31" fmla="*/ 58 h 85"/>
                    <a:gd name="T32" fmla="*/ 32 w 72"/>
                    <a:gd name="T33" fmla="*/ 62 h 85"/>
                    <a:gd name="T34" fmla="*/ 32 w 72"/>
                    <a:gd name="T35" fmla="*/ 76 h 85"/>
                    <a:gd name="T36" fmla="*/ 9 w 72"/>
                    <a:gd name="T37" fmla="*/ 80 h 85"/>
                    <a:gd name="T38" fmla="*/ 0 w 72"/>
                    <a:gd name="T3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 h="85">
                      <a:moveTo>
                        <a:pt x="0" y="85"/>
                      </a:moveTo>
                      <a:lnTo>
                        <a:pt x="0" y="53"/>
                      </a:lnTo>
                      <a:lnTo>
                        <a:pt x="18" y="31"/>
                      </a:lnTo>
                      <a:lnTo>
                        <a:pt x="14" y="27"/>
                      </a:lnTo>
                      <a:lnTo>
                        <a:pt x="14" y="9"/>
                      </a:lnTo>
                      <a:lnTo>
                        <a:pt x="18" y="4"/>
                      </a:lnTo>
                      <a:lnTo>
                        <a:pt x="27" y="4"/>
                      </a:lnTo>
                      <a:lnTo>
                        <a:pt x="36" y="9"/>
                      </a:lnTo>
                      <a:lnTo>
                        <a:pt x="45" y="4"/>
                      </a:lnTo>
                      <a:lnTo>
                        <a:pt x="54" y="4"/>
                      </a:lnTo>
                      <a:lnTo>
                        <a:pt x="58" y="0"/>
                      </a:lnTo>
                      <a:lnTo>
                        <a:pt x="67" y="9"/>
                      </a:lnTo>
                      <a:lnTo>
                        <a:pt x="72" y="22"/>
                      </a:lnTo>
                      <a:lnTo>
                        <a:pt x="67" y="44"/>
                      </a:lnTo>
                      <a:lnTo>
                        <a:pt x="63" y="58"/>
                      </a:lnTo>
                      <a:lnTo>
                        <a:pt x="49" y="58"/>
                      </a:lnTo>
                      <a:lnTo>
                        <a:pt x="32" y="62"/>
                      </a:lnTo>
                      <a:lnTo>
                        <a:pt x="32" y="76"/>
                      </a:lnTo>
                      <a:lnTo>
                        <a:pt x="9" y="80"/>
                      </a:lnTo>
                      <a:lnTo>
                        <a:pt x="0" y="8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23" name="Freeform 57">
                  <a:extLst>
                    <a:ext uri="{FF2B5EF4-FFF2-40B4-BE49-F238E27FC236}">
                      <a16:creationId xmlns:a16="http://schemas.microsoft.com/office/drawing/2014/main" id="{991B546E-0A09-404E-AC30-F198CD70DB17}"/>
                    </a:ext>
                  </a:extLst>
                </p:cNvPr>
                <p:cNvSpPr>
                  <a:spLocks/>
                </p:cNvSpPr>
                <p:nvPr/>
              </p:nvSpPr>
              <p:spPr bwMode="gray">
                <a:xfrm>
                  <a:off x="3035" y="2292"/>
                  <a:ext cx="157" cy="170"/>
                </a:xfrm>
                <a:custGeom>
                  <a:avLst/>
                  <a:gdLst>
                    <a:gd name="T0" fmla="*/ 5 w 157"/>
                    <a:gd name="T1" fmla="*/ 166 h 170"/>
                    <a:gd name="T2" fmla="*/ 5 w 157"/>
                    <a:gd name="T3" fmla="*/ 40 h 170"/>
                    <a:gd name="T4" fmla="*/ 0 w 157"/>
                    <a:gd name="T5" fmla="*/ 31 h 170"/>
                    <a:gd name="T6" fmla="*/ 5 w 157"/>
                    <a:gd name="T7" fmla="*/ 23 h 170"/>
                    <a:gd name="T8" fmla="*/ 0 w 157"/>
                    <a:gd name="T9" fmla="*/ 14 h 170"/>
                    <a:gd name="T10" fmla="*/ 9 w 157"/>
                    <a:gd name="T11" fmla="*/ 0 h 170"/>
                    <a:gd name="T12" fmla="*/ 18 w 157"/>
                    <a:gd name="T13" fmla="*/ 0 h 170"/>
                    <a:gd name="T14" fmla="*/ 36 w 157"/>
                    <a:gd name="T15" fmla="*/ 5 h 170"/>
                    <a:gd name="T16" fmla="*/ 45 w 157"/>
                    <a:gd name="T17" fmla="*/ 5 h 170"/>
                    <a:gd name="T18" fmla="*/ 63 w 157"/>
                    <a:gd name="T19" fmla="*/ 14 h 170"/>
                    <a:gd name="T20" fmla="*/ 72 w 157"/>
                    <a:gd name="T21" fmla="*/ 9 h 170"/>
                    <a:gd name="T22" fmla="*/ 81 w 157"/>
                    <a:gd name="T23" fmla="*/ 9 h 170"/>
                    <a:gd name="T24" fmla="*/ 81 w 157"/>
                    <a:gd name="T25" fmla="*/ 5 h 170"/>
                    <a:gd name="T26" fmla="*/ 94 w 157"/>
                    <a:gd name="T27" fmla="*/ 0 h 170"/>
                    <a:gd name="T28" fmla="*/ 103 w 157"/>
                    <a:gd name="T29" fmla="*/ 5 h 170"/>
                    <a:gd name="T30" fmla="*/ 108 w 157"/>
                    <a:gd name="T31" fmla="*/ 14 h 170"/>
                    <a:gd name="T32" fmla="*/ 125 w 157"/>
                    <a:gd name="T33" fmla="*/ 14 h 170"/>
                    <a:gd name="T34" fmla="*/ 139 w 157"/>
                    <a:gd name="T35" fmla="*/ 5 h 170"/>
                    <a:gd name="T36" fmla="*/ 143 w 157"/>
                    <a:gd name="T37" fmla="*/ 9 h 170"/>
                    <a:gd name="T38" fmla="*/ 139 w 157"/>
                    <a:gd name="T39" fmla="*/ 18 h 170"/>
                    <a:gd name="T40" fmla="*/ 148 w 157"/>
                    <a:gd name="T41" fmla="*/ 40 h 170"/>
                    <a:gd name="T42" fmla="*/ 143 w 157"/>
                    <a:gd name="T43" fmla="*/ 40 h 170"/>
                    <a:gd name="T44" fmla="*/ 134 w 157"/>
                    <a:gd name="T45" fmla="*/ 58 h 170"/>
                    <a:gd name="T46" fmla="*/ 134 w 157"/>
                    <a:gd name="T47" fmla="*/ 67 h 170"/>
                    <a:gd name="T48" fmla="*/ 130 w 157"/>
                    <a:gd name="T49" fmla="*/ 63 h 170"/>
                    <a:gd name="T50" fmla="*/ 117 w 157"/>
                    <a:gd name="T51" fmla="*/ 40 h 170"/>
                    <a:gd name="T52" fmla="*/ 112 w 157"/>
                    <a:gd name="T53" fmla="*/ 36 h 170"/>
                    <a:gd name="T54" fmla="*/ 108 w 157"/>
                    <a:gd name="T55" fmla="*/ 36 h 170"/>
                    <a:gd name="T56" fmla="*/ 112 w 157"/>
                    <a:gd name="T57" fmla="*/ 45 h 170"/>
                    <a:gd name="T58" fmla="*/ 125 w 157"/>
                    <a:gd name="T59" fmla="*/ 63 h 170"/>
                    <a:gd name="T60" fmla="*/ 130 w 157"/>
                    <a:gd name="T61" fmla="*/ 76 h 170"/>
                    <a:gd name="T62" fmla="*/ 130 w 157"/>
                    <a:gd name="T63" fmla="*/ 81 h 170"/>
                    <a:gd name="T64" fmla="*/ 148 w 157"/>
                    <a:gd name="T65" fmla="*/ 121 h 170"/>
                    <a:gd name="T66" fmla="*/ 157 w 157"/>
                    <a:gd name="T67" fmla="*/ 130 h 170"/>
                    <a:gd name="T68" fmla="*/ 152 w 157"/>
                    <a:gd name="T69" fmla="*/ 130 h 170"/>
                    <a:gd name="T70" fmla="*/ 152 w 157"/>
                    <a:gd name="T71" fmla="*/ 143 h 170"/>
                    <a:gd name="T72" fmla="*/ 152 w 157"/>
                    <a:gd name="T73" fmla="*/ 143 h 170"/>
                    <a:gd name="T74" fmla="*/ 148 w 157"/>
                    <a:gd name="T75" fmla="*/ 157 h 170"/>
                    <a:gd name="T76" fmla="*/ 143 w 157"/>
                    <a:gd name="T77" fmla="*/ 157 h 170"/>
                    <a:gd name="T78" fmla="*/ 130 w 157"/>
                    <a:gd name="T79" fmla="*/ 170 h 170"/>
                    <a:gd name="T80" fmla="*/ 125 w 157"/>
                    <a:gd name="T81" fmla="*/ 161 h 170"/>
                    <a:gd name="T82" fmla="*/ 5 w 157"/>
                    <a:gd name="T83" fmla="*/ 16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7" h="170">
                      <a:moveTo>
                        <a:pt x="5" y="166"/>
                      </a:moveTo>
                      <a:lnTo>
                        <a:pt x="5" y="40"/>
                      </a:lnTo>
                      <a:lnTo>
                        <a:pt x="0" y="31"/>
                      </a:lnTo>
                      <a:lnTo>
                        <a:pt x="5" y="23"/>
                      </a:lnTo>
                      <a:lnTo>
                        <a:pt x="0" y="14"/>
                      </a:lnTo>
                      <a:lnTo>
                        <a:pt x="9" y="0"/>
                      </a:lnTo>
                      <a:lnTo>
                        <a:pt x="18" y="0"/>
                      </a:lnTo>
                      <a:lnTo>
                        <a:pt x="36" y="5"/>
                      </a:lnTo>
                      <a:lnTo>
                        <a:pt x="45" y="5"/>
                      </a:lnTo>
                      <a:lnTo>
                        <a:pt x="63" y="14"/>
                      </a:lnTo>
                      <a:lnTo>
                        <a:pt x="72" y="9"/>
                      </a:lnTo>
                      <a:lnTo>
                        <a:pt x="81" y="9"/>
                      </a:lnTo>
                      <a:lnTo>
                        <a:pt x="81" y="5"/>
                      </a:lnTo>
                      <a:lnTo>
                        <a:pt x="94" y="0"/>
                      </a:lnTo>
                      <a:lnTo>
                        <a:pt x="103" y="5"/>
                      </a:lnTo>
                      <a:lnTo>
                        <a:pt x="108" y="14"/>
                      </a:lnTo>
                      <a:lnTo>
                        <a:pt x="125" y="14"/>
                      </a:lnTo>
                      <a:lnTo>
                        <a:pt x="139" y="5"/>
                      </a:lnTo>
                      <a:lnTo>
                        <a:pt x="143" y="9"/>
                      </a:lnTo>
                      <a:lnTo>
                        <a:pt x="139" y="18"/>
                      </a:lnTo>
                      <a:lnTo>
                        <a:pt x="148" y="40"/>
                      </a:lnTo>
                      <a:lnTo>
                        <a:pt x="143" y="40"/>
                      </a:lnTo>
                      <a:lnTo>
                        <a:pt x="134" y="58"/>
                      </a:lnTo>
                      <a:lnTo>
                        <a:pt x="134" y="67"/>
                      </a:lnTo>
                      <a:lnTo>
                        <a:pt x="130" y="63"/>
                      </a:lnTo>
                      <a:lnTo>
                        <a:pt x="117" y="40"/>
                      </a:lnTo>
                      <a:lnTo>
                        <a:pt x="112" y="36"/>
                      </a:lnTo>
                      <a:lnTo>
                        <a:pt x="108" y="36"/>
                      </a:lnTo>
                      <a:lnTo>
                        <a:pt x="112" y="45"/>
                      </a:lnTo>
                      <a:lnTo>
                        <a:pt x="125" y="63"/>
                      </a:lnTo>
                      <a:lnTo>
                        <a:pt x="130" y="76"/>
                      </a:lnTo>
                      <a:lnTo>
                        <a:pt x="130" y="81"/>
                      </a:lnTo>
                      <a:lnTo>
                        <a:pt x="148" y="121"/>
                      </a:lnTo>
                      <a:lnTo>
                        <a:pt x="157" y="130"/>
                      </a:lnTo>
                      <a:lnTo>
                        <a:pt x="152" y="130"/>
                      </a:lnTo>
                      <a:lnTo>
                        <a:pt x="152" y="143"/>
                      </a:lnTo>
                      <a:lnTo>
                        <a:pt x="152" y="143"/>
                      </a:lnTo>
                      <a:lnTo>
                        <a:pt x="148" y="157"/>
                      </a:lnTo>
                      <a:lnTo>
                        <a:pt x="143" y="157"/>
                      </a:lnTo>
                      <a:lnTo>
                        <a:pt x="130" y="170"/>
                      </a:lnTo>
                      <a:lnTo>
                        <a:pt x="125" y="161"/>
                      </a:lnTo>
                      <a:lnTo>
                        <a:pt x="5" y="166"/>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24" name="Freeform 58">
                  <a:extLst>
                    <a:ext uri="{FF2B5EF4-FFF2-40B4-BE49-F238E27FC236}">
                      <a16:creationId xmlns:a16="http://schemas.microsoft.com/office/drawing/2014/main" id="{2CE38E4C-764F-488A-8D50-5A68F13CEA70}"/>
                    </a:ext>
                  </a:extLst>
                </p:cNvPr>
                <p:cNvSpPr>
                  <a:spLocks noEditPoints="1"/>
                </p:cNvSpPr>
                <p:nvPr/>
              </p:nvSpPr>
              <p:spPr bwMode="gray">
                <a:xfrm>
                  <a:off x="3107" y="2793"/>
                  <a:ext cx="161" cy="161"/>
                </a:xfrm>
                <a:custGeom>
                  <a:avLst/>
                  <a:gdLst>
                    <a:gd name="T0" fmla="*/ 0 w 161"/>
                    <a:gd name="T1" fmla="*/ 53 h 161"/>
                    <a:gd name="T2" fmla="*/ 4 w 161"/>
                    <a:gd name="T3" fmla="*/ 53 h 161"/>
                    <a:gd name="T4" fmla="*/ 22 w 161"/>
                    <a:gd name="T5" fmla="*/ 40 h 161"/>
                    <a:gd name="T6" fmla="*/ 22 w 161"/>
                    <a:gd name="T7" fmla="*/ 31 h 161"/>
                    <a:gd name="T8" fmla="*/ 18 w 161"/>
                    <a:gd name="T9" fmla="*/ 31 h 161"/>
                    <a:gd name="T10" fmla="*/ 18 w 161"/>
                    <a:gd name="T11" fmla="*/ 22 h 161"/>
                    <a:gd name="T12" fmla="*/ 18 w 161"/>
                    <a:gd name="T13" fmla="*/ 9 h 161"/>
                    <a:gd name="T14" fmla="*/ 13 w 161"/>
                    <a:gd name="T15" fmla="*/ 4 h 161"/>
                    <a:gd name="T16" fmla="*/ 36 w 161"/>
                    <a:gd name="T17" fmla="*/ 0 h 161"/>
                    <a:gd name="T18" fmla="*/ 36 w 161"/>
                    <a:gd name="T19" fmla="*/ 4 h 161"/>
                    <a:gd name="T20" fmla="*/ 31 w 161"/>
                    <a:gd name="T21" fmla="*/ 18 h 161"/>
                    <a:gd name="T22" fmla="*/ 36 w 161"/>
                    <a:gd name="T23" fmla="*/ 26 h 161"/>
                    <a:gd name="T24" fmla="*/ 40 w 161"/>
                    <a:gd name="T25" fmla="*/ 22 h 161"/>
                    <a:gd name="T26" fmla="*/ 58 w 161"/>
                    <a:gd name="T27" fmla="*/ 22 h 161"/>
                    <a:gd name="T28" fmla="*/ 62 w 161"/>
                    <a:gd name="T29" fmla="*/ 18 h 161"/>
                    <a:gd name="T30" fmla="*/ 53 w 161"/>
                    <a:gd name="T31" fmla="*/ 18 h 161"/>
                    <a:gd name="T32" fmla="*/ 53 w 161"/>
                    <a:gd name="T33" fmla="*/ 9 h 161"/>
                    <a:gd name="T34" fmla="*/ 58 w 161"/>
                    <a:gd name="T35" fmla="*/ 13 h 161"/>
                    <a:gd name="T36" fmla="*/ 62 w 161"/>
                    <a:gd name="T37" fmla="*/ 0 h 161"/>
                    <a:gd name="T38" fmla="*/ 103 w 161"/>
                    <a:gd name="T39" fmla="*/ 26 h 161"/>
                    <a:gd name="T40" fmla="*/ 138 w 161"/>
                    <a:gd name="T41" fmla="*/ 53 h 161"/>
                    <a:gd name="T42" fmla="*/ 134 w 161"/>
                    <a:gd name="T43" fmla="*/ 80 h 161"/>
                    <a:gd name="T44" fmla="*/ 147 w 161"/>
                    <a:gd name="T45" fmla="*/ 89 h 161"/>
                    <a:gd name="T46" fmla="*/ 143 w 161"/>
                    <a:gd name="T47" fmla="*/ 102 h 161"/>
                    <a:gd name="T48" fmla="*/ 147 w 161"/>
                    <a:gd name="T49" fmla="*/ 102 h 161"/>
                    <a:gd name="T50" fmla="*/ 143 w 161"/>
                    <a:gd name="T51" fmla="*/ 111 h 161"/>
                    <a:gd name="T52" fmla="*/ 147 w 161"/>
                    <a:gd name="T53" fmla="*/ 134 h 161"/>
                    <a:gd name="T54" fmla="*/ 161 w 161"/>
                    <a:gd name="T55" fmla="*/ 138 h 161"/>
                    <a:gd name="T56" fmla="*/ 156 w 161"/>
                    <a:gd name="T57" fmla="*/ 138 h 161"/>
                    <a:gd name="T58" fmla="*/ 143 w 161"/>
                    <a:gd name="T59" fmla="*/ 147 h 161"/>
                    <a:gd name="T60" fmla="*/ 120 w 161"/>
                    <a:gd name="T61" fmla="*/ 147 h 161"/>
                    <a:gd name="T62" fmla="*/ 116 w 161"/>
                    <a:gd name="T63" fmla="*/ 156 h 161"/>
                    <a:gd name="T64" fmla="*/ 107 w 161"/>
                    <a:gd name="T65" fmla="*/ 152 h 161"/>
                    <a:gd name="T66" fmla="*/ 98 w 161"/>
                    <a:gd name="T67" fmla="*/ 161 h 161"/>
                    <a:gd name="T68" fmla="*/ 89 w 161"/>
                    <a:gd name="T69" fmla="*/ 152 h 161"/>
                    <a:gd name="T70" fmla="*/ 76 w 161"/>
                    <a:gd name="T71" fmla="*/ 156 h 161"/>
                    <a:gd name="T72" fmla="*/ 71 w 161"/>
                    <a:gd name="T73" fmla="*/ 152 h 161"/>
                    <a:gd name="T74" fmla="*/ 71 w 161"/>
                    <a:gd name="T75" fmla="*/ 134 h 161"/>
                    <a:gd name="T76" fmla="*/ 62 w 161"/>
                    <a:gd name="T77" fmla="*/ 125 h 161"/>
                    <a:gd name="T78" fmla="*/ 62 w 161"/>
                    <a:gd name="T79" fmla="*/ 129 h 161"/>
                    <a:gd name="T80" fmla="*/ 53 w 161"/>
                    <a:gd name="T81" fmla="*/ 120 h 161"/>
                    <a:gd name="T82" fmla="*/ 49 w 161"/>
                    <a:gd name="T83" fmla="*/ 125 h 161"/>
                    <a:gd name="T84" fmla="*/ 36 w 161"/>
                    <a:gd name="T85" fmla="*/ 120 h 161"/>
                    <a:gd name="T86" fmla="*/ 27 w 161"/>
                    <a:gd name="T87" fmla="*/ 111 h 161"/>
                    <a:gd name="T88" fmla="*/ 18 w 161"/>
                    <a:gd name="T89" fmla="*/ 107 h 161"/>
                    <a:gd name="T90" fmla="*/ 9 w 161"/>
                    <a:gd name="T91" fmla="*/ 80 h 161"/>
                    <a:gd name="T92" fmla="*/ 4 w 161"/>
                    <a:gd name="T93" fmla="*/ 80 h 161"/>
                    <a:gd name="T94" fmla="*/ 4 w 161"/>
                    <a:gd name="T95" fmla="*/ 76 h 161"/>
                    <a:gd name="T96" fmla="*/ 0 w 161"/>
                    <a:gd name="T97" fmla="*/ 53 h 161"/>
                    <a:gd name="T98" fmla="*/ 143 w 161"/>
                    <a:gd name="T99" fmla="*/ 71 h 161"/>
                    <a:gd name="T100" fmla="*/ 138 w 161"/>
                    <a:gd name="T101" fmla="*/ 76 h 161"/>
                    <a:gd name="T102" fmla="*/ 143 w 161"/>
                    <a:gd name="T103" fmla="*/ 80 h 161"/>
                    <a:gd name="T104" fmla="*/ 147 w 161"/>
                    <a:gd name="T105" fmla="*/ 85 h 161"/>
                    <a:gd name="T106" fmla="*/ 147 w 161"/>
                    <a:gd name="T107" fmla="*/ 76 h 161"/>
                    <a:gd name="T108" fmla="*/ 143 w 161"/>
                    <a:gd name="T109" fmla="*/ 7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1" h="161">
                      <a:moveTo>
                        <a:pt x="0" y="53"/>
                      </a:moveTo>
                      <a:lnTo>
                        <a:pt x="4" y="53"/>
                      </a:lnTo>
                      <a:lnTo>
                        <a:pt x="22" y="40"/>
                      </a:lnTo>
                      <a:lnTo>
                        <a:pt x="22" y="31"/>
                      </a:lnTo>
                      <a:lnTo>
                        <a:pt x="18" y="31"/>
                      </a:lnTo>
                      <a:lnTo>
                        <a:pt x="18" y="22"/>
                      </a:lnTo>
                      <a:lnTo>
                        <a:pt x="18" y="9"/>
                      </a:lnTo>
                      <a:lnTo>
                        <a:pt x="13" y="4"/>
                      </a:lnTo>
                      <a:lnTo>
                        <a:pt x="36" y="0"/>
                      </a:lnTo>
                      <a:lnTo>
                        <a:pt x="36" y="4"/>
                      </a:lnTo>
                      <a:lnTo>
                        <a:pt x="31" y="18"/>
                      </a:lnTo>
                      <a:lnTo>
                        <a:pt x="36" y="26"/>
                      </a:lnTo>
                      <a:lnTo>
                        <a:pt x="40" y="22"/>
                      </a:lnTo>
                      <a:lnTo>
                        <a:pt x="58" y="22"/>
                      </a:lnTo>
                      <a:lnTo>
                        <a:pt x="62" y="18"/>
                      </a:lnTo>
                      <a:lnTo>
                        <a:pt x="53" y="18"/>
                      </a:lnTo>
                      <a:lnTo>
                        <a:pt x="53" y="9"/>
                      </a:lnTo>
                      <a:lnTo>
                        <a:pt x="58" y="13"/>
                      </a:lnTo>
                      <a:lnTo>
                        <a:pt x="62" y="0"/>
                      </a:lnTo>
                      <a:lnTo>
                        <a:pt x="103" y="26"/>
                      </a:lnTo>
                      <a:lnTo>
                        <a:pt x="138" y="53"/>
                      </a:lnTo>
                      <a:lnTo>
                        <a:pt x="134" y="80"/>
                      </a:lnTo>
                      <a:lnTo>
                        <a:pt x="147" y="89"/>
                      </a:lnTo>
                      <a:lnTo>
                        <a:pt x="143" y="102"/>
                      </a:lnTo>
                      <a:lnTo>
                        <a:pt x="147" y="102"/>
                      </a:lnTo>
                      <a:lnTo>
                        <a:pt x="143" y="111"/>
                      </a:lnTo>
                      <a:lnTo>
                        <a:pt x="147" y="134"/>
                      </a:lnTo>
                      <a:lnTo>
                        <a:pt x="161" y="138"/>
                      </a:lnTo>
                      <a:lnTo>
                        <a:pt x="156" y="138"/>
                      </a:lnTo>
                      <a:lnTo>
                        <a:pt x="143" y="147"/>
                      </a:lnTo>
                      <a:lnTo>
                        <a:pt x="120" y="147"/>
                      </a:lnTo>
                      <a:lnTo>
                        <a:pt x="116" y="156"/>
                      </a:lnTo>
                      <a:lnTo>
                        <a:pt x="107" y="152"/>
                      </a:lnTo>
                      <a:lnTo>
                        <a:pt x="98" y="161"/>
                      </a:lnTo>
                      <a:lnTo>
                        <a:pt x="89" y="152"/>
                      </a:lnTo>
                      <a:lnTo>
                        <a:pt x="76" y="156"/>
                      </a:lnTo>
                      <a:lnTo>
                        <a:pt x="71" y="152"/>
                      </a:lnTo>
                      <a:lnTo>
                        <a:pt x="71" y="134"/>
                      </a:lnTo>
                      <a:lnTo>
                        <a:pt x="62" y="125"/>
                      </a:lnTo>
                      <a:lnTo>
                        <a:pt x="62" y="129"/>
                      </a:lnTo>
                      <a:lnTo>
                        <a:pt x="53" y="120"/>
                      </a:lnTo>
                      <a:lnTo>
                        <a:pt x="49" y="125"/>
                      </a:lnTo>
                      <a:lnTo>
                        <a:pt x="36" y="120"/>
                      </a:lnTo>
                      <a:lnTo>
                        <a:pt x="27" y="111"/>
                      </a:lnTo>
                      <a:lnTo>
                        <a:pt x="18" y="107"/>
                      </a:lnTo>
                      <a:lnTo>
                        <a:pt x="9" y="80"/>
                      </a:lnTo>
                      <a:lnTo>
                        <a:pt x="4" y="80"/>
                      </a:lnTo>
                      <a:lnTo>
                        <a:pt x="4" y="76"/>
                      </a:lnTo>
                      <a:lnTo>
                        <a:pt x="0" y="53"/>
                      </a:lnTo>
                      <a:close/>
                      <a:moveTo>
                        <a:pt x="143" y="71"/>
                      </a:moveTo>
                      <a:lnTo>
                        <a:pt x="138" y="76"/>
                      </a:lnTo>
                      <a:lnTo>
                        <a:pt x="143" y="80"/>
                      </a:lnTo>
                      <a:lnTo>
                        <a:pt x="147" y="85"/>
                      </a:lnTo>
                      <a:lnTo>
                        <a:pt x="147" y="76"/>
                      </a:lnTo>
                      <a:lnTo>
                        <a:pt x="143" y="71"/>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25" name="Freeform 59">
                  <a:extLst>
                    <a:ext uri="{FF2B5EF4-FFF2-40B4-BE49-F238E27FC236}">
                      <a16:creationId xmlns:a16="http://schemas.microsoft.com/office/drawing/2014/main" id="{820177AC-8FE1-4E94-BEB4-862A58BC1E4F}"/>
                    </a:ext>
                  </a:extLst>
                </p:cNvPr>
                <p:cNvSpPr>
                  <a:spLocks/>
                </p:cNvSpPr>
                <p:nvPr/>
              </p:nvSpPr>
              <p:spPr bwMode="gray">
                <a:xfrm>
                  <a:off x="2602" y="2556"/>
                  <a:ext cx="112" cy="89"/>
                </a:xfrm>
                <a:custGeom>
                  <a:avLst/>
                  <a:gdLst>
                    <a:gd name="T0" fmla="*/ 0 w 112"/>
                    <a:gd name="T1" fmla="*/ 71 h 89"/>
                    <a:gd name="T2" fmla="*/ 9 w 112"/>
                    <a:gd name="T3" fmla="*/ 45 h 89"/>
                    <a:gd name="T4" fmla="*/ 18 w 112"/>
                    <a:gd name="T5" fmla="*/ 40 h 89"/>
                    <a:gd name="T6" fmla="*/ 22 w 112"/>
                    <a:gd name="T7" fmla="*/ 22 h 89"/>
                    <a:gd name="T8" fmla="*/ 31 w 112"/>
                    <a:gd name="T9" fmla="*/ 27 h 89"/>
                    <a:gd name="T10" fmla="*/ 67 w 112"/>
                    <a:gd name="T11" fmla="*/ 0 h 89"/>
                    <a:gd name="T12" fmla="*/ 85 w 112"/>
                    <a:gd name="T13" fmla="*/ 4 h 89"/>
                    <a:gd name="T14" fmla="*/ 85 w 112"/>
                    <a:gd name="T15" fmla="*/ 13 h 89"/>
                    <a:gd name="T16" fmla="*/ 94 w 112"/>
                    <a:gd name="T17" fmla="*/ 27 h 89"/>
                    <a:gd name="T18" fmla="*/ 94 w 112"/>
                    <a:gd name="T19" fmla="*/ 36 h 89"/>
                    <a:gd name="T20" fmla="*/ 103 w 112"/>
                    <a:gd name="T21" fmla="*/ 40 h 89"/>
                    <a:gd name="T22" fmla="*/ 112 w 112"/>
                    <a:gd name="T23" fmla="*/ 36 h 89"/>
                    <a:gd name="T24" fmla="*/ 112 w 112"/>
                    <a:gd name="T25" fmla="*/ 49 h 89"/>
                    <a:gd name="T26" fmla="*/ 103 w 112"/>
                    <a:gd name="T27" fmla="*/ 58 h 89"/>
                    <a:gd name="T28" fmla="*/ 94 w 112"/>
                    <a:gd name="T29" fmla="*/ 58 h 89"/>
                    <a:gd name="T30" fmla="*/ 85 w 112"/>
                    <a:gd name="T31" fmla="*/ 58 h 89"/>
                    <a:gd name="T32" fmla="*/ 81 w 112"/>
                    <a:gd name="T33" fmla="*/ 58 h 89"/>
                    <a:gd name="T34" fmla="*/ 72 w 112"/>
                    <a:gd name="T35" fmla="*/ 62 h 89"/>
                    <a:gd name="T36" fmla="*/ 40 w 112"/>
                    <a:gd name="T37" fmla="*/ 62 h 89"/>
                    <a:gd name="T38" fmla="*/ 40 w 112"/>
                    <a:gd name="T39" fmla="*/ 76 h 89"/>
                    <a:gd name="T40" fmla="*/ 40 w 112"/>
                    <a:gd name="T41" fmla="*/ 89 h 89"/>
                    <a:gd name="T42" fmla="*/ 36 w 112"/>
                    <a:gd name="T43" fmla="*/ 85 h 89"/>
                    <a:gd name="T44" fmla="*/ 31 w 112"/>
                    <a:gd name="T45" fmla="*/ 80 h 89"/>
                    <a:gd name="T46" fmla="*/ 18 w 112"/>
                    <a:gd name="T47" fmla="*/ 85 h 89"/>
                    <a:gd name="T48" fmla="*/ 0 w 112"/>
                    <a:gd name="T49" fmla="*/ 7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89">
                      <a:moveTo>
                        <a:pt x="0" y="71"/>
                      </a:moveTo>
                      <a:lnTo>
                        <a:pt x="9" y="45"/>
                      </a:lnTo>
                      <a:lnTo>
                        <a:pt x="18" y="40"/>
                      </a:lnTo>
                      <a:lnTo>
                        <a:pt x="22" y="22"/>
                      </a:lnTo>
                      <a:lnTo>
                        <a:pt x="31" y="27"/>
                      </a:lnTo>
                      <a:lnTo>
                        <a:pt x="67" y="0"/>
                      </a:lnTo>
                      <a:lnTo>
                        <a:pt x="85" y="4"/>
                      </a:lnTo>
                      <a:lnTo>
                        <a:pt x="85" y="13"/>
                      </a:lnTo>
                      <a:lnTo>
                        <a:pt x="94" y="27"/>
                      </a:lnTo>
                      <a:lnTo>
                        <a:pt x="94" y="36"/>
                      </a:lnTo>
                      <a:lnTo>
                        <a:pt x="103" y="40"/>
                      </a:lnTo>
                      <a:lnTo>
                        <a:pt x="112" y="36"/>
                      </a:lnTo>
                      <a:lnTo>
                        <a:pt x="112" y="49"/>
                      </a:lnTo>
                      <a:lnTo>
                        <a:pt x="103" y="58"/>
                      </a:lnTo>
                      <a:lnTo>
                        <a:pt x="94" y="58"/>
                      </a:lnTo>
                      <a:lnTo>
                        <a:pt x="85" y="58"/>
                      </a:lnTo>
                      <a:lnTo>
                        <a:pt x="81" y="58"/>
                      </a:lnTo>
                      <a:lnTo>
                        <a:pt x="72" y="62"/>
                      </a:lnTo>
                      <a:lnTo>
                        <a:pt x="40" y="62"/>
                      </a:lnTo>
                      <a:lnTo>
                        <a:pt x="40" y="76"/>
                      </a:lnTo>
                      <a:lnTo>
                        <a:pt x="40" y="89"/>
                      </a:lnTo>
                      <a:lnTo>
                        <a:pt x="36" y="85"/>
                      </a:lnTo>
                      <a:lnTo>
                        <a:pt x="31" y="80"/>
                      </a:lnTo>
                      <a:lnTo>
                        <a:pt x="18" y="85"/>
                      </a:lnTo>
                      <a:lnTo>
                        <a:pt x="0" y="71"/>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26" name="Freeform 60">
                  <a:extLst>
                    <a:ext uri="{FF2B5EF4-FFF2-40B4-BE49-F238E27FC236}">
                      <a16:creationId xmlns:a16="http://schemas.microsoft.com/office/drawing/2014/main" id="{120FDEDA-55ED-492B-BD34-4318938DF5ED}"/>
                    </a:ext>
                  </a:extLst>
                </p:cNvPr>
                <p:cNvSpPr>
                  <a:spLocks/>
                </p:cNvSpPr>
                <p:nvPr/>
              </p:nvSpPr>
              <p:spPr bwMode="gray">
                <a:xfrm>
                  <a:off x="2995" y="2904"/>
                  <a:ext cx="170" cy="143"/>
                </a:xfrm>
                <a:custGeom>
                  <a:avLst/>
                  <a:gdLst>
                    <a:gd name="T0" fmla="*/ 23 w 170"/>
                    <a:gd name="T1" fmla="*/ 134 h 143"/>
                    <a:gd name="T2" fmla="*/ 0 w 170"/>
                    <a:gd name="T3" fmla="*/ 112 h 143"/>
                    <a:gd name="T4" fmla="*/ 5 w 170"/>
                    <a:gd name="T5" fmla="*/ 67 h 143"/>
                    <a:gd name="T6" fmla="*/ 27 w 170"/>
                    <a:gd name="T7" fmla="*/ 63 h 143"/>
                    <a:gd name="T8" fmla="*/ 31 w 170"/>
                    <a:gd name="T9" fmla="*/ 54 h 143"/>
                    <a:gd name="T10" fmla="*/ 31 w 170"/>
                    <a:gd name="T11" fmla="*/ 32 h 143"/>
                    <a:gd name="T12" fmla="*/ 40 w 170"/>
                    <a:gd name="T13" fmla="*/ 41 h 143"/>
                    <a:gd name="T14" fmla="*/ 49 w 170"/>
                    <a:gd name="T15" fmla="*/ 36 h 143"/>
                    <a:gd name="T16" fmla="*/ 58 w 170"/>
                    <a:gd name="T17" fmla="*/ 50 h 143"/>
                    <a:gd name="T18" fmla="*/ 81 w 170"/>
                    <a:gd name="T19" fmla="*/ 45 h 143"/>
                    <a:gd name="T20" fmla="*/ 85 w 170"/>
                    <a:gd name="T21" fmla="*/ 54 h 143"/>
                    <a:gd name="T22" fmla="*/ 94 w 170"/>
                    <a:gd name="T23" fmla="*/ 58 h 143"/>
                    <a:gd name="T24" fmla="*/ 103 w 170"/>
                    <a:gd name="T25" fmla="*/ 67 h 143"/>
                    <a:gd name="T26" fmla="*/ 121 w 170"/>
                    <a:gd name="T27" fmla="*/ 67 h 143"/>
                    <a:gd name="T28" fmla="*/ 121 w 170"/>
                    <a:gd name="T29" fmla="*/ 50 h 143"/>
                    <a:gd name="T30" fmla="*/ 107 w 170"/>
                    <a:gd name="T31" fmla="*/ 58 h 143"/>
                    <a:gd name="T32" fmla="*/ 94 w 170"/>
                    <a:gd name="T33" fmla="*/ 45 h 143"/>
                    <a:gd name="T34" fmla="*/ 98 w 170"/>
                    <a:gd name="T35" fmla="*/ 18 h 143"/>
                    <a:gd name="T36" fmla="*/ 103 w 170"/>
                    <a:gd name="T37" fmla="*/ 5 h 143"/>
                    <a:gd name="T38" fmla="*/ 125 w 170"/>
                    <a:gd name="T39" fmla="*/ 0 h 143"/>
                    <a:gd name="T40" fmla="*/ 125 w 170"/>
                    <a:gd name="T41" fmla="*/ 5 h 143"/>
                    <a:gd name="T42" fmla="*/ 134 w 170"/>
                    <a:gd name="T43" fmla="*/ 5 h 143"/>
                    <a:gd name="T44" fmla="*/ 139 w 170"/>
                    <a:gd name="T45" fmla="*/ 0 h 143"/>
                    <a:gd name="T46" fmla="*/ 148 w 170"/>
                    <a:gd name="T47" fmla="*/ 9 h 143"/>
                    <a:gd name="T48" fmla="*/ 161 w 170"/>
                    <a:gd name="T49" fmla="*/ 14 h 143"/>
                    <a:gd name="T50" fmla="*/ 170 w 170"/>
                    <a:gd name="T51" fmla="*/ 27 h 143"/>
                    <a:gd name="T52" fmla="*/ 170 w 170"/>
                    <a:gd name="T53" fmla="*/ 36 h 143"/>
                    <a:gd name="T54" fmla="*/ 165 w 170"/>
                    <a:gd name="T55" fmla="*/ 36 h 143"/>
                    <a:gd name="T56" fmla="*/ 165 w 170"/>
                    <a:gd name="T57" fmla="*/ 58 h 143"/>
                    <a:gd name="T58" fmla="*/ 161 w 170"/>
                    <a:gd name="T59" fmla="*/ 63 h 143"/>
                    <a:gd name="T60" fmla="*/ 157 w 170"/>
                    <a:gd name="T61" fmla="*/ 76 h 143"/>
                    <a:gd name="T62" fmla="*/ 161 w 170"/>
                    <a:gd name="T63" fmla="*/ 81 h 143"/>
                    <a:gd name="T64" fmla="*/ 125 w 170"/>
                    <a:gd name="T65" fmla="*/ 99 h 143"/>
                    <a:gd name="T66" fmla="*/ 125 w 170"/>
                    <a:gd name="T67" fmla="*/ 108 h 143"/>
                    <a:gd name="T68" fmla="*/ 107 w 170"/>
                    <a:gd name="T69" fmla="*/ 112 h 143"/>
                    <a:gd name="T70" fmla="*/ 103 w 170"/>
                    <a:gd name="T71" fmla="*/ 117 h 143"/>
                    <a:gd name="T72" fmla="*/ 90 w 170"/>
                    <a:gd name="T73" fmla="*/ 126 h 143"/>
                    <a:gd name="T74" fmla="*/ 72 w 170"/>
                    <a:gd name="T75" fmla="*/ 143 h 143"/>
                    <a:gd name="T76" fmla="*/ 45 w 170"/>
                    <a:gd name="T77" fmla="*/ 139 h 143"/>
                    <a:gd name="T78" fmla="*/ 31 w 170"/>
                    <a:gd name="T79" fmla="*/ 130 h 143"/>
                    <a:gd name="T80" fmla="*/ 23 w 170"/>
                    <a:gd name="T81" fmla="*/ 13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0" h="143">
                      <a:moveTo>
                        <a:pt x="23" y="134"/>
                      </a:moveTo>
                      <a:lnTo>
                        <a:pt x="0" y="112"/>
                      </a:lnTo>
                      <a:lnTo>
                        <a:pt x="5" y="67"/>
                      </a:lnTo>
                      <a:lnTo>
                        <a:pt x="27" y="63"/>
                      </a:lnTo>
                      <a:lnTo>
                        <a:pt x="31" y="54"/>
                      </a:lnTo>
                      <a:lnTo>
                        <a:pt x="31" y="32"/>
                      </a:lnTo>
                      <a:lnTo>
                        <a:pt x="40" y="41"/>
                      </a:lnTo>
                      <a:lnTo>
                        <a:pt x="49" y="36"/>
                      </a:lnTo>
                      <a:lnTo>
                        <a:pt x="58" y="50"/>
                      </a:lnTo>
                      <a:lnTo>
                        <a:pt x="81" y="45"/>
                      </a:lnTo>
                      <a:lnTo>
                        <a:pt x="85" y="54"/>
                      </a:lnTo>
                      <a:lnTo>
                        <a:pt x="94" y="58"/>
                      </a:lnTo>
                      <a:lnTo>
                        <a:pt x="103" y="67"/>
                      </a:lnTo>
                      <a:lnTo>
                        <a:pt x="121" y="67"/>
                      </a:lnTo>
                      <a:lnTo>
                        <a:pt x="121" y="50"/>
                      </a:lnTo>
                      <a:lnTo>
                        <a:pt x="107" y="58"/>
                      </a:lnTo>
                      <a:lnTo>
                        <a:pt x="94" y="45"/>
                      </a:lnTo>
                      <a:lnTo>
                        <a:pt x="98" y="18"/>
                      </a:lnTo>
                      <a:lnTo>
                        <a:pt x="103" y="5"/>
                      </a:lnTo>
                      <a:lnTo>
                        <a:pt x="125" y="0"/>
                      </a:lnTo>
                      <a:lnTo>
                        <a:pt x="125" y="5"/>
                      </a:lnTo>
                      <a:lnTo>
                        <a:pt x="134" y="5"/>
                      </a:lnTo>
                      <a:lnTo>
                        <a:pt x="139" y="0"/>
                      </a:lnTo>
                      <a:lnTo>
                        <a:pt x="148" y="9"/>
                      </a:lnTo>
                      <a:lnTo>
                        <a:pt x="161" y="14"/>
                      </a:lnTo>
                      <a:lnTo>
                        <a:pt x="170" y="27"/>
                      </a:lnTo>
                      <a:lnTo>
                        <a:pt x="170" y="36"/>
                      </a:lnTo>
                      <a:lnTo>
                        <a:pt x="165" y="36"/>
                      </a:lnTo>
                      <a:lnTo>
                        <a:pt x="165" y="58"/>
                      </a:lnTo>
                      <a:lnTo>
                        <a:pt x="161" y="63"/>
                      </a:lnTo>
                      <a:lnTo>
                        <a:pt x="157" y="76"/>
                      </a:lnTo>
                      <a:lnTo>
                        <a:pt x="161" y="81"/>
                      </a:lnTo>
                      <a:lnTo>
                        <a:pt x="125" y="99"/>
                      </a:lnTo>
                      <a:lnTo>
                        <a:pt x="125" y="108"/>
                      </a:lnTo>
                      <a:lnTo>
                        <a:pt x="107" y="112"/>
                      </a:lnTo>
                      <a:lnTo>
                        <a:pt x="103" y="117"/>
                      </a:lnTo>
                      <a:lnTo>
                        <a:pt x="90" y="126"/>
                      </a:lnTo>
                      <a:lnTo>
                        <a:pt x="72" y="143"/>
                      </a:lnTo>
                      <a:lnTo>
                        <a:pt x="45" y="139"/>
                      </a:lnTo>
                      <a:lnTo>
                        <a:pt x="31" y="130"/>
                      </a:lnTo>
                      <a:lnTo>
                        <a:pt x="23" y="13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227" name="Freeform 61">
                  <a:extLst>
                    <a:ext uri="{FF2B5EF4-FFF2-40B4-BE49-F238E27FC236}">
                      <a16:creationId xmlns:a16="http://schemas.microsoft.com/office/drawing/2014/main" id="{27C1EE70-90EB-4FB2-93D3-EB53A11828BF}"/>
                    </a:ext>
                  </a:extLst>
                </p:cNvPr>
                <p:cNvSpPr>
                  <a:spLocks/>
                </p:cNvSpPr>
                <p:nvPr/>
              </p:nvSpPr>
              <p:spPr bwMode="gray">
                <a:xfrm>
                  <a:off x="3451" y="2592"/>
                  <a:ext cx="18" cy="9"/>
                </a:xfrm>
                <a:custGeom>
                  <a:avLst/>
                  <a:gdLst>
                    <a:gd name="T0" fmla="*/ 0 w 18"/>
                    <a:gd name="T1" fmla="*/ 4 h 9"/>
                    <a:gd name="T2" fmla="*/ 9 w 18"/>
                    <a:gd name="T3" fmla="*/ 9 h 9"/>
                    <a:gd name="T4" fmla="*/ 18 w 18"/>
                    <a:gd name="T5" fmla="*/ 4 h 9"/>
                    <a:gd name="T6" fmla="*/ 4 w 18"/>
                    <a:gd name="T7" fmla="*/ 0 h 9"/>
                    <a:gd name="T8" fmla="*/ 0 w 18"/>
                    <a:gd name="T9" fmla="*/ 4 h 9"/>
                  </a:gdLst>
                  <a:ahLst/>
                  <a:cxnLst>
                    <a:cxn ang="0">
                      <a:pos x="T0" y="T1"/>
                    </a:cxn>
                    <a:cxn ang="0">
                      <a:pos x="T2" y="T3"/>
                    </a:cxn>
                    <a:cxn ang="0">
                      <a:pos x="T4" y="T5"/>
                    </a:cxn>
                    <a:cxn ang="0">
                      <a:pos x="T6" y="T7"/>
                    </a:cxn>
                    <a:cxn ang="0">
                      <a:pos x="T8" y="T9"/>
                    </a:cxn>
                  </a:cxnLst>
                  <a:rect l="0" t="0" r="r" b="b"/>
                  <a:pathLst>
                    <a:path w="18" h="9">
                      <a:moveTo>
                        <a:pt x="0" y="4"/>
                      </a:moveTo>
                      <a:lnTo>
                        <a:pt x="9" y="9"/>
                      </a:lnTo>
                      <a:lnTo>
                        <a:pt x="18" y="4"/>
                      </a:lnTo>
                      <a:lnTo>
                        <a:pt x="4" y="0"/>
                      </a:lnTo>
                      <a:lnTo>
                        <a:pt x="0" y="4"/>
                      </a:lnTo>
                    </a:path>
                  </a:pathLst>
                </a:custGeom>
                <a:grpFill/>
                <a:ln w="9525" cmpd="sng">
                  <a:solidFill>
                    <a:schemeClr val="bg1"/>
                  </a:solidFill>
                  <a:prstDash val="solid"/>
                  <a:round/>
                  <a:headEnd/>
                  <a:tailEnd/>
                </a:ln>
              </p:spPr>
              <p:txBody>
                <a:bodyPr/>
                <a:lstStyle/>
                <a:p>
                  <a:endParaRPr lang="x-es-XL" dirty="0">
                    <a:latin typeface="Delivery" panose="020F0503020204020204" pitchFamily="34" charset="0"/>
                  </a:endParaRPr>
                </a:p>
              </p:txBody>
            </p:sp>
            <p:sp>
              <p:nvSpPr>
                <p:cNvPr id="228" name="Freeform 62">
                  <a:extLst>
                    <a:ext uri="{FF2B5EF4-FFF2-40B4-BE49-F238E27FC236}">
                      <a16:creationId xmlns:a16="http://schemas.microsoft.com/office/drawing/2014/main" id="{96D25F11-F95B-4593-B2C0-AA2BF99EA070}"/>
                    </a:ext>
                  </a:extLst>
                </p:cNvPr>
                <p:cNvSpPr>
                  <a:spLocks/>
                </p:cNvSpPr>
                <p:nvPr/>
              </p:nvSpPr>
              <p:spPr bwMode="gray">
                <a:xfrm>
                  <a:off x="3120" y="2904"/>
                  <a:ext cx="14" cy="5"/>
                </a:xfrm>
                <a:custGeom>
                  <a:avLst/>
                  <a:gdLst>
                    <a:gd name="T0" fmla="*/ 14 w 14"/>
                    <a:gd name="T1" fmla="*/ 0 h 5"/>
                    <a:gd name="T2" fmla="*/ 9 w 14"/>
                    <a:gd name="T3" fmla="*/ 5 h 5"/>
                    <a:gd name="T4" fmla="*/ 0 w 14"/>
                    <a:gd name="T5" fmla="*/ 5 h 5"/>
                    <a:gd name="T6" fmla="*/ 0 w 14"/>
                    <a:gd name="T7" fmla="*/ 0 h 5"/>
                  </a:gdLst>
                  <a:ahLst/>
                  <a:cxnLst>
                    <a:cxn ang="0">
                      <a:pos x="T0" y="T1"/>
                    </a:cxn>
                    <a:cxn ang="0">
                      <a:pos x="T2" y="T3"/>
                    </a:cxn>
                    <a:cxn ang="0">
                      <a:pos x="T4" y="T5"/>
                    </a:cxn>
                    <a:cxn ang="0">
                      <a:pos x="T6" y="T7"/>
                    </a:cxn>
                  </a:cxnLst>
                  <a:rect l="0" t="0" r="r" b="b"/>
                  <a:pathLst>
                    <a:path w="14" h="5">
                      <a:moveTo>
                        <a:pt x="14" y="0"/>
                      </a:moveTo>
                      <a:lnTo>
                        <a:pt x="9" y="5"/>
                      </a:lnTo>
                      <a:lnTo>
                        <a:pt x="0" y="5"/>
                      </a:lnTo>
                      <a:lnTo>
                        <a:pt x="0" y="0"/>
                      </a:lnTo>
                    </a:path>
                  </a:pathLst>
                </a:custGeom>
                <a:grpFill/>
                <a:ln w="9525" cmpd="sng">
                  <a:solidFill>
                    <a:schemeClr val="bg1"/>
                  </a:solidFill>
                  <a:prstDash val="solid"/>
                  <a:round/>
                  <a:headEnd/>
                  <a:tailEnd/>
                </a:ln>
              </p:spPr>
              <p:txBody>
                <a:bodyPr/>
                <a:lstStyle/>
                <a:p>
                  <a:endParaRPr lang="x-es-XL" dirty="0">
                    <a:latin typeface="Delivery" panose="020F0503020204020204" pitchFamily="34" charset="0"/>
                  </a:endParaRPr>
                </a:p>
              </p:txBody>
            </p:sp>
          </p:grpSp>
          <p:grpSp>
            <p:nvGrpSpPr>
              <p:cNvPr id="25" name="Group 63">
                <a:extLst>
                  <a:ext uri="{FF2B5EF4-FFF2-40B4-BE49-F238E27FC236}">
                    <a16:creationId xmlns:a16="http://schemas.microsoft.com/office/drawing/2014/main" id="{2247E3D5-971D-41FF-81FF-F384F3A87029}"/>
                  </a:ext>
                </a:extLst>
              </p:cNvPr>
              <p:cNvGrpSpPr>
                <a:grpSpLocks/>
              </p:cNvGrpSpPr>
              <p:nvPr/>
            </p:nvGrpSpPr>
            <p:grpSpPr bwMode="gray">
              <a:xfrm>
                <a:off x="553183" y="1409232"/>
                <a:ext cx="2939878" cy="4351333"/>
                <a:chOff x="253" y="898"/>
                <a:chExt cx="1938" cy="2869"/>
              </a:xfrm>
              <a:grpFill/>
            </p:grpSpPr>
            <p:sp>
              <p:nvSpPr>
                <p:cNvPr id="131" name="Freeform 64">
                  <a:extLst>
                    <a:ext uri="{FF2B5EF4-FFF2-40B4-BE49-F238E27FC236}">
                      <a16:creationId xmlns:a16="http://schemas.microsoft.com/office/drawing/2014/main" id="{B1AFDCB3-C039-4F66-BEDB-69432FD21C16}"/>
                    </a:ext>
                  </a:extLst>
                </p:cNvPr>
                <p:cNvSpPr>
                  <a:spLocks noEditPoints="1"/>
                </p:cNvSpPr>
                <p:nvPr/>
              </p:nvSpPr>
              <p:spPr bwMode="gray">
                <a:xfrm>
                  <a:off x="1633" y="3110"/>
                  <a:ext cx="286" cy="639"/>
                </a:xfrm>
                <a:custGeom>
                  <a:avLst/>
                  <a:gdLst>
                    <a:gd name="T0" fmla="*/ 76 w 286"/>
                    <a:gd name="T1" fmla="*/ 576 h 639"/>
                    <a:gd name="T2" fmla="*/ 67 w 286"/>
                    <a:gd name="T3" fmla="*/ 532 h 639"/>
                    <a:gd name="T4" fmla="*/ 80 w 286"/>
                    <a:gd name="T5" fmla="*/ 523 h 639"/>
                    <a:gd name="T6" fmla="*/ 85 w 286"/>
                    <a:gd name="T7" fmla="*/ 500 h 639"/>
                    <a:gd name="T8" fmla="*/ 116 w 286"/>
                    <a:gd name="T9" fmla="*/ 456 h 639"/>
                    <a:gd name="T10" fmla="*/ 89 w 286"/>
                    <a:gd name="T11" fmla="*/ 438 h 639"/>
                    <a:gd name="T12" fmla="*/ 103 w 286"/>
                    <a:gd name="T13" fmla="*/ 411 h 639"/>
                    <a:gd name="T14" fmla="*/ 125 w 286"/>
                    <a:gd name="T15" fmla="*/ 375 h 639"/>
                    <a:gd name="T16" fmla="*/ 129 w 286"/>
                    <a:gd name="T17" fmla="*/ 362 h 639"/>
                    <a:gd name="T18" fmla="*/ 143 w 286"/>
                    <a:gd name="T19" fmla="*/ 362 h 639"/>
                    <a:gd name="T20" fmla="*/ 134 w 286"/>
                    <a:gd name="T21" fmla="*/ 353 h 639"/>
                    <a:gd name="T22" fmla="*/ 125 w 286"/>
                    <a:gd name="T23" fmla="*/ 326 h 639"/>
                    <a:gd name="T24" fmla="*/ 165 w 286"/>
                    <a:gd name="T25" fmla="*/ 331 h 639"/>
                    <a:gd name="T26" fmla="*/ 170 w 286"/>
                    <a:gd name="T27" fmla="*/ 290 h 639"/>
                    <a:gd name="T28" fmla="*/ 228 w 286"/>
                    <a:gd name="T29" fmla="*/ 277 h 639"/>
                    <a:gd name="T30" fmla="*/ 241 w 286"/>
                    <a:gd name="T31" fmla="*/ 241 h 639"/>
                    <a:gd name="T32" fmla="*/ 232 w 286"/>
                    <a:gd name="T33" fmla="*/ 237 h 639"/>
                    <a:gd name="T34" fmla="*/ 219 w 286"/>
                    <a:gd name="T35" fmla="*/ 214 h 639"/>
                    <a:gd name="T36" fmla="*/ 219 w 286"/>
                    <a:gd name="T37" fmla="*/ 188 h 639"/>
                    <a:gd name="T38" fmla="*/ 219 w 286"/>
                    <a:gd name="T39" fmla="*/ 165 h 639"/>
                    <a:gd name="T40" fmla="*/ 232 w 286"/>
                    <a:gd name="T41" fmla="*/ 134 h 639"/>
                    <a:gd name="T42" fmla="*/ 268 w 286"/>
                    <a:gd name="T43" fmla="*/ 94 h 639"/>
                    <a:gd name="T44" fmla="*/ 286 w 286"/>
                    <a:gd name="T45" fmla="*/ 58 h 639"/>
                    <a:gd name="T46" fmla="*/ 272 w 286"/>
                    <a:gd name="T47" fmla="*/ 76 h 639"/>
                    <a:gd name="T48" fmla="*/ 241 w 286"/>
                    <a:gd name="T49" fmla="*/ 89 h 639"/>
                    <a:gd name="T50" fmla="*/ 214 w 286"/>
                    <a:gd name="T51" fmla="*/ 85 h 639"/>
                    <a:gd name="T52" fmla="*/ 228 w 286"/>
                    <a:gd name="T53" fmla="*/ 49 h 639"/>
                    <a:gd name="T54" fmla="*/ 183 w 286"/>
                    <a:gd name="T55" fmla="*/ 31 h 639"/>
                    <a:gd name="T56" fmla="*/ 152 w 286"/>
                    <a:gd name="T57" fmla="*/ 0 h 639"/>
                    <a:gd name="T58" fmla="*/ 134 w 286"/>
                    <a:gd name="T59" fmla="*/ 13 h 639"/>
                    <a:gd name="T60" fmla="*/ 103 w 286"/>
                    <a:gd name="T61" fmla="*/ 0 h 639"/>
                    <a:gd name="T62" fmla="*/ 89 w 286"/>
                    <a:gd name="T63" fmla="*/ 31 h 639"/>
                    <a:gd name="T64" fmla="*/ 62 w 286"/>
                    <a:gd name="T65" fmla="*/ 71 h 639"/>
                    <a:gd name="T66" fmla="*/ 58 w 286"/>
                    <a:gd name="T67" fmla="*/ 94 h 639"/>
                    <a:gd name="T68" fmla="*/ 53 w 286"/>
                    <a:gd name="T69" fmla="*/ 138 h 639"/>
                    <a:gd name="T70" fmla="*/ 40 w 286"/>
                    <a:gd name="T71" fmla="*/ 156 h 639"/>
                    <a:gd name="T72" fmla="*/ 53 w 286"/>
                    <a:gd name="T73" fmla="*/ 183 h 639"/>
                    <a:gd name="T74" fmla="*/ 44 w 286"/>
                    <a:gd name="T75" fmla="*/ 214 h 639"/>
                    <a:gd name="T76" fmla="*/ 31 w 286"/>
                    <a:gd name="T77" fmla="*/ 250 h 639"/>
                    <a:gd name="T78" fmla="*/ 27 w 286"/>
                    <a:gd name="T79" fmla="*/ 290 h 639"/>
                    <a:gd name="T80" fmla="*/ 22 w 286"/>
                    <a:gd name="T81" fmla="*/ 308 h 639"/>
                    <a:gd name="T82" fmla="*/ 27 w 286"/>
                    <a:gd name="T83" fmla="*/ 349 h 639"/>
                    <a:gd name="T84" fmla="*/ 27 w 286"/>
                    <a:gd name="T85" fmla="*/ 375 h 639"/>
                    <a:gd name="T86" fmla="*/ 31 w 286"/>
                    <a:gd name="T87" fmla="*/ 398 h 639"/>
                    <a:gd name="T88" fmla="*/ 22 w 286"/>
                    <a:gd name="T89" fmla="*/ 407 h 639"/>
                    <a:gd name="T90" fmla="*/ 22 w 286"/>
                    <a:gd name="T91" fmla="*/ 424 h 639"/>
                    <a:gd name="T92" fmla="*/ 13 w 286"/>
                    <a:gd name="T93" fmla="*/ 487 h 639"/>
                    <a:gd name="T94" fmla="*/ 0 w 286"/>
                    <a:gd name="T95" fmla="*/ 509 h 639"/>
                    <a:gd name="T96" fmla="*/ 13 w 286"/>
                    <a:gd name="T97" fmla="*/ 536 h 639"/>
                    <a:gd name="T98" fmla="*/ 22 w 286"/>
                    <a:gd name="T99" fmla="*/ 563 h 639"/>
                    <a:gd name="T100" fmla="*/ 71 w 286"/>
                    <a:gd name="T101" fmla="*/ 635 h 639"/>
                    <a:gd name="T102" fmla="*/ 94 w 286"/>
                    <a:gd name="T103" fmla="*/ 635 h 639"/>
                    <a:gd name="T104" fmla="*/ 107 w 286"/>
                    <a:gd name="T105" fmla="*/ 635 h 639"/>
                    <a:gd name="T106" fmla="*/ 125 w 286"/>
                    <a:gd name="T107" fmla="*/ 626 h 639"/>
                    <a:gd name="T108" fmla="*/ 89 w 286"/>
                    <a:gd name="T109" fmla="*/ 617 h 639"/>
                    <a:gd name="T110" fmla="*/ 71 w 286"/>
                    <a:gd name="T111" fmla="*/ 594 h 639"/>
                    <a:gd name="T112" fmla="*/ 71 w 286"/>
                    <a:gd name="T113" fmla="*/ 576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6" h="639">
                      <a:moveTo>
                        <a:pt x="62" y="567"/>
                      </a:moveTo>
                      <a:lnTo>
                        <a:pt x="76" y="576"/>
                      </a:lnTo>
                      <a:lnTo>
                        <a:pt x="67" y="541"/>
                      </a:lnTo>
                      <a:lnTo>
                        <a:pt x="67" y="532"/>
                      </a:lnTo>
                      <a:lnTo>
                        <a:pt x="76" y="523"/>
                      </a:lnTo>
                      <a:lnTo>
                        <a:pt x="80" y="523"/>
                      </a:lnTo>
                      <a:lnTo>
                        <a:pt x="89" y="505"/>
                      </a:lnTo>
                      <a:lnTo>
                        <a:pt x="85" y="500"/>
                      </a:lnTo>
                      <a:lnTo>
                        <a:pt x="111" y="478"/>
                      </a:lnTo>
                      <a:lnTo>
                        <a:pt x="116" y="456"/>
                      </a:lnTo>
                      <a:lnTo>
                        <a:pt x="103" y="451"/>
                      </a:lnTo>
                      <a:lnTo>
                        <a:pt x="89" y="438"/>
                      </a:lnTo>
                      <a:lnTo>
                        <a:pt x="94" y="424"/>
                      </a:lnTo>
                      <a:lnTo>
                        <a:pt x="103" y="411"/>
                      </a:lnTo>
                      <a:lnTo>
                        <a:pt x="120" y="411"/>
                      </a:lnTo>
                      <a:lnTo>
                        <a:pt x="125" y="375"/>
                      </a:lnTo>
                      <a:lnTo>
                        <a:pt x="134" y="366"/>
                      </a:lnTo>
                      <a:lnTo>
                        <a:pt x="129" y="362"/>
                      </a:lnTo>
                      <a:lnTo>
                        <a:pt x="138" y="366"/>
                      </a:lnTo>
                      <a:lnTo>
                        <a:pt x="143" y="362"/>
                      </a:lnTo>
                      <a:lnTo>
                        <a:pt x="143" y="353"/>
                      </a:lnTo>
                      <a:lnTo>
                        <a:pt x="134" y="353"/>
                      </a:lnTo>
                      <a:lnTo>
                        <a:pt x="125" y="349"/>
                      </a:lnTo>
                      <a:lnTo>
                        <a:pt x="125" y="326"/>
                      </a:lnTo>
                      <a:lnTo>
                        <a:pt x="147" y="335"/>
                      </a:lnTo>
                      <a:lnTo>
                        <a:pt x="165" y="331"/>
                      </a:lnTo>
                      <a:lnTo>
                        <a:pt x="161" y="313"/>
                      </a:lnTo>
                      <a:lnTo>
                        <a:pt x="170" y="290"/>
                      </a:lnTo>
                      <a:lnTo>
                        <a:pt x="210" y="286"/>
                      </a:lnTo>
                      <a:lnTo>
                        <a:pt x="228" y="277"/>
                      </a:lnTo>
                      <a:lnTo>
                        <a:pt x="241" y="255"/>
                      </a:lnTo>
                      <a:lnTo>
                        <a:pt x="241" y="241"/>
                      </a:lnTo>
                      <a:lnTo>
                        <a:pt x="237" y="246"/>
                      </a:lnTo>
                      <a:lnTo>
                        <a:pt x="232" y="237"/>
                      </a:lnTo>
                      <a:lnTo>
                        <a:pt x="237" y="228"/>
                      </a:lnTo>
                      <a:lnTo>
                        <a:pt x="219" y="214"/>
                      </a:lnTo>
                      <a:lnTo>
                        <a:pt x="214" y="206"/>
                      </a:lnTo>
                      <a:lnTo>
                        <a:pt x="219" y="188"/>
                      </a:lnTo>
                      <a:lnTo>
                        <a:pt x="223" y="183"/>
                      </a:lnTo>
                      <a:lnTo>
                        <a:pt x="219" y="165"/>
                      </a:lnTo>
                      <a:lnTo>
                        <a:pt x="228" y="138"/>
                      </a:lnTo>
                      <a:lnTo>
                        <a:pt x="232" y="134"/>
                      </a:lnTo>
                      <a:lnTo>
                        <a:pt x="232" y="130"/>
                      </a:lnTo>
                      <a:lnTo>
                        <a:pt x="268" y="94"/>
                      </a:lnTo>
                      <a:lnTo>
                        <a:pt x="286" y="80"/>
                      </a:lnTo>
                      <a:lnTo>
                        <a:pt x="286" y="58"/>
                      </a:lnTo>
                      <a:lnTo>
                        <a:pt x="277" y="58"/>
                      </a:lnTo>
                      <a:lnTo>
                        <a:pt x="272" y="76"/>
                      </a:lnTo>
                      <a:lnTo>
                        <a:pt x="259" y="89"/>
                      </a:lnTo>
                      <a:lnTo>
                        <a:pt x="241" y="89"/>
                      </a:lnTo>
                      <a:lnTo>
                        <a:pt x="228" y="85"/>
                      </a:lnTo>
                      <a:lnTo>
                        <a:pt x="214" y="85"/>
                      </a:lnTo>
                      <a:lnTo>
                        <a:pt x="228" y="58"/>
                      </a:lnTo>
                      <a:lnTo>
                        <a:pt x="228" y="49"/>
                      </a:lnTo>
                      <a:lnTo>
                        <a:pt x="192" y="31"/>
                      </a:lnTo>
                      <a:lnTo>
                        <a:pt x="183" y="31"/>
                      </a:lnTo>
                      <a:lnTo>
                        <a:pt x="156" y="4"/>
                      </a:lnTo>
                      <a:lnTo>
                        <a:pt x="152" y="0"/>
                      </a:lnTo>
                      <a:lnTo>
                        <a:pt x="138" y="0"/>
                      </a:lnTo>
                      <a:lnTo>
                        <a:pt x="134" y="13"/>
                      </a:lnTo>
                      <a:lnTo>
                        <a:pt x="125" y="4"/>
                      </a:lnTo>
                      <a:lnTo>
                        <a:pt x="103" y="0"/>
                      </a:lnTo>
                      <a:lnTo>
                        <a:pt x="89" y="13"/>
                      </a:lnTo>
                      <a:lnTo>
                        <a:pt x="89" y="31"/>
                      </a:lnTo>
                      <a:lnTo>
                        <a:pt x="67" y="45"/>
                      </a:lnTo>
                      <a:lnTo>
                        <a:pt x="62" y="71"/>
                      </a:lnTo>
                      <a:lnTo>
                        <a:pt x="67" y="80"/>
                      </a:lnTo>
                      <a:lnTo>
                        <a:pt x="58" y="94"/>
                      </a:lnTo>
                      <a:lnTo>
                        <a:pt x="49" y="121"/>
                      </a:lnTo>
                      <a:lnTo>
                        <a:pt x="53" y="138"/>
                      </a:lnTo>
                      <a:lnTo>
                        <a:pt x="44" y="143"/>
                      </a:lnTo>
                      <a:lnTo>
                        <a:pt x="40" y="156"/>
                      </a:lnTo>
                      <a:lnTo>
                        <a:pt x="49" y="183"/>
                      </a:lnTo>
                      <a:lnTo>
                        <a:pt x="53" y="183"/>
                      </a:lnTo>
                      <a:lnTo>
                        <a:pt x="53" y="201"/>
                      </a:lnTo>
                      <a:lnTo>
                        <a:pt x="44" y="214"/>
                      </a:lnTo>
                      <a:lnTo>
                        <a:pt x="40" y="237"/>
                      </a:lnTo>
                      <a:lnTo>
                        <a:pt x="31" y="250"/>
                      </a:lnTo>
                      <a:lnTo>
                        <a:pt x="36" y="286"/>
                      </a:lnTo>
                      <a:lnTo>
                        <a:pt x="27" y="290"/>
                      </a:lnTo>
                      <a:lnTo>
                        <a:pt x="27" y="304"/>
                      </a:lnTo>
                      <a:lnTo>
                        <a:pt x="22" y="308"/>
                      </a:lnTo>
                      <a:lnTo>
                        <a:pt x="22" y="326"/>
                      </a:lnTo>
                      <a:lnTo>
                        <a:pt x="27" y="349"/>
                      </a:lnTo>
                      <a:lnTo>
                        <a:pt x="22" y="362"/>
                      </a:lnTo>
                      <a:lnTo>
                        <a:pt x="27" y="375"/>
                      </a:lnTo>
                      <a:lnTo>
                        <a:pt x="22" y="398"/>
                      </a:lnTo>
                      <a:lnTo>
                        <a:pt x="31" y="398"/>
                      </a:lnTo>
                      <a:lnTo>
                        <a:pt x="31" y="407"/>
                      </a:lnTo>
                      <a:lnTo>
                        <a:pt x="22" y="407"/>
                      </a:lnTo>
                      <a:lnTo>
                        <a:pt x="31" y="416"/>
                      </a:lnTo>
                      <a:lnTo>
                        <a:pt x="22" y="424"/>
                      </a:lnTo>
                      <a:lnTo>
                        <a:pt x="22" y="442"/>
                      </a:lnTo>
                      <a:lnTo>
                        <a:pt x="13" y="487"/>
                      </a:lnTo>
                      <a:lnTo>
                        <a:pt x="9" y="492"/>
                      </a:lnTo>
                      <a:lnTo>
                        <a:pt x="0" y="509"/>
                      </a:lnTo>
                      <a:lnTo>
                        <a:pt x="4" y="536"/>
                      </a:lnTo>
                      <a:lnTo>
                        <a:pt x="13" y="536"/>
                      </a:lnTo>
                      <a:lnTo>
                        <a:pt x="13" y="554"/>
                      </a:lnTo>
                      <a:lnTo>
                        <a:pt x="22" y="563"/>
                      </a:lnTo>
                      <a:lnTo>
                        <a:pt x="62" y="567"/>
                      </a:lnTo>
                      <a:close/>
                      <a:moveTo>
                        <a:pt x="71" y="635"/>
                      </a:moveTo>
                      <a:lnTo>
                        <a:pt x="80" y="635"/>
                      </a:lnTo>
                      <a:lnTo>
                        <a:pt x="94" y="635"/>
                      </a:lnTo>
                      <a:lnTo>
                        <a:pt x="103" y="639"/>
                      </a:lnTo>
                      <a:lnTo>
                        <a:pt x="107" y="635"/>
                      </a:lnTo>
                      <a:lnTo>
                        <a:pt x="120" y="635"/>
                      </a:lnTo>
                      <a:lnTo>
                        <a:pt x="125" y="626"/>
                      </a:lnTo>
                      <a:lnTo>
                        <a:pt x="107" y="626"/>
                      </a:lnTo>
                      <a:lnTo>
                        <a:pt x="89" y="617"/>
                      </a:lnTo>
                      <a:lnTo>
                        <a:pt x="80" y="594"/>
                      </a:lnTo>
                      <a:lnTo>
                        <a:pt x="71" y="594"/>
                      </a:lnTo>
                      <a:lnTo>
                        <a:pt x="76" y="585"/>
                      </a:lnTo>
                      <a:lnTo>
                        <a:pt x="71" y="576"/>
                      </a:lnTo>
                      <a:lnTo>
                        <a:pt x="71" y="63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32" name="Freeform 65">
                  <a:extLst>
                    <a:ext uri="{FF2B5EF4-FFF2-40B4-BE49-F238E27FC236}">
                      <a16:creationId xmlns:a16="http://schemas.microsoft.com/office/drawing/2014/main" id="{B86476C8-F568-4304-B94E-D28EED76F64E}"/>
                    </a:ext>
                  </a:extLst>
                </p:cNvPr>
                <p:cNvSpPr>
                  <a:spLocks noEditPoints="1"/>
                </p:cNvSpPr>
                <p:nvPr/>
              </p:nvSpPr>
              <p:spPr bwMode="gray">
                <a:xfrm>
                  <a:off x="1557" y="2373"/>
                  <a:ext cx="85" cy="98"/>
                </a:xfrm>
                <a:custGeom>
                  <a:avLst/>
                  <a:gdLst>
                    <a:gd name="T0" fmla="*/ 4 w 85"/>
                    <a:gd name="T1" fmla="*/ 4 h 98"/>
                    <a:gd name="T2" fmla="*/ 0 w 85"/>
                    <a:gd name="T3" fmla="*/ 9 h 98"/>
                    <a:gd name="T4" fmla="*/ 9 w 85"/>
                    <a:gd name="T5" fmla="*/ 9 h 98"/>
                    <a:gd name="T6" fmla="*/ 13 w 85"/>
                    <a:gd name="T7" fmla="*/ 9 h 98"/>
                    <a:gd name="T8" fmla="*/ 13 w 85"/>
                    <a:gd name="T9" fmla="*/ 4 h 98"/>
                    <a:gd name="T10" fmla="*/ 4 w 85"/>
                    <a:gd name="T11" fmla="*/ 4 h 98"/>
                    <a:gd name="T12" fmla="*/ 9 w 85"/>
                    <a:gd name="T13" fmla="*/ 26 h 98"/>
                    <a:gd name="T14" fmla="*/ 4 w 85"/>
                    <a:gd name="T15" fmla="*/ 40 h 98"/>
                    <a:gd name="T16" fmla="*/ 13 w 85"/>
                    <a:gd name="T17" fmla="*/ 40 h 98"/>
                    <a:gd name="T18" fmla="*/ 13 w 85"/>
                    <a:gd name="T19" fmla="*/ 40 h 98"/>
                    <a:gd name="T20" fmla="*/ 9 w 85"/>
                    <a:gd name="T21" fmla="*/ 26 h 98"/>
                    <a:gd name="T22" fmla="*/ 9 w 85"/>
                    <a:gd name="T23" fmla="*/ 26 h 98"/>
                    <a:gd name="T24" fmla="*/ 18 w 85"/>
                    <a:gd name="T25" fmla="*/ 26 h 98"/>
                    <a:gd name="T26" fmla="*/ 18 w 85"/>
                    <a:gd name="T27" fmla="*/ 35 h 98"/>
                    <a:gd name="T28" fmla="*/ 22 w 85"/>
                    <a:gd name="T29" fmla="*/ 31 h 98"/>
                    <a:gd name="T30" fmla="*/ 22 w 85"/>
                    <a:gd name="T31" fmla="*/ 31 h 98"/>
                    <a:gd name="T32" fmla="*/ 22 w 85"/>
                    <a:gd name="T33" fmla="*/ 26 h 98"/>
                    <a:gd name="T34" fmla="*/ 18 w 85"/>
                    <a:gd name="T35" fmla="*/ 26 h 98"/>
                    <a:gd name="T36" fmla="*/ 18 w 85"/>
                    <a:gd name="T37" fmla="*/ 0 h 98"/>
                    <a:gd name="T38" fmla="*/ 22 w 85"/>
                    <a:gd name="T39" fmla="*/ 9 h 98"/>
                    <a:gd name="T40" fmla="*/ 22 w 85"/>
                    <a:gd name="T41" fmla="*/ 13 h 98"/>
                    <a:gd name="T42" fmla="*/ 22 w 85"/>
                    <a:gd name="T43" fmla="*/ 17 h 98"/>
                    <a:gd name="T44" fmla="*/ 27 w 85"/>
                    <a:gd name="T45" fmla="*/ 9 h 98"/>
                    <a:gd name="T46" fmla="*/ 22 w 85"/>
                    <a:gd name="T47" fmla="*/ 4 h 98"/>
                    <a:gd name="T48" fmla="*/ 18 w 85"/>
                    <a:gd name="T49" fmla="*/ 0 h 98"/>
                    <a:gd name="T50" fmla="*/ 18 w 85"/>
                    <a:gd name="T51" fmla="*/ 53 h 98"/>
                    <a:gd name="T52" fmla="*/ 18 w 85"/>
                    <a:gd name="T53" fmla="*/ 44 h 98"/>
                    <a:gd name="T54" fmla="*/ 13 w 85"/>
                    <a:gd name="T55" fmla="*/ 44 h 98"/>
                    <a:gd name="T56" fmla="*/ 13 w 85"/>
                    <a:gd name="T57" fmla="*/ 53 h 98"/>
                    <a:gd name="T58" fmla="*/ 18 w 85"/>
                    <a:gd name="T59" fmla="*/ 53 h 98"/>
                    <a:gd name="T60" fmla="*/ 31 w 85"/>
                    <a:gd name="T61" fmla="*/ 22 h 98"/>
                    <a:gd name="T62" fmla="*/ 27 w 85"/>
                    <a:gd name="T63" fmla="*/ 22 h 98"/>
                    <a:gd name="T64" fmla="*/ 31 w 85"/>
                    <a:gd name="T65" fmla="*/ 26 h 98"/>
                    <a:gd name="T66" fmla="*/ 36 w 85"/>
                    <a:gd name="T67" fmla="*/ 31 h 98"/>
                    <a:gd name="T68" fmla="*/ 36 w 85"/>
                    <a:gd name="T69" fmla="*/ 35 h 98"/>
                    <a:gd name="T70" fmla="*/ 40 w 85"/>
                    <a:gd name="T71" fmla="*/ 26 h 98"/>
                    <a:gd name="T72" fmla="*/ 31 w 85"/>
                    <a:gd name="T73" fmla="*/ 22 h 98"/>
                    <a:gd name="T74" fmla="*/ 45 w 85"/>
                    <a:gd name="T75" fmla="*/ 35 h 98"/>
                    <a:gd name="T76" fmla="*/ 49 w 85"/>
                    <a:gd name="T77" fmla="*/ 44 h 98"/>
                    <a:gd name="T78" fmla="*/ 45 w 85"/>
                    <a:gd name="T79" fmla="*/ 49 h 98"/>
                    <a:gd name="T80" fmla="*/ 53 w 85"/>
                    <a:gd name="T81" fmla="*/ 49 h 98"/>
                    <a:gd name="T82" fmla="*/ 49 w 85"/>
                    <a:gd name="T83" fmla="*/ 44 h 98"/>
                    <a:gd name="T84" fmla="*/ 45 w 85"/>
                    <a:gd name="T85" fmla="*/ 35 h 98"/>
                    <a:gd name="T86" fmla="*/ 49 w 85"/>
                    <a:gd name="T87" fmla="*/ 53 h 98"/>
                    <a:gd name="T88" fmla="*/ 49 w 85"/>
                    <a:gd name="T89" fmla="*/ 53 h 98"/>
                    <a:gd name="T90" fmla="*/ 49 w 85"/>
                    <a:gd name="T91" fmla="*/ 62 h 98"/>
                    <a:gd name="T92" fmla="*/ 58 w 85"/>
                    <a:gd name="T93" fmla="*/ 67 h 98"/>
                    <a:gd name="T94" fmla="*/ 53 w 85"/>
                    <a:gd name="T95" fmla="*/ 58 h 98"/>
                    <a:gd name="T96" fmla="*/ 49 w 85"/>
                    <a:gd name="T97" fmla="*/ 53 h 98"/>
                    <a:gd name="T98" fmla="*/ 62 w 85"/>
                    <a:gd name="T99" fmla="*/ 62 h 98"/>
                    <a:gd name="T100" fmla="*/ 62 w 85"/>
                    <a:gd name="T101" fmla="*/ 67 h 98"/>
                    <a:gd name="T102" fmla="*/ 67 w 85"/>
                    <a:gd name="T103" fmla="*/ 67 h 98"/>
                    <a:gd name="T104" fmla="*/ 67 w 85"/>
                    <a:gd name="T105" fmla="*/ 71 h 98"/>
                    <a:gd name="T106" fmla="*/ 67 w 85"/>
                    <a:gd name="T107" fmla="*/ 80 h 98"/>
                    <a:gd name="T108" fmla="*/ 71 w 85"/>
                    <a:gd name="T109" fmla="*/ 71 h 98"/>
                    <a:gd name="T110" fmla="*/ 71 w 85"/>
                    <a:gd name="T111" fmla="*/ 67 h 98"/>
                    <a:gd name="T112" fmla="*/ 67 w 85"/>
                    <a:gd name="T113" fmla="*/ 67 h 98"/>
                    <a:gd name="T114" fmla="*/ 62 w 85"/>
                    <a:gd name="T115" fmla="*/ 62 h 98"/>
                    <a:gd name="T116" fmla="*/ 71 w 85"/>
                    <a:gd name="T117" fmla="*/ 93 h 98"/>
                    <a:gd name="T118" fmla="*/ 80 w 85"/>
                    <a:gd name="T119" fmla="*/ 98 h 98"/>
                    <a:gd name="T120" fmla="*/ 85 w 85"/>
                    <a:gd name="T121" fmla="*/ 89 h 98"/>
                    <a:gd name="T122" fmla="*/ 76 w 85"/>
                    <a:gd name="T123" fmla="*/ 89 h 98"/>
                    <a:gd name="T124" fmla="*/ 71 w 85"/>
                    <a:gd name="T125" fmla="*/ 9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 h="98">
                      <a:moveTo>
                        <a:pt x="4" y="4"/>
                      </a:moveTo>
                      <a:lnTo>
                        <a:pt x="0" y="9"/>
                      </a:lnTo>
                      <a:lnTo>
                        <a:pt x="9" y="9"/>
                      </a:lnTo>
                      <a:lnTo>
                        <a:pt x="13" y="9"/>
                      </a:lnTo>
                      <a:lnTo>
                        <a:pt x="13" y="4"/>
                      </a:lnTo>
                      <a:lnTo>
                        <a:pt x="4" y="4"/>
                      </a:lnTo>
                      <a:close/>
                      <a:moveTo>
                        <a:pt x="9" y="26"/>
                      </a:moveTo>
                      <a:lnTo>
                        <a:pt x="4" y="40"/>
                      </a:lnTo>
                      <a:lnTo>
                        <a:pt x="13" y="40"/>
                      </a:lnTo>
                      <a:lnTo>
                        <a:pt x="13" y="40"/>
                      </a:lnTo>
                      <a:lnTo>
                        <a:pt x="9" y="26"/>
                      </a:lnTo>
                      <a:lnTo>
                        <a:pt x="9" y="26"/>
                      </a:lnTo>
                      <a:close/>
                      <a:moveTo>
                        <a:pt x="18" y="26"/>
                      </a:moveTo>
                      <a:lnTo>
                        <a:pt x="18" y="35"/>
                      </a:lnTo>
                      <a:lnTo>
                        <a:pt x="22" y="31"/>
                      </a:lnTo>
                      <a:lnTo>
                        <a:pt x="22" y="31"/>
                      </a:lnTo>
                      <a:lnTo>
                        <a:pt x="22" y="26"/>
                      </a:lnTo>
                      <a:lnTo>
                        <a:pt x="18" y="26"/>
                      </a:lnTo>
                      <a:close/>
                      <a:moveTo>
                        <a:pt x="18" y="0"/>
                      </a:moveTo>
                      <a:lnTo>
                        <a:pt x="22" y="9"/>
                      </a:lnTo>
                      <a:lnTo>
                        <a:pt x="22" y="13"/>
                      </a:lnTo>
                      <a:lnTo>
                        <a:pt x="22" y="17"/>
                      </a:lnTo>
                      <a:lnTo>
                        <a:pt x="27" y="9"/>
                      </a:lnTo>
                      <a:lnTo>
                        <a:pt x="22" y="4"/>
                      </a:lnTo>
                      <a:lnTo>
                        <a:pt x="18" y="0"/>
                      </a:lnTo>
                      <a:close/>
                      <a:moveTo>
                        <a:pt x="18" y="53"/>
                      </a:moveTo>
                      <a:lnTo>
                        <a:pt x="18" y="44"/>
                      </a:lnTo>
                      <a:lnTo>
                        <a:pt x="13" y="44"/>
                      </a:lnTo>
                      <a:lnTo>
                        <a:pt x="13" y="53"/>
                      </a:lnTo>
                      <a:lnTo>
                        <a:pt x="18" y="53"/>
                      </a:lnTo>
                      <a:close/>
                      <a:moveTo>
                        <a:pt x="31" y="22"/>
                      </a:moveTo>
                      <a:lnTo>
                        <a:pt x="27" y="22"/>
                      </a:lnTo>
                      <a:lnTo>
                        <a:pt x="31" y="26"/>
                      </a:lnTo>
                      <a:lnTo>
                        <a:pt x="36" y="31"/>
                      </a:lnTo>
                      <a:lnTo>
                        <a:pt x="36" y="35"/>
                      </a:lnTo>
                      <a:lnTo>
                        <a:pt x="40" y="26"/>
                      </a:lnTo>
                      <a:lnTo>
                        <a:pt x="31" y="22"/>
                      </a:lnTo>
                      <a:close/>
                      <a:moveTo>
                        <a:pt x="45" y="35"/>
                      </a:moveTo>
                      <a:lnTo>
                        <a:pt x="49" y="44"/>
                      </a:lnTo>
                      <a:lnTo>
                        <a:pt x="45" y="49"/>
                      </a:lnTo>
                      <a:lnTo>
                        <a:pt x="53" y="49"/>
                      </a:lnTo>
                      <a:lnTo>
                        <a:pt x="49" y="44"/>
                      </a:lnTo>
                      <a:lnTo>
                        <a:pt x="45" y="35"/>
                      </a:lnTo>
                      <a:close/>
                      <a:moveTo>
                        <a:pt x="49" y="53"/>
                      </a:moveTo>
                      <a:lnTo>
                        <a:pt x="49" y="53"/>
                      </a:lnTo>
                      <a:lnTo>
                        <a:pt x="49" y="62"/>
                      </a:lnTo>
                      <a:lnTo>
                        <a:pt x="58" y="67"/>
                      </a:lnTo>
                      <a:lnTo>
                        <a:pt x="53" y="58"/>
                      </a:lnTo>
                      <a:lnTo>
                        <a:pt x="49" y="53"/>
                      </a:lnTo>
                      <a:close/>
                      <a:moveTo>
                        <a:pt x="62" y="62"/>
                      </a:moveTo>
                      <a:lnTo>
                        <a:pt x="62" y="67"/>
                      </a:lnTo>
                      <a:lnTo>
                        <a:pt x="67" y="67"/>
                      </a:lnTo>
                      <a:lnTo>
                        <a:pt x="67" y="71"/>
                      </a:lnTo>
                      <a:lnTo>
                        <a:pt x="67" y="80"/>
                      </a:lnTo>
                      <a:lnTo>
                        <a:pt x="71" y="71"/>
                      </a:lnTo>
                      <a:lnTo>
                        <a:pt x="71" y="67"/>
                      </a:lnTo>
                      <a:lnTo>
                        <a:pt x="67" y="67"/>
                      </a:lnTo>
                      <a:lnTo>
                        <a:pt x="62" y="62"/>
                      </a:lnTo>
                      <a:close/>
                      <a:moveTo>
                        <a:pt x="71" y="93"/>
                      </a:moveTo>
                      <a:lnTo>
                        <a:pt x="80" y="98"/>
                      </a:lnTo>
                      <a:lnTo>
                        <a:pt x="85" y="89"/>
                      </a:lnTo>
                      <a:lnTo>
                        <a:pt x="76" y="89"/>
                      </a:lnTo>
                      <a:lnTo>
                        <a:pt x="71" y="93"/>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33" name="Freeform 66">
                  <a:extLst>
                    <a:ext uri="{FF2B5EF4-FFF2-40B4-BE49-F238E27FC236}">
                      <a16:creationId xmlns:a16="http://schemas.microsoft.com/office/drawing/2014/main" id="{8746CCB6-19F4-45CA-A9C6-1DB6B9C29574}"/>
                    </a:ext>
                  </a:extLst>
                </p:cNvPr>
                <p:cNvSpPr>
                  <a:spLocks/>
                </p:cNvSpPr>
                <p:nvPr/>
              </p:nvSpPr>
              <p:spPr bwMode="gray">
                <a:xfrm>
                  <a:off x="1834" y="2583"/>
                  <a:ext cx="4" cy="9"/>
                </a:xfrm>
                <a:custGeom>
                  <a:avLst/>
                  <a:gdLst>
                    <a:gd name="T0" fmla="*/ 0 w 4"/>
                    <a:gd name="T1" fmla="*/ 0 h 9"/>
                    <a:gd name="T2" fmla="*/ 0 w 4"/>
                    <a:gd name="T3" fmla="*/ 4 h 9"/>
                    <a:gd name="T4" fmla="*/ 0 w 4"/>
                    <a:gd name="T5" fmla="*/ 9 h 9"/>
                    <a:gd name="T6" fmla="*/ 4 w 4"/>
                    <a:gd name="T7" fmla="*/ 4 h 9"/>
                    <a:gd name="T8" fmla="*/ 0 w 4"/>
                    <a:gd name="T9" fmla="*/ 0 h 9"/>
                  </a:gdLst>
                  <a:ahLst/>
                  <a:cxnLst>
                    <a:cxn ang="0">
                      <a:pos x="T0" y="T1"/>
                    </a:cxn>
                    <a:cxn ang="0">
                      <a:pos x="T2" y="T3"/>
                    </a:cxn>
                    <a:cxn ang="0">
                      <a:pos x="T4" y="T5"/>
                    </a:cxn>
                    <a:cxn ang="0">
                      <a:pos x="T6" y="T7"/>
                    </a:cxn>
                    <a:cxn ang="0">
                      <a:pos x="T8" y="T9"/>
                    </a:cxn>
                  </a:cxnLst>
                  <a:rect l="0" t="0" r="r" b="b"/>
                  <a:pathLst>
                    <a:path w="4" h="9">
                      <a:moveTo>
                        <a:pt x="0" y="0"/>
                      </a:moveTo>
                      <a:lnTo>
                        <a:pt x="0" y="4"/>
                      </a:lnTo>
                      <a:lnTo>
                        <a:pt x="0" y="9"/>
                      </a:lnTo>
                      <a:lnTo>
                        <a:pt x="4" y="4"/>
                      </a:lnTo>
                      <a:lnTo>
                        <a:pt x="0"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34" name="Freeform 67">
                  <a:extLst>
                    <a:ext uri="{FF2B5EF4-FFF2-40B4-BE49-F238E27FC236}">
                      <a16:creationId xmlns:a16="http://schemas.microsoft.com/office/drawing/2014/main" id="{F6334541-8996-43EC-BE52-0BD31039BB90}"/>
                    </a:ext>
                  </a:extLst>
                </p:cNvPr>
                <p:cNvSpPr>
                  <a:spLocks/>
                </p:cNvSpPr>
                <p:nvPr/>
              </p:nvSpPr>
              <p:spPr bwMode="gray">
                <a:xfrm>
                  <a:off x="1691" y="2922"/>
                  <a:ext cx="170" cy="201"/>
                </a:xfrm>
                <a:custGeom>
                  <a:avLst/>
                  <a:gdLst>
                    <a:gd name="T0" fmla="*/ 0 w 170"/>
                    <a:gd name="T1" fmla="*/ 121 h 201"/>
                    <a:gd name="T2" fmla="*/ 4 w 170"/>
                    <a:gd name="T3" fmla="*/ 130 h 201"/>
                    <a:gd name="T4" fmla="*/ 9 w 170"/>
                    <a:gd name="T5" fmla="*/ 143 h 201"/>
                    <a:gd name="T6" fmla="*/ 9 w 170"/>
                    <a:gd name="T7" fmla="*/ 161 h 201"/>
                    <a:gd name="T8" fmla="*/ 22 w 170"/>
                    <a:gd name="T9" fmla="*/ 197 h 201"/>
                    <a:gd name="T10" fmla="*/ 31 w 170"/>
                    <a:gd name="T11" fmla="*/ 201 h 201"/>
                    <a:gd name="T12" fmla="*/ 45 w 170"/>
                    <a:gd name="T13" fmla="*/ 188 h 201"/>
                    <a:gd name="T14" fmla="*/ 67 w 170"/>
                    <a:gd name="T15" fmla="*/ 192 h 201"/>
                    <a:gd name="T16" fmla="*/ 76 w 170"/>
                    <a:gd name="T17" fmla="*/ 201 h 201"/>
                    <a:gd name="T18" fmla="*/ 80 w 170"/>
                    <a:gd name="T19" fmla="*/ 188 h 201"/>
                    <a:gd name="T20" fmla="*/ 94 w 170"/>
                    <a:gd name="T21" fmla="*/ 188 h 201"/>
                    <a:gd name="T22" fmla="*/ 98 w 170"/>
                    <a:gd name="T23" fmla="*/ 192 h 201"/>
                    <a:gd name="T24" fmla="*/ 103 w 170"/>
                    <a:gd name="T25" fmla="*/ 179 h 201"/>
                    <a:gd name="T26" fmla="*/ 103 w 170"/>
                    <a:gd name="T27" fmla="*/ 166 h 201"/>
                    <a:gd name="T28" fmla="*/ 112 w 170"/>
                    <a:gd name="T29" fmla="*/ 157 h 201"/>
                    <a:gd name="T30" fmla="*/ 147 w 170"/>
                    <a:gd name="T31" fmla="*/ 148 h 201"/>
                    <a:gd name="T32" fmla="*/ 161 w 170"/>
                    <a:gd name="T33" fmla="*/ 152 h 201"/>
                    <a:gd name="T34" fmla="*/ 165 w 170"/>
                    <a:gd name="T35" fmla="*/ 166 h 201"/>
                    <a:gd name="T36" fmla="*/ 170 w 170"/>
                    <a:gd name="T37" fmla="*/ 161 h 201"/>
                    <a:gd name="T38" fmla="*/ 170 w 170"/>
                    <a:gd name="T39" fmla="*/ 157 h 201"/>
                    <a:gd name="T40" fmla="*/ 165 w 170"/>
                    <a:gd name="T41" fmla="*/ 152 h 201"/>
                    <a:gd name="T42" fmla="*/ 170 w 170"/>
                    <a:gd name="T43" fmla="*/ 125 h 201"/>
                    <a:gd name="T44" fmla="*/ 170 w 170"/>
                    <a:gd name="T45" fmla="*/ 116 h 201"/>
                    <a:gd name="T46" fmla="*/ 156 w 170"/>
                    <a:gd name="T47" fmla="*/ 116 h 201"/>
                    <a:gd name="T48" fmla="*/ 161 w 170"/>
                    <a:gd name="T49" fmla="*/ 99 h 201"/>
                    <a:gd name="T50" fmla="*/ 134 w 170"/>
                    <a:gd name="T51" fmla="*/ 99 h 201"/>
                    <a:gd name="T52" fmla="*/ 129 w 170"/>
                    <a:gd name="T53" fmla="*/ 85 h 201"/>
                    <a:gd name="T54" fmla="*/ 134 w 170"/>
                    <a:gd name="T55" fmla="*/ 67 h 201"/>
                    <a:gd name="T56" fmla="*/ 129 w 170"/>
                    <a:gd name="T57" fmla="*/ 58 h 201"/>
                    <a:gd name="T58" fmla="*/ 116 w 170"/>
                    <a:gd name="T59" fmla="*/ 58 h 201"/>
                    <a:gd name="T60" fmla="*/ 80 w 170"/>
                    <a:gd name="T61" fmla="*/ 40 h 201"/>
                    <a:gd name="T62" fmla="*/ 62 w 170"/>
                    <a:gd name="T63" fmla="*/ 32 h 201"/>
                    <a:gd name="T64" fmla="*/ 62 w 170"/>
                    <a:gd name="T65" fmla="*/ 0 h 201"/>
                    <a:gd name="T66" fmla="*/ 40 w 170"/>
                    <a:gd name="T67" fmla="*/ 5 h 201"/>
                    <a:gd name="T68" fmla="*/ 13 w 170"/>
                    <a:gd name="T69" fmla="*/ 23 h 201"/>
                    <a:gd name="T70" fmla="*/ 0 w 170"/>
                    <a:gd name="T71" fmla="*/ 23 h 201"/>
                    <a:gd name="T72" fmla="*/ 9 w 170"/>
                    <a:gd name="T73" fmla="*/ 40 h 201"/>
                    <a:gd name="T74" fmla="*/ 4 w 170"/>
                    <a:gd name="T75" fmla="*/ 49 h 201"/>
                    <a:gd name="T76" fmla="*/ 4 w 170"/>
                    <a:gd name="T77" fmla="*/ 72 h 201"/>
                    <a:gd name="T78" fmla="*/ 0 w 170"/>
                    <a:gd name="T79" fmla="*/ 94 h 201"/>
                    <a:gd name="T80" fmla="*/ 4 w 170"/>
                    <a:gd name="T81" fmla="*/ 99 h 201"/>
                    <a:gd name="T82" fmla="*/ 0 w 170"/>
                    <a:gd name="T83" fmla="*/ 112 h 201"/>
                    <a:gd name="T84" fmla="*/ 0 w 170"/>
                    <a:gd name="T85" fmla="*/ 12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0" h="201">
                      <a:moveTo>
                        <a:pt x="0" y="121"/>
                      </a:moveTo>
                      <a:lnTo>
                        <a:pt x="4" y="130"/>
                      </a:lnTo>
                      <a:lnTo>
                        <a:pt x="9" y="143"/>
                      </a:lnTo>
                      <a:lnTo>
                        <a:pt x="9" y="161"/>
                      </a:lnTo>
                      <a:lnTo>
                        <a:pt x="22" y="197"/>
                      </a:lnTo>
                      <a:lnTo>
                        <a:pt x="31" y="201"/>
                      </a:lnTo>
                      <a:lnTo>
                        <a:pt x="45" y="188"/>
                      </a:lnTo>
                      <a:lnTo>
                        <a:pt x="67" y="192"/>
                      </a:lnTo>
                      <a:lnTo>
                        <a:pt x="76" y="201"/>
                      </a:lnTo>
                      <a:lnTo>
                        <a:pt x="80" y="188"/>
                      </a:lnTo>
                      <a:lnTo>
                        <a:pt x="94" y="188"/>
                      </a:lnTo>
                      <a:lnTo>
                        <a:pt x="98" y="192"/>
                      </a:lnTo>
                      <a:lnTo>
                        <a:pt x="103" y="179"/>
                      </a:lnTo>
                      <a:lnTo>
                        <a:pt x="103" y="166"/>
                      </a:lnTo>
                      <a:lnTo>
                        <a:pt x="112" y="157"/>
                      </a:lnTo>
                      <a:lnTo>
                        <a:pt x="147" y="148"/>
                      </a:lnTo>
                      <a:lnTo>
                        <a:pt x="161" y="152"/>
                      </a:lnTo>
                      <a:lnTo>
                        <a:pt x="165" y="166"/>
                      </a:lnTo>
                      <a:lnTo>
                        <a:pt x="170" y="161"/>
                      </a:lnTo>
                      <a:lnTo>
                        <a:pt x="170" y="157"/>
                      </a:lnTo>
                      <a:lnTo>
                        <a:pt x="165" y="152"/>
                      </a:lnTo>
                      <a:lnTo>
                        <a:pt x="170" y="125"/>
                      </a:lnTo>
                      <a:lnTo>
                        <a:pt x="170" y="116"/>
                      </a:lnTo>
                      <a:lnTo>
                        <a:pt x="156" y="116"/>
                      </a:lnTo>
                      <a:lnTo>
                        <a:pt x="161" y="99"/>
                      </a:lnTo>
                      <a:lnTo>
                        <a:pt x="134" y="99"/>
                      </a:lnTo>
                      <a:lnTo>
                        <a:pt x="129" y="85"/>
                      </a:lnTo>
                      <a:lnTo>
                        <a:pt x="134" y="67"/>
                      </a:lnTo>
                      <a:lnTo>
                        <a:pt x="129" y="58"/>
                      </a:lnTo>
                      <a:lnTo>
                        <a:pt x="116" y="58"/>
                      </a:lnTo>
                      <a:lnTo>
                        <a:pt x="80" y="40"/>
                      </a:lnTo>
                      <a:lnTo>
                        <a:pt x="62" y="32"/>
                      </a:lnTo>
                      <a:lnTo>
                        <a:pt x="62" y="0"/>
                      </a:lnTo>
                      <a:lnTo>
                        <a:pt x="40" y="5"/>
                      </a:lnTo>
                      <a:lnTo>
                        <a:pt x="13" y="23"/>
                      </a:lnTo>
                      <a:lnTo>
                        <a:pt x="0" y="23"/>
                      </a:lnTo>
                      <a:lnTo>
                        <a:pt x="9" y="40"/>
                      </a:lnTo>
                      <a:lnTo>
                        <a:pt x="4" y="49"/>
                      </a:lnTo>
                      <a:lnTo>
                        <a:pt x="4" y="72"/>
                      </a:lnTo>
                      <a:lnTo>
                        <a:pt x="0" y="94"/>
                      </a:lnTo>
                      <a:lnTo>
                        <a:pt x="4" y="99"/>
                      </a:lnTo>
                      <a:lnTo>
                        <a:pt x="0" y="112"/>
                      </a:lnTo>
                      <a:lnTo>
                        <a:pt x="0" y="121"/>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35" name="Freeform 68">
                  <a:extLst>
                    <a:ext uri="{FF2B5EF4-FFF2-40B4-BE49-F238E27FC236}">
                      <a16:creationId xmlns:a16="http://schemas.microsoft.com/office/drawing/2014/main" id="{943321EB-963B-4523-B921-EDF2E86D3070}"/>
                    </a:ext>
                  </a:extLst>
                </p:cNvPr>
                <p:cNvSpPr>
                  <a:spLocks/>
                </p:cNvSpPr>
                <p:nvPr/>
              </p:nvSpPr>
              <p:spPr bwMode="gray">
                <a:xfrm>
                  <a:off x="1624" y="2703"/>
                  <a:ext cx="567" cy="608"/>
                </a:xfrm>
                <a:custGeom>
                  <a:avLst/>
                  <a:gdLst>
                    <a:gd name="T0" fmla="*/ 45 w 567"/>
                    <a:gd name="T1" fmla="*/ 143 h 608"/>
                    <a:gd name="T2" fmla="*/ 13 w 567"/>
                    <a:gd name="T3" fmla="*/ 170 h 608"/>
                    <a:gd name="T4" fmla="*/ 9 w 567"/>
                    <a:gd name="T5" fmla="*/ 219 h 608"/>
                    <a:gd name="T6" fmla="*/ 49 w 567"/>
                    <a:gd name="T7" fmla="*/ 215 h 608"/>
                    <a:gd name="T8" fmla="*/ 80 w 567"/>
                    <a:gd name="T9" fmla="*/ 242 h 608"/>
                    <a:gd name="T10" fmla="*/ 129 w 567"/>
                    <a:gd name="T11" fmla="*/ 251 h 608"/>
                    <a:gd name="T12" fmla="*/ 196 w 567"/>
                    <a:gd name="T13" fmla="*/ 277 h 608"/>
                    <a:gd name="T14" fmla="*/ 201 w 567"/>
                    <a:gd name="T15" fmla="*/ 318 h 608"/>
                    <a:gd name="T16" fmla="*/ 237 w 567"/>
                    <a:gd name="T17" fmla="*/ 335 h 608"/>
                    <a:gd name="T18" fmla="*/ 237 w 567"/>
                    <a:gd name="T19" fmla="*/ 376 h 608"/>
                    <a:gd name="T20" fmla="*/ 232 w 567"/>
                    <a:gd name="T21" fmla="*/ 411 h 608"/>
                    <a:gd name="T22" fmla="*/ 268 w 567"/>
                    <a:gd name="T23" fmla="*/ 416 h 608"/>
                    <a:gd name="T24" fmla="*/ 286 w 567"/>
                    <a:gd name="T25" fmla="*/ 443 h 608"/>
                    <a:gd name="T26" fmla="*/ 295 w 567"/>
                    <a:gd name="T27" fmla="*/ 465 h 608"/>
                    <a:gd name="T28" fmla="*/ 241 w 567"/>
                    <a:gd name="T29" fmla="*/ 537 h 608"/>
                    <a:gd name="T30" fmla="*/ 259 w 567"/>
                    <a:gd name="T31" fmla="*/ 554 h 608"/>
                    <a:gd name="T32" fmla="*/ 290 w 567"/>
                    <a:gd name="T33" fmla="*/ 568 h 608"/>
                    <a:gd name="T34" fmla="*/ 295 w 567"/>
                    <a:gd name="T35" fmla="*/ 608 h 608"/>
                    <a:gd name="T36" fmla="*/ 362 w 567"/>
                    <a:gd name="T37" fmla="*/ 514 h 608"/>
                    <a:gd name="T38" fmla="*/ 366 w 567"/>
                    <a:gd name="T39" fmla="*/ 461 h 608"/>
                    <a:gd name="T40" fmla="*/ 415 w 567"/>
                    <a:gd name="T41" fmla="*/ 443 h 608"/>
                    <a:gd name="T42" fmla="*/ 464 w 567"/>
                    <a:gd name="T43" fmla="*/ 420 h 608"/>
                    <a:gd name="T44" fmla="*/ 496 w 567"/>
                    <a:gd name="T45" fmla="*/ 367 h 608"/>
                    <a:gd name="T46" fmla="*/ 505 w 567"/>
                    <a:gd name="T47" fmla="*/ 277 h 608"/>
                    <a:gd name="T48" fmla="*/ 531 w 567"/>
                    <a:gd name="T49" fmla="*/ 237 h 608"/>
                    <a:gd name="T50" fmla="*/ 567 w 567"/>
                    <a:gd name="T51" fmla="*/ 184 h 608"/>
                    <a:gd name="T52" fmla="*/ 527 w 567"/>
                    <a:gd name="T53" fmla="*/ 143 h 608"/>
                    <a:gd name="T54" fmla="*/ 487 w 567"/>
                    <a:gd name="T55" fmla="*/ 116 h 608"/>
                    <a:gd name="T56" fmla="*/ 424 w 567"/>
                    <a:gd name="T57" fmla="*/ 116 h 608"/>
                    <a:gd name="T58" fmla="*/ 411 w 567"/>
                    <a:gd name="T59" fmla="*/ 103 h 608"/>
                    <a:gd name="T60" fmla="*/ 357 w 567"/>
                    <a:gd name="T61" fmla="*/ 103 h 608"/>
                    <a:gd name="T62" fmla="*/ 357 w 567"/>
                    <a:gd name="T63" fmla="*/ 94 h 608"/>
                    <a:gd name="T64" fmla="*/ 335 w 567"/>
                    <a:gd name="T65" fmla="*/ 76 h 608"/>
                    <a:gd name="T66" fmla="*/ 348 w 567"/>
                    <a:gd name="T67" fmla="*/ 49 h 608"/>
                    <a:gd name="T68" fmla="*/ 321 w 567"/>
                    <a:gd name="T69" fmla="*/ 14 h 608"/>
                    <a:gd name="T70" fmla="*/ 299 w 567"/>
                    <a:gd name="T71" fmla="*/ 49 h 608"/>
                    <a:gd name="T72" fmla="*/ 259 w 567"/>
                    <a:gd name="T73" fmla="*/ 41 h 608"/>
                    <a:gd name="T74" fmla="*/ 228 w 567"/>
                    <a:gd name="T75" fmla="*/ 54 h 608"/>
                    <a:gd name="T76" fmla="*/ 201 w 567"/>
                    <a:gd name="T77" fmla="*/ 45 h 608"/>
                    <a:gd name="T78" fmla="*/ 201 w 567"/>
                    <a:gd name="T79" fmla="*/ 14 h 608"/>
                    <a:gd name="T80" fmla="*/ 192 w 567"/>
                    <a:gd name="T81" fmla="*/ 14 h 608"/>
                    <a:gd name="T82" fmla="*/ 134 w 567"/>
                    <a:gd name="T83" fmla="*/ 9 h 608"/>
                    <a:gd name="T84" fmla="*/ 138 w 567"/>
                    <a:gd name="T85" fmla="*/ 41 h 608"/>
                    <a:gd name="T86" fmla="*/ 134 w 567"/>
                    <a:gd name="T87" fmla="*/ 54 h 608"/>
                    <a:gd name="T88" fmla="*/ 94 w 567"/>
                    <a:gd name="T89" fmla="*/ 58 h 608"/>
                    <a:gd name="T90" fmla="*/ 62 w 567"/>
                    <a:gd name="T91" fmla="*/ 54 h 608"/>
                    <a:gd name="T92" fmla="*/ 67 w 567"/>
                    <a:gd name="T93" fmla="*/ 76 h 608"/>
                    <a:gd name="T94" fmla="*/ 67 w 567"/>
                    <a:gd name="T95" fmla="*/ 85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7" h="608">
                      <a:moveTo>
                        <a:pt x="53" y="139"/>
                      </a:moveTo>
                      <a:lnTo>
                        <a:pt x="58" y="143"/>
                      </a:lnTo>
                      <a:lnTo>
                        <a:pt x="45" y="143"/>
                      </a:lnTo>
                      <a:lnTo>
                        <a:pt x="27" y="148"/>
                      </a:lnTo>
                      <a:lnTo>
                        <a:pt x="18" y="157"/>
                      </a:lnTo>
                      <a:lnTo>
                        <a:pt x="13" y="170"/>
                      </a:lnTo>
                      <a:lnTo>
                        <a:pt x="0" y="188"/>
                      </a:lnTo>
                      <a:lnTo>
                        <a:pt x="9" y="206"/>
                      </a:lnTo>
                      <a:lnTo>
                        <a:pt x="9" y="219"/>
                      </a:lnTo>
                      <a:lnTo>
                        <a:pt x="22" y="219"/>
                      </a:lnTo>
                      <a:lnTo>
                        <a:pt x="27" y="228"/>
                      </a:lnTo>
                      <a:lnTo>
                        <a:pt x="49" y="215"/>
                      </a:lnTo>
                      <a:lnTo>
                        <a:pt x="49" y="242"/>
                      </a:lnTo>
                      <a:lnTo>
                        <a:pt x="67" y="242"/>
                      </a:lnTo>
                      <a:lnTo>
                        <a:pt x="80" y="242"/>
                      </a:lnTo>
                      <a:lnTo>
                        <a:pt x="107" y="224"/>
                      </a:lnTo>
                      <a:lnTo>
                        <a:pt x="129" y="219"/>
                      </a:lnTo>
                      <a:lnTo>
                        <a:pt x="129" y="251"/>
                      </a:lnTo>
                      <a:lnTo>
                        <a:pt x="147" y="259"/>
                      </a:lnTo>
                      <a:lnTo>
                        <a:pt x="183" y="277"/>
                      </a:lnTo>
                      <a:lnTo>
                        <a:pt x="196" y="277"/>
                      </a:lnTo>
                      <a:lnTo>
                        <a:pt x="201" y="286"/>
                      </a:lnTo>
                      <a:lnTo>
                        <a:pt x="196" y="304"/>
                      </a:lnTo>
                      <a:lnTo>
                        <a:pt x="201" y="318"/>
                      </a:lnTo>
                      <a:lnTo>
                        <a:pt x="228" y="318"/>
                      </a:lnTo>
                      <a:lnTo>
                        <a:pt x="223" y="335"/>
                      </a:lnTo>
                      <a:lnTo>
                        <a:pt x="237" y="335"/>
                      </a:lnTo>
                      <a:lnTo>
                        <a:pt x="237" y="344"/>
                      </a:lnTo>
                      <a:lnTo>
                        <a:pt x="232" y="371"/>
                      </a:lnTo>
                      <a:lnTo>
                        <a:pt x="237" y="376"/>
                      </a:lnTo>
                      <a:lnTo>
                        <a:pt x="237" y="380"/>
                      </a:lnTo>
                      <a:lnTo>
                        <a:pt x="237" y="394"/>
                      </a:lnTo>
                      <a:lnTo>
                        <a:pt x="232" y="411"/>
                      </a:lnTo>
                      <a:lnTo>
                        <a:pt x="246" y="411"/>
                      </a:lnTo>
                      <a:lnTo>
                        <a:pt x="259" y="407"/>
                      </a:lnTo>
                      <a:lnTo>
                        <a:pt x="268" y="416"/>
                      </a:lnTo>
                      <a:lnTo>
                        <a:pt x="268" y="443"/>
                      </a:lnTo>
                      <a:lnTo>
                        <a:pt x="281" y="438"/>
                      </a:lnTo>
                      <a:lnTo>
                        <a:pt x="286" y="443"/>
                      </a:lnTo>
                      <a:lnTo>
                        <a:pt x="281" y="461"/>
                      </a:lnTo>
                      <a:lnTo>
                        <a:pt x="286" y="465"/>
                      </a:lnTo>
                      <a:lnTo>
                        <a:pt x="295" y="465"/>
                      </a:lnTo>
                      <a:lnTo>
                        <a:pt x="295" y="487"/>
                      </a:lnTo>
                      <a:lnTo>
                        <a:pt x="277" y="501"/>
                      </a:lnTo>
                      <a:lnTo>
                        <a:pt x="241" y="537"/>
                      </a:lnTo>
                      <a:lnTo>
                        <a:pt x="241" y="541"/>
                      </a:lnTo>
                      <a:lnTo>
                        <a:pt x="250" y="541"/>
                      </a:lnTo>
                      <a:lnTo>
                        <a:pt x="259" y="554"/>
                      </a:lnTo>
                      <a:lnTo>
                        <a:pt x="268" y="550"/>
                      </a:lnTo>
                      <a:lnTo>
                        <a:pt x="277" y="563"/>
                      </a:lnTo>
                      <a:lnTo>
                        <a:pt x="290" y="568"/>
                      </a:lnTo>
                      <a:lnTo>
                        <a:pt x="299" y="586"/>
                      </a:lnTo>
                      <a:lnTo>
                        <a:pt x="295" y="595"/>
                      </a:lnTo>
                      <a:lnTo>
                        <a:pt x="295" y="608"/>
                      </a:lnTo>
                      <a:lnTo>
                        <a:pt x="308" y="599"/>
                      </a:lnTo>
                      <a:lnTo>
                        <a:pt x="317" y="577"/>
                      </a:lnTo>
                      <a:lnTo>
                        <a:pt x="362" y="514"/>
                      </a:lnTo>
                      <a:lnTo>
                        <a:pt x="366" y="501"/>
                      </a:lnTo>
                      <a:lnTo>
                        <a:pt x="371" y="465"/>
                      </a:lnTo>
                      <a:lnTo>
                        <a:pt x="366" y="461"/>
                      </a:lnTo>
                      <a:lnTo>
                        <a:pt x="375" y="461"/>
                      </a:lnTo>
                      <a:lnTo>
                        <a:pt x="397" y="443"/>
                      </a:lnTo>
                      <a:lnTo>
                        <a:pt x="415" y="443"/>
                      </a:lnTo>
                      <a:lnTo>
                        <a:pt x="415" y="434"/>
                      </a:lnTo>
                      <a:lnTo>
                        <a:pt x="447" y="425"/>
                      </a:lnTo>
                      <a:lnTo>
                        <a:pt x="464" y="420"/>
                      </a:lnTo>
                      <a:lnTo>
                        <a:pt x="464" y="416"/>
                      </a:lnTo>
                      <a:lnTo>
                        <a:pt x="473" y="411"/>
                      </a:lnTo>
                      <a:lnTo>
                        <a:pt x="496" y="367"/>
                      </a:lnTo>
                      <a:lnTo>
                        <a:pt x="496" y="349"/>
                      </a:lnTo>
                      <a:lnTo>
                        <a:pt x="505" y="340"/>
                      </a:lnTo>
                      <a:lnTo>
                        <a:pt x="505" y="277"/>
                      </a:lnTo>
                      <a:lnTo>
                        <a:pt x="509" y="264"/>
                      </a:lnTo>
                      <a:lnTo>
                        <a:pt x="514" y="268"/>
                      </a:lnTo>
                      <a:lnTo>
                        <a:pt x="531" y="237"/>
                      </a:lnTo>
                      <a:lnTo>
                        <a:pt x="540" y="237"/>
                      </a:lnTo>
                      <a:lnTo>
                        <a:pt x="567" y="197"/>
                      </a:lnTo>
                      <a:lnTo>
                        <a:pt x="567" y="184"/>
                      </a:lnTo>
                      <a:lnTo>
                        <a:pt x="558" y="152"/>
                      </a:lnTo>
                      <a:lnTo>
                        <a:pt x="536" y="152"/>
                      </a:lnTo>
                      <a:lnTo>
                        <a:pt x="527" y="143"/>
                      </a:lnTo>
                      <a:lnTo>
                        <a:pt x="523" y="143"/>
                      </a:lnTo>
                      <a:lnTo>
                        <a:pt x="500" y="121"/>
                      </a:lnTo>
                      <a:lnTo>
                        <a:pt x="487" y="116"/>
                      </a:lnTo>
                      <a:lnTo>
                        <a:pt x="460" y="116"/>
                      </a:lnTo>
                      <a:lnTo>
                        <a:pt x="438" y="112"/>
                      </a:lnTo>
                      <a:lnTo>
                        <a:pt x="424" y="116"/>
                      </a:lnTo>
                      <a:lnTo>
                        <a:pt x="424" y="103"/>
                      </a:lnTo>
                      <a:lnTo>
                        <a:pt x="420" y="94"/>
                      </a:lnTo>
                      <a:lnTo>
                        <a:pt x="411" y="103"/>
                      </a:lnTo>
                      <a:lnTo>
                        <a:pt x="406" y="94"/>
                      </a:lnTo>
                      <a:lnTo>
                        <a:pt x="375" y="90"/>
                      </a:lnTo>
                      <a:lnTo>
                        <a:pt x="357" y="103"/>
                      </a:lnTo>
                      <a:lnTo>
                        <a:pt x="348" y="116"/>
                      </a:lnTo>
                      <a:lnTo>
                        <a:pt x="353" y="99"/>
                      </a:lnTo>
                      <a:lnTo>
                        <a:pt x="357" y="94"/>
                      </a:lnTo>
                      <a:lnTo>
                        <a:pt x="366" y="85"/>
                      </a:lnTo>
                      <a:lnTo>
                        <a:pt x="339" y="81"/>
                      </a:lnTo>
                      <a:lnTo>
                        <a:pt x="335" y="76"/>
                      </a:lnTo>
                      <a:lnTo>
                        <a:pt x="353" y="76"/>
                      </a:lnTo>
                      <a:lnTo>
                        <a:pt x="344" y="72"/>
                      </a:lnTo>
                      <a:lnTo>
                        <a:pt x="348" y="49"/>
                      </a:lnTo>
                      <a:lnTo>
                        <a:pt x="335" y="45"/>
                      </a:lnTo>
                      <a:lnTo>
                        <a:pt x="330" y="18"/>
                      </a:lnTo>
                      <a:lnTo>
                        <a:pt x="321" y="14"/>
                      </a:lnTo>
                      <a:lnTo>
                        <a:pt x="321" y="23"/>
                      </a:lnTo>
                      <a:lnTo>
                        <a:pt x="313" y="41"/>
                      </a:lnTo>
                      <a:lnTo>
                        <a:pt x="299" y="49"/>
                      </a:lnTo>
                      <a:lnTo>
                        <a:pt x="286" y="49"/>
                      </a:lnTo>
                      <a:lnTo>
                        <a:pt x="277" y="41"/>
                      </a:lnTo>
                      <a:lnTo>
                        <a:pt x="259" y="41"/>
                      </a:lnTo>
                      <a:lnTo>
                        <a:pt x="259" y="54"/>
                      </a:lnTo>
                      <a:lnTo>
                        <a:pt x="254" y="49"/>
                      </a:lnTo>
                      <a:lnTo>
                        <a:pt x="228" y="54"/>
                      </a:lnTo>
                      <a:lnTo>
                        <a:pt x="219" y="63"/>
                      </a:lnTo>
                      <a:lnTo>
                        <a:pt x="210" y="58"/>
                      </a:lnTo>
                      <a:lnTo>
                        <a:pt x="201" y="45"/>
                      </a:lnTo>
                      <a:lnTo>
                        <a:pt x="201" y="23"/>
                      </a:lnTo>
                      <a:lnTo>
                        <a:pt x="210" y="14"/>
                      </a:lnTo>
                      <a:lnTo>
                        <a:pt x="201" y="14"/>
                      </a:lnTo>
                      <a:lnTo>
                        <a:pt x="201" y="0"/>
                      </a:lnTo>
                      <a:lnTo>
                        <a:pt x="192" y="0"/>
                      </a:lnTo>
                      <a:lnTo>
                        <a:pt x="192" y="14"/>
                      </a:lnTo>
                      <a:lnTo>
                        <a:pt x="161" y="18"/>
                      </a:lnTo>
                      <a:lnTo>
                        <a:pt x="147" y="18"/>
                      </a:lnTo>
                      <a:lnTo>
                        <a:pt x="134" y="9"/>
                      </a:lnTo>
                      <a:lnTo>
                        <a:pt x="129" y="18"/>
                      </a:lnTo>
                      <a:lnTo>
                        <a:pt x="134" y="23"/>
                      </a:lnTo>
                      <a:lnTo>
                        <a:pt x="138" y="41"/>
                      </a:lnTo>
                      <a:lnTo>
                        <a:pt x="152" y="45"/>
                      </a:lnTo>
                      <a:lnTo>
                        <a:pt x="143" y="45"/>
                      </a:lnTo>
                      <a:lnTo>
                        <a:pt x="134" y="54"/>
                      </a:lnTo>
                      <a:lnTo>
                        <a:pt x="112" y="63"/>
                      </a:lnTo>
                      <a:lnTo>
                        <a:pt x="103" y="58"/>
                      </a:lnTo>
                      <a:lnTo>
                        <a:pt x="94" y="58"/>
                      </a:lnTo>
                      <a:lnTo>
                        <a:pt x="94" y="45"/>
                      </a:lnTo>
                      <a:lnTo>
                        <a:pt x="80" y="54"/>
                      </a:lnTo>
                      <a:lnTo>
                        <a:pt x="62" y="54"/>
                      </a:lnTo>
                      <a:lnTo>
                        <a:pt x="58" y="67"/>
                      </a:lnTo>
                      <a:lnTo>
                        <a:pt x="71" y="67"/>
                      </a:lnTo>
                      <a:lnTo>
                        <a:pt x="67" y="76"/>
                      </a:lnTo>
                      <a:lnTo>
                        <a:pt x="53" y="76"/>
                      </a:lnTo>
                      <a:lnTo>
                        <a:pt x="58" y="85"/>
                      </a:lnTo>
                      <a:lnTo>
                        <a:pt x="67" y="85"/>
                      </a:lnTo>
                      <a:lnTo>
                        <a:pt x="71" y="94"/>
                      </a:lnTo>
                      <a:lnTo>
                        <a:pt x="53" y="13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36" name="Freeform 69">
                  <a:extLst>
                    <a:ext uri="{FF2B5EF4-FFF2-40B4-BE49-F238E27FC236}">
                      <a16:creationId xmlns:a16="http://schemas.microsoft.com/office/drawing/2014/main" id="{3DA1DF5D-33F3-4722-93CF-6FD8FD389C0C}"/>
                    </a:ext>
                  </a:extLst>
                </p:cNvPr>
                <p:cNvSpPr>
                  <a:spLocks/>
                </p:cNvSpPr>
                <p:nvPr/>
              </p:nvSpPr>
              <p:spPr bwMode="gray">
                <a:xfrm>
                  <a:off x="1401" y="2507"/>
                  <a:ext cx="22" cy="40"/>
                </a:xfrm>
                <a:custGeom>
                  <a:avLst/>
                  <a:gdLst>
                    <a:gd name="T0" fmla="*/ 4 w 22"/>
                    <a:gd name="T1" fmla="*/ 9 h 40"/>
                    <a:gd name="T2" fmla="*/ 0 w 22"/>
                    <a:gd name="T3" fmla="*/ 26 h 40"/>
                    <a:gd name="T4" fmla="*/ 4 w 22"/>
                    <a:gd name="T5" fmla="*/ 40 h 40"/>
                    <a:gd name="T6" fmla="*/ 8 w 22"/>
                    <a:gd name="T7" fmla="*/ 40 h 40"/>
                    <a:gd name="T8" fmla="*/ 13 w 22"/>
                    <a:gd name="T9" fmla="*/ 35 h 40"/>
                    <a:gd name="T10" fmla="*/ 17 w 22"/>
                    <a:gd name="T11" fmla="*/ 31 h 40"/>
                    <a:gd name="T12" fmla="*/ 22 w 22"/>
                    <a:gd name="T13" fmla="*/ 26 h 40"/>
                    <a:gd name="T14" fmla="*/ 17 w 22"/>
                    <a:gd name="T15" fmla="*/ 4 h 40"/>
                    <a:gd name="T16" fmla="*/ 13 w 22"/>
                    <a:gd name="T17" fmla="*/ 0 h 40"/>
                    <a:gd name="T18" fmla="*/ 4 w 22"/>
                    <a:gd name="T19" fmla="*/ 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40">
                      <a:moveTo>
                        <a:pt x="4" y="9"/>
                      </a:moveTo>
                      <a:lnTo>
                        <a:pt x="0" y="26"/>
                      </a:lnTo>
                      <a:lnTo>
                        <a:pt x="4" y="40"/>
                      </a:lnTo>
                      <a:lnTo>
                        <a:pt x="8" y="40"/>
                      </a:lnTo>
                      <a:lnTo>
                        <a:pt x="13" y="35"/>
                      </a:lnTo>
                      <a:lnTo>
                        <a:pt x="17" y="31"/>
                      </a:lnTo>
                      <a:lnTo>
                        <a:pt x="22" y="26"/>
                      </a:lnTo>
                      <a:lnTo>
                        <a:pt x="17" y="4"/>
                      </a:lnTo>
                      <a:lnTo>
                        <a:pt x="13" y="0"/>
                      </a:lnTo>
                      <a:lnTo>
                        <a:pt x="4" y="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37" name="Freeform 70">
                  <a:extLst>
                    <a:ext uri="{FF2B5EF4-FFF2-40B4-BE49-F238E27FC236}">
                      <a16:creationId xmlns:a16="http://schemas.microsoft.com/office/drawing/2014/main" id="{CA0289A4-6FB8-4A51-B013-478E323576E6}"/>
                    </a:ext>
                  </a:extLst>
                </p:cNvPr>
                <p:cNvSpPr>
                  <a:spLocks noEditPoints="1"/>
                </p:cNvSpPr>
                <p:nvPr/>
              </p:nvSpPr>
              <p:spPr bwMode="gray">
                <a:xfrm>
                  <a:off x="659" y="898"/>
                  <a:ext cx="1273" cy="1202"/>
                </a:xfrm>
                <a:custGeom>
                  <a:avLst/>
                  <a:gdLst>
                    <a:gd name="T0" fmla="*/ 161 w 1273"/>
                    <a:gd name="T1" fmla="*/ 894 h 1202"/>
                    <a:gd name="T2" fmla="*/ 188 w 1273"/>
                    <a:gd name="T3" fmla="*/ 1001 h 1202"/>
                    <a:gd name="T4" fmla="*/ 733 w 1273"/>
                    <a:gd name="T5" fmla="*/ 1081 h 1202"/>
                    <a:gd name="T6" fmla="*/ 858 w 1273"/>
                    <a:gd name="T7" fmla="*/ 1162 h 1202"/>
                    <a:gd name="T8" fmla="*/ 1014 w 1273"/>
                    <a:gd name="T9" fmla="*/ 1099 h 1202"/>
                    <a:gd name="T10" fmla="*/ 1197 w 1273"/>
                    <a:gd name="T11" fmla="*/ 934 h 1202"/>
                    <a:gd name="T12" fmla="*/ 1121 w 1273"/>
                    <a:gd name="T13" fmla="*/ 818 h 1202"/>
                    <a:gd name="T14" fmla="*/ 956 w 1273"/>
                    <a:gd name="T15" fmla="*/ 710 h 1202"/>
                    <a:gd name="T16" fmla="*/ 902 w 1273"/>
                    <a:gd name="T17" fmla="*/ 979 h 1202"/>
                    <a:gd name="T18" fmla="*/ 692 w 1273"/>
                    <a:gd name="T19" fmla="*/ 813 h 1202"/>
                    <a:gd name="T20" fmla="*/ 755 w 1273"/>
                    <a:gd name="T21" fmla="*/ 612 h 1202"/>
                    <a:gd name="T22" fmla="*/ 817 w 1273"/>
                    <a:gd name="T23" fmla="*/ 581 h 1202"/>
                    <a:gd name="T24" fmla="*/ 817 w 1273"/>
                    <a:gd name="T25" fmla="*/ 438 h 1202"/>
                    <a:gd name="T26" fmla="*/ 728 w 1273"/>
                    <a:gd name="T27" fmla="*/ 456 h 1202"/>
                    <a:gd name="T28" fmla="*/ 643 w 1273"/>
                    <a:gd name="T29" fmla="*/ 407 h 1202"/>
                    <a:gd name="T30" fmla="*/ 616 w 1273"/>
                    <a:gd name="T31" fmla="*/ 500 h 1202"/>
                    <a:gd name="T32" fmla="*/ 478 w 1273"/>
                    <a:gd name="T33" fmla="*/ 541 h 1202"/>
                    <a:gd name="T34" fmla="*/ 237 w 1273"/>
                    <a:gd name="T35" fmla="*/ 424 h 1202"/>
                    <a:gd name="T36" fmla="*/ 121 w 1273"/>
                    <a:gd name="T37" fmla="*/ 938 h 1202"/>
                    <a:gd name="T38" fmla="*/ 232 w 1273"/>
                    <a:gd name="T39" fmla="*/ 1041 h 1202"/>
                    <a:gd name="T40" fmla="*/ 304 w 1273"/>
                    <a:gd name="T41" fmla="*/ 348 h 1202"/>
                    <a:gd name="T42" fmla="*/ 295 w 1273"/>
                    <a:gd name="T43" fmla="*/ 112 h 1202"/>
                    <a:gd name="T44" fmla="*/ 317 w 1273"/>
                    <a:gd name="T45" fmla="*/ 18 h 1202"/>
                    <a:gd name="T46" fmla="*/ 420 w 1273"/>
                    <a:gd name="T47" fmla="*/ 411 h 1202"/>
                    <a:gd name="T48" fmla="*/ 554 w 1273"/>
                    <a:gd name="T49" fmla="*/ 478 h 1202"/>
                    <a:gd name="T50" fmla="*/ 487 w 1273"/>
                    <a:gd name="T51" fmla="*/ 344 h 1202"/>
                    <a:gd name="T52" fmla="*/ 380 w 1273"/>
                    <a:gd name="T53" fmla="*/ 259 h 1202"/>
                    <a:gd name="T54" fmla="*/ 344 w 1273"/>
                    <a:gd name="T55" fmla="*/ 594 h 1202"/>
                    <a:gd name="T56" fmla="*/ 241 w 1273"/>
                    <a:gd name="T57" fmla="*/ 585 h 1202"/>
                    <a:gd name="T58" fmla="*/ 451 w 1273"/>
                    <a:gd name="T59" fmla="*/ 702 h 1202"/>
                    <a:gd name="T60" fmla="*/ 362 w 1273"/>
                    <a:gd name="T61" fmla="*/ 89 h 1202"/>
                    <a:gd name="T62" fmla="*/ 407 w 1273"/>
                    <a:gd name="T63" fmla="*/ 156 h 1202"/>
                    <a:gd name="T64" fmla="*/ 509 w 1273"/>
                    <a:gd name="T65" fmla="*/ 165 h 1202"/>
                    <a:gd name="T66" fmla="*/ 456 w 1273"/>
                    <a:gd name="T67" fmla="*/ 152 h 1202"/>
                    <a:gd name="T68" fmla="*/ 616 w 1273"/>
                    <a:gd name="T69" fmla="*/ 179 h 1202"/>
                    <a:gd name="T70" fmla="*/ 563 w 1273"/>
                    <a:gd name="T71" fmla="*/ 89 h 1202"/>
                    <a:gd name="T72" fmla="*/ 572 w 1273"/>
                    <a:gd name="T73" fmla="*/ 259 h 1202"/>
                    <a:gd name="T74" fmla="*/ 634 w 1273"/>
                    <a:gd name="T75" fmla="*/ 264 h 1202"/>
                    <a:gd name="T76" fmla="*/ 688 w 1273"/>
                    <a:gd name="T77" fmla="*/ 295 h 1202"/>
                    <a:gd name="T78" fmla="*/ 679 w 1273"/>
                    <a:gd name="T79" fmla="*/ 62 h 1202"/>
                    <a:gd name="T80" fmla="*/ 809 w 1273"/>
                    <a:gd name="T81" fmla="*/ 205 h 1202"/>
                    <a:gd name="T82" fmla="*/ 773 w 1273"/>
                    <a:gd name="T83" fmla="*/ 143 h 1202"/>
                    <a:gd name="T84" fmla="*/ 804 w 1273"/>
                    <a:gd name="T85" fmla="*/ 688 h 1202"/>
                    <a:gd name="T86" fmla="*/ 791 w 1273"/>
                    <a:gd name="T87" fmla="*/ 657 h 1202"/>
                    <a:gd name="T88" fmla="*/ 759 w 1273"/>
                    <a:gd name="T89" fmla="*/ 89 h 1202"/>
                    <a:gd name="T90" fmla="*/ 849 w 1273"/>
                    <a:gd name="T91" fmla="*/ 40 h 1202"/>
                    <a:gd name="T92" fmla="*/ 844 w 1273"/>
                    <a:gd name="T93" fmla="*/ 688 h 1202"/>
                    <a:gd name="T94" fmla="*/ 929 w 1273"/>
                    <a:gd name="T95" fmla="*/ 438 h 1202"/>
                    <a:gd name="T96" fmla="*/ 978 w 1273"/>
                    <a:gd name="T97" fmla="*/ 563 h 1202"/>
                    <a:gd name="T98" fmla="*/ 1005 w 1273"/>
                    <a:gd name="T99" fmla="*/ 693 h 1202"/>
                    <a:gd name="T100" fmla="*/ 1117 w 1273"/>
                    <a:gd name="T101" fmla="*/ 626 h 1202"/>
                    <a:gd name="T102" fmla="*/ 1041 w 1273"/>
                    <a:gd name="T103" fmla="*/ 420 h 1202"/>
                    <a:gd name="T104" fmla="*/ 951 w 1273"/>
                    <a:gd name="T105" fmla="*/ 308 h 1202"/>
                    <a:gd name="T106" fmla="*/ 804 w 1273"/>
                    <a:gd name="T107" fmla="*/ 273 h 1202"/>
                    <a:gd name="T108" fmla="*/ 737 w 1273"/>
                    <a:gd name="T109" fmla="*/ 366 h 1202"/>
                    <a:gd name="T110" fmla="*/ 889 w 1273"/>
                    <a:gd name="T111" fmla="*/ 706 h 1202"/>
                    <a:gd name="T112" fmla="*/ 1054 w 1273"/>
                    <a:gd name="T113" fmla="*/ 1135 h 1202"/>
                    <a:gd name="T114" fmla="*/ 1161 w 1273"/>
                    <a:gd name="T115" fmla="*/ 1122 h 1202"/>
                    <a:gd name="T116" fmla="*/ 1085 w 1273"/>
                    <a:gd name="T117" fmla="*/ 1050 h 1202"/>
                    <a:gd name="T118" fmla="*/ 1108 w 1273"/>
                    <a:gd name="T119" fmla="*/ 1041 h 1202"/>
                    <a:gd name="T120" fmla="*/ 1224 w 1273"/>
                    <a:gd name="T121" fmla="*/ 1086 h 1202"/>
                    <a:gd name="T122" fmla="*/ 1260 w 1273"/>
                    <a:gd name="T123" fmla="*/ 1077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73" h="1202">
                      <a:moveTo>
                        <a:pt x="0" y="442"/>
                      </a:moveTo>
                      <a:lnTo>
                        <a:pt x="0" y="777"/>
                      </a:lnTo>
                      <a:lnTo>
                        <a:pt x="4" y="782"/>
                      </a:lnTo>
                      <a:lnTo>
                        <a:pt x="13" y="782"/>
                      </a:lnTo>
                      <a:lnTo>
                        <a:pt x="22" y="773"/>
                      </a:lnTo>
                      <a:lnTo>
                        <a:pt x="27" y="777"/>
                      </a:lnTo>
                      <a:lnTo>
                        <a:pt x="31" y="782"/>
                      </a:lnTo>
                      <a:lnTo>
                        <a:pt x="45" y="800"/>
                      </a:lnTo>
                      <a:lnTo>
                        <a:pt x="49" y="809"/>
                      </a:lnTo>
                      <a:lnTo>
                        <a:pt x="63" y="804"/>
                      </a:lnTo>
                      <a:lnTo>
                        <a:pt x="71" y="791"/>
                      </a:lnTo>
                      <a:lnTo>
                        <a:pt x="85" y="791"/>
                      </a:lnTo>
                      <a:lnTo>
                        <a:pt x="103" y="804"/>
                      </a:lnTo>
                      <a:lnTo>
                        <a:pt x="121" y="840"/>
                      </a:lnTo>
                      <a:lnTo>
                        <a:pt x="134" y="867"/>
                      </a:lnTo>
                      <a:lnTo>
                        <a:pt x="152" y="885"/>
                      </a:lnTo>
                      <a:lnTo>
                        <a:pt x="161" y="885"/>
                      </a:lnTo>
                      <a:lnTo>
                        <a:pt x="161" y="894"/>
                      </a:lnTo>
                      <a:lnTo>
                        <a:pt x="165" y="903"/>
                      </a:lnTo>
                      <a:lnTo>
                        <a:pt x="161" y="920"/>
                      </a:lnTo>
                      <a:lnTo>
                        <a:pt x="156" y="929"/>
                      </a:lnTo>
                      <a:lnTo>
                        <a:pt x="156" y="938"/>
                      </a:lnTo>
                      <a:lnTo>
                        <a:pt x="152" y="938"/>
                      </a:lnTo>
                      <a:lnTo>
                        <a:pt x="152" y="943"/>
                      </a:lnTo>
                      <a:lnTo>
                        <a:pt x="161" y="943"/>
                      </a:lnTo>
                      <a:lnTo>
                        <a:pt x="156" y="956"/>
                      </a:lnTo>
                      <a:lnTo>
                        <a:pt x="165" y="965"/>
                      </a:lnTo>
                      <a:lnTo>
                        <a:pt x="174" y="956"/>
                      </a:lnTo>
                      <a:lnTo>
                        <a:pt x="179" y="956"/>
                      </a:lnTo>
                      <a:lnTo>
                        <a:pt x="170" y="965"/>
                      </a:lnTo>
                      <a:lnTo>
                        <a:pt x="179" y="979"/>
                      </a:lnTo>
                      <a:lnTo>
                        <a:pt x="183" y="979"/>
                      </a:lnTo>
                      <a:lnTo>
                        <a:pt x="183" y="970"/>
                      </a:lnTo>
                      <a:lnTo>
                        <a:pt x="188" y="970"/>
                      </a:lnTo>
                      <a:lnTo>
                        <a:pt x="188" y="983"/>
                      </a:lnTo>
                      <a:lnTo>
                        <a:pt x="188" y="1001"/>
                      </a:lnTo>
                      <a:lnTo>
                        <a:pt x="197" y="1001"/>
                      </a:lnTo>
                      <a:lnTo>
                        <a:pt x="197" y="1005"/>
                      </a:lnTo>
                      <a:lnTo>
                        <a:pt x="206" y="1014"/>
                      </a:lnTo>
                      <a:lnTo>
                        <a:pt x="219" y="1023"/>
                      </a:lnTo>
                      <a:lnTo>
                        <a:pt x="237" y="1028"/>
                      </a:lnTo>
                      <a:lnTo>
                        <a:pt x="237" y="1037"/>
                      </a:lnTo>
                      <a:lnTo>
                        <a:pt x="246" y="1046"/>
                      </a:lnTo>
                      <a:lnTo>
                        <a:pt x="264" y="1055"/>
                      </a:lnTo>
                      <a:lnTo>
                        <a:pt x="268" y="1059"/>
                      </a:lnTo>
                      <a:lnTo>
                        <a:pt x="268" y="1063"/>
                      </a:lnTo>
                      <a:lnTo>
                        <a:pt x="657" y="1063"/>
                      </a:lnTo>
                      <a:lnTo>
                        <a:pt x="666" y="1059"/>
                      </a:lnTo>
                      <a:lnTo>
                        <a:pt x="670" y="1068"/>
                      </a:lnTo>
                      <a:lnTo>
                        <a:pt x="692" y="1068"/>
                      </a:lnTo>
                      <a:lnTo>
                        <a:pt x="701" y="1072"/>
                      </a:lnTo>
                      <a:lnTo>
                        <a:pt x="710" y="1081"/>
                      </a:lnTo>
                      <a:lnTo>
                        <a:pt x="724" y="1077"/>
                      </a:lnTo>
                      <a:lnTo>
                        <a:pt x="733" y="1081"/>
                      </a:lnTo>
                      <a:lnTo>
                        <a:pt x="750" y="1072"/>
                      </a:lnTo>
                      <a:lnTo>
                        <a:pt x="759" y="1068"/>
                      </a:lnTo>
                      <a:lnTo>
                        <a:pt x="764" y="1059"/>
                      </a:lnTo>
                      <a:lnTo>
                        <a:pt x="786" y="1063"/>
                      </a:lnTo>
                      <a:lnTo>
                        <a:pt x="795" y="1081"/>
                      </a:lnTo>
                      <a:lnTo>
                        <a:pt x="809" y="1081"/>
                      </a:lnTo>
                      <a:lnTo>
                        <a:pt x="809" y="1099"/>
                      </a:lnTo>
                      <a:lnTo>
                        <a:pt x="817" y="1113"/>
                      </a:lnTo>
                      <a:lnTo>
                        <a:pt x="826" y="1117"/>
                      </a:lnTo>
                      <a:lnTo>
                        <a:pt x="867" y="1122"/>
                      </a:lnTo>
                      <a:lnTo>
                        <a:pt x="889" y="1148"/>
                      </a:lnTo>
                      <a:lnTo>
                        <a:pt x="876" y="1144"/>
                      </a:lnTo>
                      <a:lnTo>
                        <a:pt x="880" y="1153"/>
                      </a:lnTo>
                      <a:lnTo>
                        <a:pt x="867" y="1148"/>
                      </a:lnTo>
                      <a:lnTo>
                        <a:pt x="858" y="1135"/>
                      </a:lnTo>
                      <a:lnTo>
                        <a:pt x="853" y="1135"/>
                      </a:lnTo>
                      <a:lnTo>
                        <a:pt x="862" y="1148"/>
                      </a:lnTo>
                      <a:lnTo>
                        <a:pt x="858" y="1162"/>
                      </a:lnTo>
                      <a:lnTo>
                        <a:pt x="858" y="1171"/>
                      </a:lnTo>
                      <a:lnTo>
                        <a:pt x="844" y="1189"/>
                      </a:lnTo>
                      <a:lnTo>
                        <a:pt x="844" y="1193"/>
                      </a:lnTo>
                      <a:lnTo>
                        <a:pt x="840" y="1198"/>
                      </a:lnTo>
                      <a:lnTo>
                        <a:pt x="844" y="1202"/>
                      </a:lnTo>
                      <a:lnTo>
                        <a:pt x="862" y="1189"/>
                      </a:lnTo>
                      <a:lnTo>
                        <a:pt x="876" y="1193"/>
                      </a:lnTo>
                      <a:lnTo>
                        <a:pt x="876" y="1189"/>
                      </a:lnTo>
                      <a:lnTo>
                        <a:pt x="893" y="1184"/>
                      </a:lnTo>
                      <a:lnTo>
                        <a:pt x="893" y="1180"/>
                      </a:lnTo>
                      <a:lnTo>
                        <a:pt x="880" y="1175"/>
                      </a:lnTo>
                      <a:lnTo>
                        <a:pt x="889" y="1171"/>
                      </a:lnTo>
                      <a:lnTo>
                        <a:pt x="911" y="1162"/>
                      </a:lnTo>
                      <a:lnTo>
                        <a:pt x="925" y="1166"/>
                      </a:lnTo>
                      <a:lnTo>
                        <a:pt x="929" y="1157"/>
                      </a:lnTo>
                      <a:lnTo>
                        <a:pt x="934" y="1157"/>
                      </a:lnTo>
                      <a:lnTo>
                        <a:pt x="992" y="1108"/>
                      </a:lnTo>
                      <a:lnTo>
                        <a:pt x="1014" y="1099"/>
                      </a:lnTo>
                      <a:lnTo>
                        <a:pt x="1032" y="1072"/>
                      </a:lnTo>
                      <a:lnTo>
                        <a:pt x="1041" y="1059"/>
                      </a:lnTo>
                      <a:lnTo>
                        <a:pt x="1063" y="1050"/>
                      </a:lnTo>
                      <a:lnTo>
                        <a:pt x="1072" y="1032"/>
                      </a:lnTo>
                      <a:lnTo>
                        <a:pt x="1170" y="1032"/>
                      </a:lnTo>
                      <a:lnTo>
                        <a:pt x="1193" y="1001"/>
                      </a:lnTo>
                      <a:lnTo>
                        <a:pt x="1215" y="996"/>
                      </a:lnTo>
                      <a:lnTo>
                        <a:pt x="1228" y="983"/>
                      </a:lnTo>
                      <a:lnTo>
                        <a:pt x="1228" y="974"/>
                      </a:lnTo>
                      <a:lnTo>
                        <a:pt x="1224" y="974"/>
                      </a:lnTo>
                      <a:lnTo>
                        <a:pt x="1228" y="965"/>
                      </a:lnTo>
                      <a:lnTo>
                        <a:pt x="1228" y="956"/>
                      </a:lnTo>
                      <a:lnTo>
                        <a:pt x="1219" y="943"/>
                      </a:lnTo>
                      <a:lnTo>
                        <a:pt x="1211" y="947"/>
                      </a:lnTo>
                      <a:lnTo>
                        <a:pt x="1202" y="952"/>
                      </a:lnTo>
                      <a:lnTo>
                        <a:pt x="1206" y="938"/>
                      </a:lnTo>
                      <a:lnTo>
                        <a:pt x="1206" y="934"/>
                      </a:lnTo>
                      <a:lnTo>
                        <a:pt x="1197" y="934"/>
                      </a:lnTo>
                      <a:lnTo>
                        <a:pt x="1170" y="956"/>
                      </a:lnTo>
                      <a:lnTo>
                        <a:pt x="1170" y="943"/>
                      </a:lnTo>
                      <a:lnTo>
                        <a:pt x="1184" y="938"/>
                      </a:lnTo>
                      <a:lnTo>
                        <a:pt x="1193" y="929"/>
                      </a:lnTo>
                      <a:lnTo>
                        <a:pt x="1197" y="925"/>
                      </a:lnTo>
                      <a:lnTo>
                        <a:pt x="1197" y="916"/>
                      </a:lnTo>
                      <a:lnTo>
                        <a:pt x="1184" y="925"/>
                      </a:lnTo>
                      <a:lnTo>
                        <a:pt x="1184" y="912"/>
                      </a:lnTo>
                      <a:lnTo>
                        <a:pt x="1161" y="912"/>
                      </a:lnTo>
                      <a:lnTo>
                        <a:pt x="1161" y="894"/>
                      </a:lnTo>
                      <a:lnTo>
                        <a:pt x="1139" y="885"/>
                      </a:lnTo>
                      <a:lnTo>
                        <a:pt x="1135" y="871"/>
                      </a:lnTo>
                      <a:lnTo>
                        <a:pt x="1148" y="871"/>
                      </a:lnTo>
                      <a:lnTo>
                        <a:pt x="1135" y="840"/>
                      </a:lnTo>
                      <a:lnTo>
                        <a:pt x="1126" y="836"/>
                      </a:lnTo>
                      <a:lnTo>
                        <a:pt x="1130" y="827"/>
                      </a:lnTo>
                      <a:lnTo>
                        <a:pt x="1117" y="822"/>
                      </a:lnTo>
                      <a:lnTo>
                        <a:pt x="1121" y="818"/>
                      </a:lnTo>
                      <a:lnTo>
                        <a:pt x="1094" y="769"/>
                      </a:lnTo>
                      <a:lnTo>
                        <a:pt x="1090" y="791"/>
                      </a:lnTo>
                      <a:lnTo>
                        <a:pt x="1081" y="809"/>
                      </a:lnTo>
                      <a:lnTo>
                        <a:pt x="1077" y="809"/>
                      </a:lnTo>
                      <a:lnTo>
                        <a:pt x="1059" y="831"/>
                      </a:lnTo>
                      <a:lnTo>
                        <a:pt x="1045" y="809"/>
                      </a:lnTo>
                      <a:lnTo>
                        <a:pt x="1027" y="813"/>
                      </a:lnTo>
                      <a:lnTo>
                        <a:pt x="1032" y="804"/>
                      </a:lnTo>
                      <a:lnTo>
                        <a:pt x="1027" y="800"/>
                      </a:lnTo>
                      <a:lnTo>
                        <a:pt x="1027" y="777"/>
                      </a:lnTo>
                      <a:lnTo>
                        <a:pt x="1023" y="764"/>
                      </a:lnTo>
                      <a:lnTo>
                        <a:pt x="1032" y="760"/>
                      </a:lnTo>
                      <a:lnTo>
                        <a:pt x="1027" y="751"/>
                      </a:lnTo>
                      <a:lnTo>
                        <a:pt x="1018" y="755"/>
                      </a:lnTo>
                      <a:lnTo>
                        <a:pt x="1001" y="746"/>
                      </a:lnTo>
                      <a:lnTo>
                        <a:pt x="987" y="715"/>
                      </a:lnTo>
                      <a:lnTo>
                        <a:pt x="969" y="702"/>
                      </a:lnTo>
                      <a:lnTo>
                        <a:pt x="956" y="710"/>
                      </a:lnTo>
                      <a:lnTo>
                        <a:pt x="911" y="697"/>
                      </a:lnTo>
                      <a:lnTo>
                        <a:pt x="902" y="706"/>
                      </a:lnTo>
                      <a:lnTo>
                        <a:pt x="902" y="719"/>
                      </a:lnTo>
                      <a:lnTo>
                        <a:pt x="907" y="733"/>
                      </a:lnTo>
                      <a:lnTo>
                        <a:pt x="902" y="760"/>
                      </a:lnTo>
                      <a:lnTo>
                        <a:pt x="907" y="760"/>
                      </a:lnTo>
                      <a:lnTo>
                        <a:pt x="911" y="782"/>
                      </a:lnTo>
                      <a:lnTo>
                        <a:pt x="920" y="782"/>
                      </a:lnTo>
                      <a:lnTo>
                        <a:pt x="898" y="809"/>
                      </a:lnTo>
                      <a:lnTo>
                        <a:pt x="898" y="818"/>
                      </a:lnTo>
                      <a:lnTo>
                        <a:pt x="902" y="822"/>
                      </a:lnTo>
                      <a:lnTo>
                        <a:pt x="925" y="849"/>
                      </a:lnTo>
                      <a:lnTo>
                        <a:pt x="929" y="880"/>
                      </a:lnTo>
                      <a:lnTo>
                        <a:pt x="902" y="912"/>
                      </a:lnTo>
                      <a:lnTo>
                        <a:pt x="880" y="920"/>
                      </a:lnTo>
                      <a:lnTo>
                        <a:pt x="898" y="938"/>
                      </a:lnTo>
                      <a:lnTo>
                        <a:pt x="893" y="961"/>
                      </a:lnTo>
                      <a:lnTo>
                        <a:pt x="902" y="979"/>
                      </a:lnTo>
                      <a:lnTo>
                        <a:pt x="898" y="988"/>
                      </a:lnTo>
                      <a:lnTo>
                        <a:pt x="902" y="1001"/>
                      </a:lnTo>
                      <a:lnTo>
                        <a:pt x="898" y="1005"/>
                      </a:lnTo>
                      <a:lnTo>
                        <a:pt x="889" y="996"/>
                      </a:lnTo>
                      <a:lnTo>
                        <a:pt x="880" y="1010"/>
                      </a:lnTo>
                      <a:lnTo>
                        <a:pt x="862" y="988"/>
                      </a:lnTo>
                      <a:lnTo>
                        <a:pt x="853" y="983"/>
                      </a:lnTo>
                      <a:lnTo>
                        <a:pt x="858" y="979"/>
                      </a:lnTo>
                      <a:lnTo>
                        <a:pt x="844" y="961"/>
                      </a:lnTo>
                      <a:lnTo>
                        <a:pt x="849" y="947"/>
                      </a:lnTo>
                      <a:lnTo>
                        <a:pt x="844" y="934"/>
                      </a:lnTo>
                      <a:lnTo>
                        <a:pt x="849" y="912"/>
                      </a:lnTo>
                      <a:lnTo>
                        <a:pt x="809" y="907"/>
                      </a:lnTo>
                      <a:lnTo>
                        <a:pt x="773" y="885"/>
                      </a:lnTo>
                      <a:lnTo>
                        <a:pt x="755" y="867"/>
                      </a:lnTo>
                      <a:lnTo>
                        <a:pt x="728" y="853"/>
                      </a:lnTo>
                      <a:lnTo>
                        <a:pt x="706" y="867"/>
                      </a:lnTo>
                      <a:lnTo>
                        <a:pt x="692" y="813"/>
                      </a:lnTo>
                      <a:lnTo>
                        <a:pt x="675" y="818"/>
                      </a:lnTo>
                      <a:lnTo>
                        <a:pt x="666" y="809"/>
                      </a:lnTo>
                      <a:lnTo>
                        <a:pt x="670" y="773"/>
                      </a:lnTo>
                      <a:lnTo>
                        <a:pt x="688" y="724"/>
                      </a:lnTo>
                      <a:lnTo>
                        <a:pt x="706" y="706"/>
                      </a:lnTo>
                      <a:lnTo>
                        <a:pt x="706" y="697"/>
                      </a:lnTo>
                      <a:lnTo>
                        <a:pt x="724" y="693"/>
                      </a:lnTo>
                      <a:lnTo>
                        <a:pt x="724" y="675"/>
                      </a:lnTo>
                      <a:lnTo>
                        <a:pt x="652" y="657"/>
                      </a:lnTo>
                      <a:lnTo>
                        <a:pt x="652" y="643"/>
                      </a:lnTo>
                      <a:lnTo>
                        <a:pt x="688" y="657"/>
                      </a:lnTo>
                      <a:lnTo>
                        <a:pt x="724" y="670"/>
                      </a:lnTo>
                      <a:lnTo>
                        <a:pt x="733" y="666"/>
                      </a:lnTo>
                      <a:lnTo>
                        <a:pt x="737" y="652"/>
                      </a:lnTo>
                      <a:lnTo>
                        <a:pt x="755" y="657"/>
                      </a:lnTo>
                      <a:lnTo>
                        <a:pt x="768" y="648"/>
                      </a:lnTo>
                      <a:lnTo>
                        <a:pt x="777" y="612"/>
                      </a:lnTo>
                      <a:lnTo>
                        <a:pt x="755" y="612"/>
                      </a:lnTo>
                      <a:lnTo>
                        <a:pt x="742" y="590"/>
                      </a:lnTo>
                      <a:lnTo>
                        <a:pt x="768" y="608"/>
                      </a:lnTo>
                      <a:lnTo>
                        <a:pt x="782" y="608"/>
                      </a:lnTo>
                      <a:lnTo>
                        <a:pt x="795" y="585"/>
                      </a:lnTo>
                      <a:lnTo>
                        <a:pt x="782" y="581"/>
                      </a:lnTo>
                      <a:lnTo>
                        <a:pt x="782" y="572"/>
                      </a:lnTo>
                      <a:lnTo>
                        <a:pt x="804" y="567"/>
                      </a:lnTo>
                      <a:lnTo>
                        <a:pt x="804" y="581"/>
                      </a:lnTo>
                      <a:lnTo>
                        <a:pt x="813" y="585"/>
                      </a:lnTo>
                      <a:lnTo>
                        <a:pt x="809" y="590"/>
                      </a:lnTo>
                      <a:lnTo>
                        <a:pt x="813" y="603"/>
                      </a:lnTo>
                      <a:lnTo>
                        <a:pt x="813" y="603"/>
                      </a:lnTo>
                      <a:lnTo>
                        <a:pt x="813" y="590"/>
                      </a:lnTo>
                      <a:lnTo>
                        <a:pt x="817" y="585"/>
                      </a:lnTo>
                      <a:lnTo>
                        <a:pt x="826" y="603"/>
                      </a:lnTo>
                      <a:lnTo>
                        <a:pt x="831" y="603"/>
                      </a:lnTo>
                      <a:lnTo>
                        <a:pt x="826" y="590"/>
                      </a:lnTo>
                      <a:lnTo>
                        <a:pt x="817" y="581"/>
                      </a:lnTo>
                      <a:lnTo>
                        <a:pt x="822" y="581"/>
                      </a:lnTo>
                      <a:lnTo>
                        <a:pt x="822" y="567"/>
                      </a:lnTo>
                      <a:lnTo>
                        <a:pt x="822" y="563"/>
                      </a:lnTo>
                      <a:lnTo>
                        <a:pt x="831" y="581"/>
                      </a:lnTo>
                      <a:lnTo>
                        <a:pt x="853" y="563"/>
                      </a:lnTo>
                      <a:lnTo>
                        <a:pt x="853" y="554"/>
                      </a:lnTo>
                      <a:lnTo>
                        <a:pt x="867" y="545"/>
                      </a:lnTo>
                      <a:lnTo>
                        <a:pt x="867" y="527"/>
                      </a:lnTo>
                      <a:lnTo>
                        <a:pt x="858" y="514"/>
                      </a:lnTo>
                      <a:lnTo>
                        <a:pt x="849" y="491"/>
                      </a:lnTo>
                      <a:lnTo>
                        <a:pt x="858" y="491"/>
                      </a:lnTo>
                      <a:lnTo>
                        <a:pt x="867" y="478"/>
                      </a:lnTo>
                      <a:lnTo>
                        <a:pt x="858" y="474"/>
                      </a:lnTo>
                      <a:lnTo>
                        <a:pt x="867" y="469"/>
                      </a:lnTo>
                      <a:lnTo>
                        <a:pt x="867" y="460"/>
                      </a:lnTo>
                      <a:lnTo>
                        <a:pt x="849" y="442"/>
                      </a:lnTo>
                      <a:lnTo>
                        <a:pt x="826" y="442"/>
                      </a:lnTo>
                      <a:lnTo>
                        <a:pt x="817" y="438"/>
                      </a:lnTo>
                      <a:lnTo>
                        <a:pt x="804" y="438"/>
                      </a:lnTo>
                      <a:lnTo>
                        <a:pt x="804" y="460"/>
                      </a:lnTo>
                      <a:lnTo>
                        <a:pt x="809" y="465"/>
                      </a:lnTo>
                      <a:lnTo>
                        <a:pt x="804" y="474"/>
                      </a:lnTo>
                      <a:lnTo>
                        <a:pt x="795" y="478"/>
                      </a:lnTo>
                      <a:lnTo>
                        <a:pt x="795" y="505"/>
                      </a:lnTo>
                      <a:lnTo>
                        <a:pt x="786" y="518"/>
                      </a:lnTo>
                      <a:lnTo>
                        <a:pt x="773" y="536"/>
                      </a:lnTo>
                      <a:lnTo>
                        <a:pt x="759" y="496"/>
                      </a:lnTo>
                      <a:lnTo>
                        <a:pt x="764" y="478"/>
                      </a:lnTo>
                      <a:lnTo>
                        <a:pt x="764" y="460"/>
                      </a:lnTo>
                      <a:lnTo>
                        <a:pt x="750" y="447"/>
                      </a:lnTo>
                      <a:lnTo>
                        <a:pt x="746" y="447"/>
                      </a:lnTo>
                      <a:lnTo>
                        <a:pt x="737" y="496"/>
                      </a:lnTo>
                      <a:lnTo>
                        <a:pt x="728" y="496"/>
                      </a:lnTo>
                      <a:lnTo>
                        <a:pt x="728" y="469"/>
                      </a:lnTo>
                      <a:lnTo>
                        <a:pt x="719" y="456"/>
                      </a:lnTo>
                      <a:lnTo>
                        <a:pt x="728" y="456"/>
                      </a:lnTo>
                      <a:lnTo>
                        <a:pt x="733" y="451"/>
                      </a:lnTo>
                      <a:lnTo>
                        <a:pt x="719" y="442"/>
                      </a:lnTo>
                      <a:lnTo>
                        <a:pt x="710" y="451"/>
                      </a:lnTo>
                      <a:lnTo>
                        <a:pt x="701" y="442"/>
                      </a:lnTo>
                      <a:lnTo>
                        <a:pt x="706" y="429"/>
                      </a:lnTo>
                      <a:lnTo>
                        <a:pt x="701" y="420"/>
                      </a:lnTo>
                      <a:lnTo>
                        <a:pt x="715" y="420"/>
                      </a:lnTo>
                      <a:lnTo>
                        <a:pt x="706" y="393"/>
                      </a:lnTo>
                      <a:lnTo>
                        <a:pt x="692" y="389"/>
                      </a:lnTo>
                      <a:lnTo>
                        <a:pt x="692" y="366"/>
                      </a:lnTo>
                      <a:lnTo>
                        <a:pt x="679" y="348"/>
                      </a:lnTo>
                      <a:lnTo>
                        <a:pt x="661" y="344"/>
                      </a:lnTo>
                      <a:lnTo>
                        <a:pt x="652" y="348"/>
                      </a:lnTo>
                      <a:lnTo>
                        <a:pt x="661" y="357"/>
                      </a:lnTo>
                      <a:lnTo>
                        <a:pt x="652" y="362"/>
                      </a:lnTo>
                      <a:lnTo>
                        <a:pt x="643" y="389"/>
                      </a:lnTo>
                      <a:lnTo>
                        <a:pt x="657" y="393"/>
                      </a:lnTo>
                      <a:lnTo>
                        <a:pt x="643" y="407"/>
                      </a:lnTo>
                      <a:lnTo>
                        <a:pt x="643" y="424"/>
                      </a:lnTo>
                      <a:lnTo>
                        <a:pt x="652" y="442"/>
                      </a:lnTo>
                      <a:lnTo>
                        <a:pt x="688" y="451"/>
                      </a:lnTo>
                      <a:lnTo>
                        <a:pt x="675" y="460"/>
                      </a:lnTo>
                      <a:lnTo>
                        <a:pt x="670" y="478"/>
                      </a:lnTo>
                      <a:lnTo>
                        <a:pt x="683" y="469"/>
                      </a:lnTo>
                      <a:lnTo>
                        <a:pt x="683" y="487"/>
                      </a:lnTo>
                      <a:lnTo>
                        <a:pt x="670" y="505"/>
                      </a:lnTo>
                      <a:lnTo>
                        <a:pt x="661" y="505"/>
                      </a:lnTo>
                      <a:lnTo>
                        <a:pt x="657" y="518"/>
                      </a:lnTo>
                      <a:lnTo>
                        <a:pt x="666" y="527"/>
                      </a:lnTo>
                      <a:lnTo>
                        <a:pt x="657" y="536"/>
                      </a:lnTo>
                      <a:lnTo>
                        <a:pt x="648" y="527"/>
                      </a:lnTo>
                      <a:lnTo>
                        <a:pt x="652" y="496"/>
                      </a:lnTo>
                      <a:lnTo>
                        <a:pt x="643" y="509"/>
                      </a:lnTo>
                      <a:lnTo>
                        <a:pt x="639" y="491"/>
                      </a:lnTo>
                      <a:lnTo>
                        <a:pt x="625" y="487"/>
                      </a:lnTo>
                      <a:lnTo>
                        <a:pt x="616" y="500"/>
                      </a:lnTo>
                      <a:lnTo>
                        <a:pt x="616" y="509"/>
                      </a:lnTo>
                      <a:lnTo>
                        <a:pt x="603" y="514"/>
                      </a:lnTo>
                      <a:lnTo>
                        <a:pt x="567" y="514"/>
                      </a:lnTo>
                      <a:lnTo>
                        <a:pt x="549" y="505"/>
                      </a:lnTo>
                      <a:lnTo>
                        <a:pt x="536" y="509"/>
                      </a:lnTo>
                      <a:lnTo>
                        <a:pt x="518" y="496"/>
                      </a:lnTo>
                      <a:lnTo>
                        <a:pt x="518" y="478"/>
                      </a:lnTo>
                      <a:lnTo>
                        <a:pt x="509" y="469"/>
                      </a:lnTo>
                      <a:lnTo>
                        <a:pt x="491" y="483"/>
                      </a:lnTo>
                      <a:lnTo>
                        <a:pt x="474" y="483"/>
                      </a:lnTo>
                      <a:lnTo>
                        <a:pt x="469" y="500"/>
                      </a:lnTo>
                      <a:lnTo>
                        <a:pt x="478" y="500"/>
                      </a:lnTo>
                      <a:lnTo>
                        <a:pt x="509" y="487"/>
                      </a:lnTo>
                      <a:lnTo>
                        <a:pt x="514" y="496"/>
                      </a:lnTo>
                      <a:lnTo>
                        <a:pt x="482" y="523"/>
                      </a:lnTo>
                      <a:lnTo>
                        <a:pt x="482" y="554"/>
                      </a:lnTo>
                      <a:lnTo>
                        <a:pt x="474" y="559"/>
                      </a:lnTo>
                      <a:lnTo>
                        <a:pt x="478" y="541"/>
                      </a:lnTo>
                      <a:lnTo>
                        <a:pt x="465" y="532"/>
                      </a:lnTo>
                      <a:lnTo>
                        <a:pt x="465" y="523"/>
                      </a:lnTo>
                      <a:lnTo>
                        <a:pt x="447" y="514"/>
                      </a:lnTo>
                      <a:lnTo>
                        <a:pt x="407" y="532"/>
                      </a:lnTo>
                      <a:lnTo>
                        <a:pt x="371" y="527"/>
                      </a:lnTo>
                      <a:lnTo>
                        <a:pt x="375" y="505"/>
                      </a:lnTo>
                      <a:lnTo>
                        <a:pt x="389" y="505"/>
                      </a:lnTo>
                      <a:lnTo>
                        <a:pt x="393" y="496"/>
                      </a:lnTo>
                      <a:lnTo>
                        <a:pt x="380" y="469"/>
                      </a:lnTo>
                      <a:lnTo>
                        <a:pt x="353" y="460"/>
                      </a:lnTo>
                      <a:lnTo>
                        <a:pt x="357" y="474"/>
                      </a:lnTo>
                      <a:lnTo>
                        <a:pt x="340" y="460"/>
                      </a:lnTo>
                      <a:lnTo>
                        <a:pt x="304" y="451"/>
                      </a:lnTo>
                      <a:lnTo>
                        <a:pt x="259" y="433"/>
                      </a:lnTo>
                      <a:lnTo>
                        <a:pt x="255" y="447"/>
                      </a:lnTo>
                      <a:lnTo>
                        <a:pt x="241" y="451"/>
                      </a:lnTo>
                      <a:lnTo>
                        <a:pt x="241" y="424"/>
                      </a:lnTo>
                      <a:lnTo>
                        <a:pt x="237" y="424"/>
                      </a:lnTo>
                      <a:lnTo>
                        <a:pt x="237" y="447"/>
                      </a:lnTo>
                      <a:lnTo>
                        <a:pt x="228" y="442"/>
                      </a:lnTo>
                      <a:lnTo>
                        <a:pt x="197" y="393"/>
                      </a:lnTo>
                      <a:lnTo>
                        <a:pt x="188" y="402"/>
                      </a:lnTo>
                      <a:lnTo>
                        <a:pt x="192" y="429"/>
                      </a:lnTo>
                      <a:lnTo>
                        <a:pt x="130" y="460"/>
                      </a:lnTo>
                      <a:lnTo>
                        <a:pt x="130" y="451"/>
                      </a:lnTo>
                      <a:lnTo>
                        <a:pt x="165" y="433"/>
                      </a:lnTo>
                      <a:lnTo>
                        <a:pt x="170" y="420"/>
                      </a:lnTo>
                      <a:lnTo>
                        <a:pt x="147" y="424"/>
                      </a:lnTo>
                      <a:lnTo>
                        <a:pt x="139" y="438"/>
                      </a:lnTo>
                      <a:lnTo>
                        <a:pt x="134" y="429"/>
                      </a:lnTo>
                      <a:lnTo>
                        <a:pt x="103" y="451"/>
                      </a:lnTo>
                      <a:lnTo>
                        <a:pt x="98" y="433"/>
                      </a:lnTo>
                      <a:lnTo>
                        <a:pt x="71" y="460"/>
                      </a:lnTo>
                      <a:lnTo>
                        <a:pt x="31" y="447"/>
                      </a:lnTo>
                      <a:lnTo>
                        <a:pt x="0" y="442"/>
                      </a:lnTo>
                      <a:close/>
                      <a:moveTo>
                        <a:pt x="121" y="938"/>
                      </a:moveTo>
                      <a:lnTo>
                        <a:pt x="121" y="956"/>
                      </a:lnTo>
                      <a:lnTo>
                        <a:pt x="130" y="974"/>
                      </a:lnTo>
                      <a:lnTo>
                        <a:pt x="143" y="988"/>
                      </a:lnTo>
                      <a:lnTo>
                        <a:pt x="134" y="970"/>
                      </a:lnTo>
                      <a:lnTo>
                        <a:pt x="139" y="965"/>
                      </a:lnTo>
                      <a:lnTo>
                        <a:pt x="134" y="952"/>
                      </a:lnTo>
                      <a:lnTo>
                        <a:pt x="139" y="943"/>
                      </a:lnTo>
                      <a:lnTo>
                        <a:pt x="121" y="938"/>
                      </a:lnTo>
                      <a:close/>
                      <a:moveTo>
                        <a:pt x="183" y="1019"/>
                      </a:moveTo>
                      <a:lnTo>
                        <a:pt x="192" y="1028"/>
                      </a:lnTo>
                      <a:lnTo>
                        <a:pt x="197" y="1041"/>
                      </a:lnTo>
                      <a:lnTo>
                        <a:pt x="201" y="1037"/>
                      </a:lnTo>
                      <a:lnTo>
                        <a:pt x="210" y="1046"/>
                      </a:lnTo>
                      <a:lnTo>
                        <a:pt x="232" y="1063"/>
                      </a:lnTo>
                      <a:lnTo>
                        <a:pt x="259" y="1072"/>
                      </a:lnTo>
                      <a:lnTo>
                        <a:pt x="259" y="1068"/>
                      </a:lnTo>
                      <a:lnTo>
                        <a:pt x="246" y="1055"/>
                      </a:lnTo>
                      <a:lnTo>
                        <a:pt x="232" y="1041"/>
                      </a:lnTo>
                      <a:lnTo>
                        <a:pt x="228" y="1032"/>
                      </a:lnTo>
                      <a:lnTo>
                        <a:pt x="197" y="1019"/>
                      </a:lnTo>
                      <a:lnTo>
                        <a:pt x="183" y="1019"/>
                      </a:lnTo>
                      <a:close/>
                      <a:moveTo>
                        <a:pt x="241" y="223"/>
                      </a:moveTo>
                      <a:lnTo>
                        <a:pt x="250" y="228"/>
                      </a:lnTo>
                      <a:lnTo>
                        <a:pt x="259" y="246"/>
                      </a:lnTo>
                      <a:lnTo>
                        <a:pt x="241" y="281"/>
                      </a:lnTo>
                      <a:lnTo>
                        <a:pt x="250" y="290"/>
                      </a:lnTo>
                      <a:lnTo>
                        <a:pt x="237" y="290"/>
                      </a:lnTo>
                      <a:lnTo>
                        <a:pt x="228" y="331"/>
                      </a:lnTo>
                      <a:lnTo>
                        <a:pt x="237" y="331"/>
                      </a:lnTo>
                      <a:lnTo>
                        <a:pt x="255" y="344"/>
                      </a:lnTo>
                      <a:lnTo>
                        <a:pt x="255" y="366"/>
                      </a:lnTo>
                      <a:lnTo>
                        <a:pt x="264" y="375"/>
                      </a:lnTo>
                      <a:lnTo>
                        <a:pt x="273" y="371"/>
                      </a:lnTo>
                      <a:lnTo>
                        <a:pt x="281" y="353"/>
                      </a:lnTo>
                      <a:lnTo>
                        <a:pt x="290" y="362"/>
                      </a:lnTo>
                      <a:lnTo>
                        <a:pt x="304" y="348"/>
                      </a:lnTo>
                      <a:lnTo>
                        <a:pt x="304" y="322"/>
                      </a:lnTo>
                      <a:lnTo>
                        <a:pt x="313" y="313"/>
                      </a:lnTo>
                      <a:lnTo>
                        <a:pt x="308" y="304"/>
                      </a:lnTo>
                      <a:lnTo>
                        <a:pt x="313" y="290"/>
                      </a:lnTo>
                      <a:lnTo>
                        <a:pt x="335" y="277"/>
                      </a:lnTo>
                      <a:lnTo>
                        <a:pt x="353" y="268"/>
                      </a:lnTo>
                      <a:lnTo>
                        <a:pt x="371" y="255"/>
                      </a:lnTo>
                      <a:lnTo>
                        <a:pt x="348" y="232"/>
                      </a:lnTo>
                      <a:lnTo>
                        <a:pt x="340" y="210"/>
                      </a:lnTo>
                      <a:lnTo>
                        <a:pt x="322" y="214"/>
                      </a:lnTo>
                      <a:lnTo>
                        <a:pt x="317" y="219"/>
                      </a:lnTo>
                      <a:lnTo>
                        <a:pt x="290" y="205"/>
                      </a:lnTo>
                      <a:lnTo>
                        <a:pt x="241" y="223"/>
                      </a:lnTo>
                      <a:close/>
                      <a:moveTo>
                        <a:pt x="259" y="89"/>
                      </a:moveTo>
                      <a:lnTo>
                        <a:pt x="264" y="98"/>
                      </a:lnTo>
                      <a:lnTo>
                        <a:pt x="281" y="98"/>
                      </a:lnTo>
                      <a:lnTo>
                        <a:pt x="286" y="89"/>
                      </a:lnTo>
                      <a:lnTo>
                        <a:pt x="295" y="112"/>
                      </a:lnTo>
                      <a:lnTo>
                        <a:pt x="308" y="98"/>
                      </a:lnTo>
                      <a:lnTo>
                        <a:pt x="308" y="80"/>
                      </a:lnTo>
                      <a:lnTo>
                        <a:pt x="313" y="94"/>
                      </a:lnTo>
                      <a:lnTo>
                        <a:pt x="322" y="76"/>
                      </a:lnTo>
                      <a:lnTo>
                        <a:pt x="322" y="49"/>
                      </a:lnTo>
                      <a:lnTo>
                        <a:pt x="335" y="45"/>
                      </a:lnTo>
                      <a:lnTo>
                        <a:pt x="335" y="71"/>
                      </a:lnTo>
                      <a:lnTo>
                        <a:pt x="344" y="89"/>
                      </a:lnTo>
                      <a:lnTo>
                        <a:pt x="348" y="80"/>
                      </a:lnTo>
                      <a:lnTo>
                        <a:pt x="348" y="67"/>
                      </a:lnTo>
                      <a:lnTo>
                        <a:pt x="362" y="71"/>
                      </a:lnTo>
                      <a:lnTo>
                        <a:pt x="366" y="49"/>
                      </a:lnTo>
                      <a:lnTo>
                        <a:pt x="362" y="36"/>
                      </a:lnTo>
                      <a:lnTo>
                        <a:pt x="371" y="27"/>
                      </a:lnTo>
                      <a:lnTo>
                        <a:pt x="357" y="9"/>
                      </a:lnTo>
                      <a:lnTo>
                        <a:pt x="353" y="9"/>
                      </a:lnTo>
                      <a:lnTo>
                        <a:pt x="348" y="22"/>
                      </a:lnTo>
                      <a:lnTo>
                        <a:pt x="317" y="18"/>
                      </a:lnTo>
                      <a:lnTo>
                        <a:pt x="299" y="49"/>
                      </a:lnTo>
                      <a:lnTo>
                        <a:pt x="286" y="54"/>
                      </a:lnTo>
                      <a:lnTo>
                        <a:pt x="286" y="67"/>
                      </a:lnTo>
                      <a:lnTo>
                        <a:pt x="264" y="76"/>
                      </a:lnTo>
                      <a:lnTo>
                        <a:pt x="259" y="89"/>
                      </a:lnTo>
                      <a:close/>
                      <a:moveTo>
                        <a:pt x="322" y="362"/>
                      </a:moveTo>
                      <a:lnTo>
                        <a:pt x="335" y="353"/>
                      </a:lnTo>
                      <a:lnTo>
                        <a:pt x="362" y="348"/>
                      </a:lnTo>
                      <a:lnTo>
                        <a:pt x="375" y="353"/>
                      </a:lnTo>
                      <a:lnTo>
                        <a:pt x="348" y="362"/>
                      </a:lnTo>
                      <a:lnTo>
                        <a:pt x="326" y="375"/>
                      </a:lnTo>
                      <a:lnTo>
                        <a:pt x="326" y="384"/>
                      </a:lnTo>
                      <a:lnTo>
                        <a:pt x="340" y="393"/>
                      </a:lnTo>
                      <a:lnTo>
                        <a:pt x="375" y="398"/>
                      </a:lnTo>
                      <a:lnTo>
                        <a:pt x="398" y="389"/>
                      </a:lnTo>
                      <a:lnTo>
                        <a:pt x="433" y="398"/>
                      </a:lnTo>
                      <a:lnTo>
                        <a:pt x="438" y="402"/>
                      </a:lnTo>
                      <a:lnTo>
                        <a:pt x="420" y="411"/>
                      </a:lnTo>
                      <a:lnTo>
                        <a:pt x="398" y="407"/>
                      </a:lnTo>
                      <a:lnTo>
                        <a:pt x="353" y="416"/>
                      </a:lnTo>
                      <a:lnTo>
                        <a:pt x="344" y="429"/>
                      </a:lnTo>
                      <a:lnTo>
                        <a:pt x="357" y="451"/>
                      </a:lnTo>
                      <a:lnTo>
                        <a:pt x="402" y="451"/>
                      </a:lnTo>
                      <a:lnTo>
                        <a:pt x="402" y="460"/>
                      </a:lnTo>
                      <a:lnTo>
                        <a:pt x="393" y="469"/>
                      </a:lnTo>
                      <a:lnTo>
                        <a:pt x="393" y="483"/>
                      </a:lnTo>
                      <a:lnTo>
                        <a:pt x="407" y="496"/>
                      </a:lnTo>
                      <a:lnTo>
                        <a:pt x="451" y="491"/>
                      </a:lnTo>
                      <a:lnTo>
                        <a:pt x="474" y="474"/>
                      </a:lnTo>
                      <a:lnTo>
                        <a:pt x="482" y="474"/>
                      </a:lnTo>
                      <a:lnTo>
                        <a:pt x="491" y="465"/>
                      </a:lnTo>
                      <a:lnTo>
                        <a:pt x="496" y="447"/>
                      </a:lnTo>
                      <a:lnTo>
                        <a:pt x="500" y="465"/>
                      </a:lnTo>
                      <a:lnTo>
                        <a:pt x="527" y="460"/>
                      </a:lnTo>
                      <a:lnTo>
                        <a:pt x="518" y="474"/>
                      </a:lnTo>
                      <a:lnTo>
                        <a:pt x="554" y="478"/>
                      </a:lnTo>
                      <a:lnTo>
                        <a:pt x="572" y="465"/>
                      </a:lnTo>
                      <a:lnTo>
                        <a:pt x="563" y="447"/>
                      </a:lnTo>
                      <a:lnTo>
                        <a:pt x="554" y="451"/>
                      </a:lnTo>
                      <a:lnTo>
                        <a:pt x="549" y="442"/>
                      </a:lnTo>
                      <a:lnTo>
                        <a:pt x="567" y="438"/>
                      </a:lnTo>
                      <a:lnTo>
                        <a:pt x="581" y="442"/>
                      </a:lnTo>
                      <a:lnTo>
                        <a:pt x="581" y="420"/>
                      </a:lnTo>
                      <a:lnTo>
                        <a:pt x="558" y="411"/>
                      </a:lnTo>
                      <a:lnTo>
                        <a:pt x="554" y="398"/>
                      </a:lnTo>
                      <a:lnTo>
                        <a:pt x="545" y="407"/>
                      </a:lnTo>
                      <a:lnTo>
                        <a:pt x="527" y="380"/>
                      </a:lnTo>
                      <a:lnTo>
                        <a:pt x="527" y="348"/>
                      </a:lnTo>
                      <a:lnTo>
                        <a:pt x="509" y="281"/>
                      </a:lnTo>
                      <a:lnTo>
                        <a:pt x="491" y="264"/>
                      </a:lnTo>
                      <a:lnTo>
                        <a:pt x="491" y="273"/>
                      </a:lnTo>
                      <a:lnTo>
                        <a:pt x="478" y="268"/>
                      </a:lnTo>
                      <a:lnTo>
                        <a:pt x="478" y="281"/>
                      </a:lnTo>
                      <a:lnTo>
                        <a:pt x="487" y="344"/>
                      </a:lnTo>
                      <a:lnTo>
                        <a:pt x="478" y="353"/>
                      </a:lnTo>
                      <a:lnTo>
                        <a:pt x="474" y="344"/>
                      </a:lnTo>
                      <a:lnTo>
                        <a:pt x="469" y="304"/>
                      </a:lnTo>
                      <a:lnTo>
                        <a:pt x="456" y="286"/>
                      </a:lnTo>
                      <a:lnTo>
                        <a:pt x="442" y="286"/>
                      </a:lnTo>
                      <a:lnTo>
                        <a:pt x="447" y="299"/>
                      </a:lnTo>
                      <a:lnTo>
                        <a:pt x="451" y="299"/>
                      </a:lnTo>
                      <a:lnTo>
                        <a:pt x="451" y="322"/>
                      </a:lnTo>
                      <a:lnTo>
                        <a:pt x="433" y="322"/>
                      </a:lnTo>
                      <a:lnTo>
                        <a:pt x="424" y="326"/>
                      </a:lnTo>
                      <a:lnTo>
                        <a:pt x="438" y="299"/>
                      </a:lnTo>
                      <a:lnTo>
                        <a:pt x="424" y="286"/>
                      </a:lnTo>
                      <a:lnTo>
                        <a:pt x="402" y="277"/>
                      </a:lnTo>
                      <a:lnTo>
                        <a:pt x="398" y="304"/>
                      </a:lnTo>
                      <a:lnTo>
                        <a:pt x="384" y="313"/>
                      </a:lnTo>
                      <a:lnTo>
                        <a:pt x="389" y="295"/>
                      </a:lnTo>
                      <a:lnTo>
                        <a:pt x="389" y="259"/>
                      </a:lnTo>
                      <a:lnTo>
                        <a:pt x="380" y="259"/>
                      </a:lnTo>
                      <a:lnTo>
                        <a:pt x="322" y="295"/>
                      </a:lnTo>
                      <a:lnTo>
                        <a:pt x="322" y="304"/>
                      </a:lnTo>
                      <a:lnTo>
                        <a:pt x="322" y="313"/>
                      </a:lnTo>
                      <a:lnTo>
                        <a:pt x="335" y="308"/>
                      </a:lnTo>
                      <a:lnTo>
                        <a:pt x="331" y="317"/>
                      </a:lnTo>
                      <a:lnTo>
                        <a:pt x="317" y="322"/>
                      </a:lnTo>
                      <a:lnTo>
                        <a:pt x="308" y="340"/>
                      </a:lnTo>
                      <a:lnTo>
                        <a:pt x="308" y="348"/>
                      </a:lnTo>
                      <a:lnTo>
                        <a:pt x="317" y="340"/>
                      </a:lnTo>
                      <a:lnTo>
                        <a:pt x="326" y="344"/>
                      </a:lnTo>
                      <a:lnTo>
                        <a:pt x="322" y="353"/>
                      </a:lnTo>
                      <a:lnTo>
                        <a:pt x="322" y="362"/>
                      </a:lnTo>
                      <a:close/>
                      <a:moveTo>
                        <a:pt x="322" y="550"/>
                      </a:moveTo>
                      <a:lnTo>
                        <a:pt x="299" y="572"/>
                      </a:lnTo>
                      <a:lnTo>
                        <a:pt x="322" y="581"/>
                      </a:lnTo>
                      <a:lnTo>
                        <a:pt x="344" y="572"/>
                      </a:lnTo>
                      <a:lnTo>
                        <a:pt x="348" y="576"/>
                      </a:lnTo>
                      <a:lnTo>
                        <a:pt x="344" y="594"/>
                      </a:lnTo>
                      <a:lnTo>
                        <a:pt x="322" y="599"/>
                      </a:lnTo>
                      <a:lnTo>
                        <a:pt x="322" y="590"/>
                      </a:lnTo>
                      <a:lnTo>
                        <a:pt x="313" y="590"/>
                      </a:lnTo>
                      <a:lnTo>
                        <a:pt x="308" y="599"/>
                      </a:lnTo>
                      <a:lnTo>
                        <a:pt x="313" y="608"/>
                      </a:lnTo>
                      <a:lnTo>
                        <a:pt x="308" y="612"/>
                      </a:lnTo>
                      <a:lnTo>
                        <a:pt x="295" y="630"/>
                      </a:lnTo>
                      <a:lnTo>
                        <a:pt x="290" y="626"/>
                      </a:lnTo>
                      <a:lnTo>
                        <a:pt x="299" y="603"/>
                      </a:lnTo>
                      <a:lnTo>
                        <a:pt x="295" y="599"/>
                      </a:lnTo>
                      <a:lnTo>
                        <a:pt x="281" y="626"/>
                      </a:lnTo>
                      <a:lnTo>
                        <a:pt x="255" y="617"/>
                      </a:lnTo>
                      <a:lnTo>
                        <a:pt x="268" y="612"/>
                      </a:lnTo>
                      <a:lnTo>
                        <a:pt x="273" y="599"/>
                      </a:lnTo>
                      <a:lnTo>
                        <a:pt x="268" y="590"/>
                      </a:lnTo>
                      <a:lnTo>
                        <a:pt x="286" y="590"/>
                      </a:lnTo>
                      <a:lnTo>
                        <a:pt x="281" y="581"/>
                      </a:lnTo>
                      <a:lnTo>
                        <a:pt x="241" y="585"/>
                      </a:lnTo>
                      <a:lnTo>
                        <a:pt x="232" y="590"/>
                      </a:lnTo>
                      <a:lnTo>
                        <a:pt x="237" y="576"/>
                      </a:lnTo>
                      <a:lnTo>
                        <a:pt x="246" y="581"/>
                      </a:lnTo>
                      <a:lnTo>
                        <a:pt x="268" y="572"/>
                      </a:lnTo>
                      <a:lnTo>
                        <a:pt x="308" y="545"/>
                      </a:lnTo>
                      <a:lnTo>
                        <a:pt x="322" y="550"/>
                      </a:lnTo>
                      <a:close/>
                      <a:moveTo>
                        <a:pt x="335" y="107"/>
                      </a:moveTo>
                      <a:lnTo>
                        <a:pt x="313" y="143"/>
                      </a:lnTo>
                      <a:lnTo>
                        <a:pt x="313" y="152"/>
                      </a:lnTo>
                      <a:lnTo>
                        <a:pt x="326" y="156"/>
                      </a:lnTo>
                      <a:lnTo>
                        <a:pt x="340" y="107"/>
                      </a:lnTo>
                      <a:lnTo>
                        <a:pt x="335" y="107"/>
                      </a:lnTo>
                      <a:close/>
                      <a:moveTo>
                        <a:pt x="357" y="684"/>
                      </a:moveTo>
                      <a:lnTo>
                        <a:pt x="402" y="715"/>
                      </a:lnTo>
                      <a:lnTo>
                        <a:pt x="415" y="715"/>
                      </a:lnTo>
                      <a:lnTo>
                        <a:pt x="433" y="697"/>
                      </a:lnTo>
                      <a:lnTo>
                        <a:pt x="451" y="693"/>
                      </a:lnTo>
                      <a:lnTo>
                        <a:pt x="451" y="702"/>
                      </a:lnTo>
                      <a:lnTo>
                        <a:pt x="433" y="710"/>
                      </a:lnTo>
                      <a:lnTo>
                        <a:pt x="411" y="737"/>
                      </a:lnTo>
                      <a:lnTo>
                        <a:pt x="402" y="737"/>
                      </a:lnTo>
                      <a:lnTo>
                        <a:pt x="402" y="746"/>
                      </a:lnTo>
                      <a:lnTo>
                        <a:pt x="371" y="755"/>
                      </a:lnTo>
                      <a:lnTo>
                        <a:pt x="348" y="751"/>
                      </a:lnTo>
                      <a:lnTo>
                        <a:pt x="322" y="737"/>
                      </a:lnTo>
                      <a:lnTo>
                        <a:pt x="326" y="733"/>
                      </a:lnTo>
                      <a:lnTo>
                        <a:pt x="348" y="742"/>
                      </a:lnTo>
                      <a:lnTo>
                        <a:pt x="366" y="742"/>
                      </a:lnTo>
                      <a:lnTo>
                        <a:pt x="371" y="724"/>
                      </a:lnTo>
                      <a:lnTo>
                        <a:pt x="384" y="719"/>
                      </a:lnTo>
                      <a:lnTo>
                        <a:pt x="375" y="702"/>
                      </a:lnTo>
                      <a:lnTo>
                        <a:pt x="366" y="706"/>
                      </a:lnTo>
                      <a:lnTo>
                        <a:pt x="357" y="684"/>
                      </a:lnTo>
                      <a:close/>
                      <a:moveTo>
                        <a:pt x="384" y="71"/>
                      </a:moveTo>
                      <a:lnTo>
                        <a:pt x="375" y="76"/>
                      </a:lnTo>
                      <a:lnTo>
                        <a:pt x="362" y="89"/>
                      </a:lnTo>
                      <a:lnTo>
                        <a:pt x="375" y="98"/>
                      </a:lnTo>
                      <a:lnTo>
                        <a:pt x="357" y="98"/>
                      </a:lnTo>
                      <a:lnTo>
                        <a:pt x="353" y="107"/>
                      </a:lnTo>
                      <a:lnTo>
                        <a:pt x="348" y="121"/>
                      </a:lnTo>
                      <a:lnTo>
                        <a:pt x="371" y="121"/>
                      </a:lnTo>
                      <a:lnTo>
                        <a:pt x="348" y="134"/>
                      </a:lnTo>
                      <a:lnTo>
                        <a:pt x="344" y="152"/>
                      </a:lnTo>
                      <a:lnTo>
                        <a:pt x="375" y="147"/>
                      </a:lnTo>
                      <a:lnTo>
                        <a:pt x="357" y="161"/>
                      </a:lnTo>
                      <a:lnTo>
                        <a:pt x="344" y="161"/>
                      </a:lnTo>
                      <a:lnTo>
                        <a:pt x="340" y="174"/>
                      </a:lnTo>
                      <a:lnTo>
                        <a:pt x="357" y="174"/>
                      </a:lnTo>
                      <a:lnTo>
                        <a:pt x="366" y="174"/>
                      </a:lnTo>
                      <a:lnTo>
                        <a:pt x="371" y="183"/>
                      </a:lnTo>
                      <a:lnTo>
                        <a:pt x="380" y="183"/>
                      </a:lnTo>
                      <a:lnTo>
                        <a:pt x="389" y="179"/>
                      </a:lnTo>
                      <a:lnTo>
                        <a:pt x="398" y="156"/>
                      </a:lnTo>
                      <a:lnTo>
                        <a:pt x="407" y="156"/>
                      </a:lnTo>
                      <a:lnTo>
                        <a:pt x="398" y="174"/>
                      </a:lnTo>
                      <a:lnTo>
                        <a:pt x="398" y="179"/>
                      </a:lnTo>
                      <a:lnTo>
                        <a:pt x="411" y="170"/>
                      </a:lnTo>
                      <a:lnTo>
                        <a:pt x="433" y="170"/>
                      </a:lnTo>
                      <a:lnTo>
                        <a:pt x="429" y="179"/>
                      </a:lnTo>
                      <a:lnTo>
                        <a:pt x="407" y="183"/>
                      </a:lnTo>
                      <a:lnTo>
                        <a:pt x="384" y="188"/>
                      </a:lnTo>
                      <a:lnTo>
                        <a:pt x="384" y="197"/>
                      </a:lnTo>
                      <a:lnTo>
                        <a:pt x="389" y="210"/>
                      </a:lnTo>
                      <a:lnTo>
                        <a:pt x="402" y="214"/>
                      </a:lnTo>
                      <a:lnTo>
                        <a:pt x="420" y="210"/>
                      </a:lnTo>
                      <a:lnTo>
                        <a:pt x="433" y="201"/>
                      </a:lnTo>
                      <a:lnTo>
                        <a:pt x="438" y="192"/>
                      </a:lnTo>
                      <a:lnTo>
                        <a:pt x="456" y="192"/>
                      </a:lnTo>
                      <a:lnTo>
                        <a:pt x="460" y="183"/>
                      </a:lnTo>
                      <a:lnTo>
                        <a:pt x="496" y="188"/>
                      </a:lnTo>
                      <a:lnTo>
                        <a:pt x="509" y="174"/>
                      </a:lnTo>
                      <a:lnTo>
                        <a:pt x="509" y="165"/>
                      </a:lnTo>
                      <a:lnTo>
                        <a:pt x="523" y="134"/>
                      </a:lnTo>
                      <a:lnTo>
                        <a:pt x="514" y="116"/>
                      </a:lnTo>
                      <a:lnTo>
                        <a:pt x="505" y="107"/>
                      </a:lnTo>
                      <a:lnTo>
                        <a:pt x="496" y="116"/>
                      </a:lnTo>
                      <a:lnTo>
                        <a:pt x="482" y="121"/>
                      </a:lnTo>
                      <a:lnTo>
                        <a:pt x="482" y="112"/>
                      </a:lnTo>
                      <a:lnTo>
                        <a:pt x="469" y="107"/>
                      </a:lnTo>
                      <a:lnTo>
                        <a:pt x="469" y="89"/>
                      </a:lnTo>
                      <a:lnTo>
                        <a:pt x="465" y="71"/>
                      </a:lnTo>
                      <a:lnTo>
                        <a:pt x="456" y="67"/>
                      </a:lnTo>
                      <a:lnTo>
                        <a:pt x="460" y="58"/>
                      </a:lnTo>
                      <a:lnTo>
                        <a:pt x="456" y="54"/>
                      </a:lnTo>
                      <a:lnTo>
                        <a:pt x="451" y="58"/>
                      </a:lnTo>
                      <a:lnTo>
                        <a:pt x="438" y="76"/>
                      </a:lnTo>
                      <a:lnTo>
                        <a:pt x="456" y="107"/>
                      </a:lnTo>
                      <a:lnTo>
                        <a:pt x="442" y="121"/>
                      </a:lnTo>
                      <a:lnTo>
                        <a:pt x="460" y="143"/>
                      </a:lnTo>
                      <a:lnTo>
                        <a:pt x="456" y="152"/>
                      </a:lnTo>
                      <a:lnTo>
                        <a:pt x="433" y="152"/>
                      </a:lnTo>
                      <a:lnTo>
                        <a:pt x="424" y="134"/>
                      </a:lnTo>
                      <a:lnTo>
                        <a:pt x="407" y="130"/>
                      </a:lnTo>
                      <a:lnTo>
                        <a:pt x="420" y="125"/>
                      </a:lnTo>
                      <a:lnTo>
                        <a:pt x="407" y="89"/>
                      </a:lnTo>
                      <a:lnTo>
                        <a:pt x="393" y="94"/>
                      </a:lnTo>
                      <a:lnTo>
                        <a:pt x="389" y="71"/>
                      </a:lnTo>
                      <a:lnTo>
                        <a:pt x="384" y="71"/>
                      </a:lnTo>
                      <a:close/>
                      <a:moveTo>
                        <a:pt x="500" y="246"/>
                      </a:moveTo>
                      <a:lnTo>
                        <a:pt x="496" y="255"/>
                      </a:lnTo>
                      <a:lnTo>
                        <a:pt x="505" y="264"/>
                      </a:lnTo>
                      <a:lnTo>
                        <a:pt x="518" y="286"/>
                      </a:lnTo>
                      <a:lnTo>
                        <a:pt x="527" y="273"/>
                      </a:lnTo>
                      <a:lnTo>
                        <a:pt x="532" y="259"/>
                      </a:lnTo>
                      <a:lnTo>
                        <a:pt x="523" y="241"/>
                      </a:lnTo>
                      <a:lnTo>
                        <a:pt x="500" y="246"/>
                      </a:lnTo>
                      <a:close/>
                      <a:moveTo>
                        <a:pt x="585" y="183"/>
                      </a:moveTo>
                      <a:lnTo>
                        <a:pt x="616" y="179"/>
                      </a:lnTo>
                      <a:lnTo>
                        <a:pt x="621" y="156"/>
                      </a:lnTo>
                      <a:lnTo>
                        <a:pt x="630" y="161"/>
                      </a:lnTo>
                      <a:lnTo>
                        <a:pt x="625" y="143"/>
                      </a:lnTo>
                      <a:lnTo>
                        <a:pt x="621" y="143"/>
                      </a:lnTo>
                      <a:lnTo>
                        <a:pt x="634" y="112"/>
                      </a:lnTo>
                      <a:lnTo>
                        <a:pt x="630" y="76"/>
                      </a:lnTo>
                      <a:lnTo>
                        <a:pt x="612" y="71"/>
                      </a:lnTo>
                      <a:lnTo>
                        <a:pt x="608" y="85"/>
                      </a:lnTo>
                      <a:lnTo>
                        <a:pt x="599" y="76"/>
                      </a:lnTo>
                      <a:lnTo>
                        <a:pt x="590" y="71"/>
                      </a:lnTo>
                      <a:lnTo>
                        <a:pt x="581" y="80"/>
                      </a:lnTo>
                      <a:lnTo>
                        <a:pt x="590" y="98"/>
                      </a:lnTo>
                      <a:lnTo>
                        <a:pt x="599" y="103"/>
                      </a:lnTo>
                      <a:lnTo>
                        <a:pt x="594" y="107"/>
                      </a:lnTo>
                      <a:lnTo>
                        <a:pt x="594" y="125"/>
                      </a:lnTo>
                      <a:lnTo>
                        <a:pt x="581" y="103"/>
                      </a:lnTo>
                      <a:lnTo>
                        <a:pt x="576" y="89"/>
                      </a:lnTo>
                      <a:lnTo>
                        <a:pt x="563" y="89"/>
                      </a:lnTo>
                      <a:lnTo>
                        <a:pt x="563" y="103"/>
                      </a:lnTo>
                      <a:lnTo>
                        <a:pt x="572" y="103"/>
                      </a:lnTo>
                      <a:lnTo>
                        <a:pt x="567" y="112"/>
                      </a:lnTo>
                      <a:lnTo>
                        <a:pt x="576" y="138"/>
                      </a:lnTo>
                      <a:lnTo>
                        <a:pt x="572" y="143"/>
                      </a:lnTo>
                      <a:lnTo>
                        <a:pt x="563" y="138"/>
                      </a:lnTo>
                      <a:lnTo>
                        <a:pt x="549" y="152"/>
                      </a:lnTo>
                      <a:lnTo>
                        <a:pt x="549" y="161"/>
                      </a:lnTo>
                      <a:lnTo>
                        <a:pt x="576" y="152"/>
                      </a:lnTo>
                      <a:lnTo>
                        <a:pt x="594" y="152"/>
                      </a:lnTo>
                      <a:lnTo>
                        <a:pt x="585" y="161"/>
                      </a:lnTo>
                      <a:lnTo>
                        <a:pt x="585" y="174"/>
                      </a:lnTo>
                      <a:lnTo>
                        <a:pt x="585" y="183"/>
                      </a:lnTo>
                      <a:close/>
                      <a:moveTo>
                        <a:pt x="603" y="246"/>
                      </a:moveTo>
                      <a:lnTo>
                        <a:pt x="594" y="237"/>
                      </a:lnTo>
                      <a:lnTo>
                        <a:pt x="581" y="246"/>
                      </a:lnTo>
                      <a:lnTo>
                        <a:pt x="581" y="255"/>
                      </a:lnTo>
                      <a:lnTo>
                        <a:pt x="572" y="259"/>
                      </a:lnTo>
                      <a:lnTo>
                        <a:pt x="594" y="290"/>
                      </a:lnTo>
                      <a:lnTo>
                        <a:pt x="590" y="295"/>
                      </a:lnTo>
                      <a:lnTo>
                        <a:pt x="567" y="273"/>
                      </a:lnTo>
                      <a:lnTo>
                        <a:pt x="558" y="277"/>
                      </a:lnTo>
                      <a:lnTo>
                        <a:pt x="554" y="290"/>
                      </a:lnTo>
                      <a:lnTo>
                        <a:pt x="567" y="308"/>
                      </a:lnTo>
                      <a:lnTo>
                        <a:pt x="563" y="317"/>
                      </a:lnTo>
                      <a:lnTo>
                        <a:pt x="585" y="317"/>
                      </a:lnTo>
                      <a:lnTo>
                        <a:pt x="603" y="348"/>
                      </a:lnTo>
                      <a:lnTo>
                        <a:pt x="603" y="371"/>
                      </a:lnTo>
                      <a:lnTo>
                        <a:pt x="621" y="371"/>
                      </a:lnTo>
                      <a:lnTo>
                        <a:pt x="625" y="357"/>
                      </a:lnTo>
                      <a:lnTo>
                        <a:pt x="621" y="344"/>
                      </a:lnTo>
                      <a:lnTo>
                        <a:pt x="639" y="340"/>
                      </a:lnTo>
                      <a:lnTo>
                        <a:pt x="639" y="286"/>
                      </a:lnTo>
                      <a:lnTo>
                        <a:pt x="630" y="295"/>
                      </a:lnTo>
                      <a:lnTo>
                        <a:pt x="621" y="277"/>
                      </a:lnTo>
                      <a:lnTo>
                        <a:pt x="634" y="264"/>
                      </a:lnTo>
                      <a:lnTo>
                        <a:pt x="634" y="255"/>
                      </a:lnTo>
                      <a:lnTo>
                        <a:pt x="639" y="246"/>
                      </a:lnTo>
                      <a:lnTo>
                        <a:pt x="639" y="237"/>
                      </a:lnTo>
                      <a:lnTo>
                        <a:pt x="603" y="246"/>
                      </a:lnTo>
                      <a:close/>
                      <a:moveTo>
                        <a:pt x="657" y="241"/>
                      </a:moveTo>
                      <a:lnTo>
                        <a:pt x="666" y="250"/>
                      </a:lnTo>
                      <a:lnTo>
                        <a:pt x="652" y="246"/>
                      </a:lnTo>
                      <a:lnTo>
                        <a:pt x="652" y="273"/>
                      </a:lnTo>
                      <a:lnTo>
                        <a:pt x="652" y="308"/>
                      </a:lnTo>
                      <a:lnTo>
                        <a:pt x="661" y="313"/>
                      </a:lnTo>
                      <a:lnTo>
                        <a:pt x="661" y="340"/>
                      </a:lnTo>
                      <a:lnTo>
                        <a:pt x="675" y="344"/>
                      </a:lnTo>
                      <a:lnTo>
                        <a:pt x="675" y="335"/>
                      </a:lnTo>
                      <a:lnTo>
                        <a:pt x="688" y="322"/>
                      </a:lnTo>
                      <a:lnTo>
                        <a:pt x="683" y="304"/>
                      </a:lnTo>
                      <a:lnTo>
                        <a:pt x="666" y="304"/>
                      </a:lnTo>
                      <a:lnTo>
                        <a:pt x="666" y="295"/>
                      </a:lnTo>
                      <a:lnTo>
                        <a:pt x="688" y="295"/>
                      </a:lnTo>
                      <a:lnTo>
                        <a:pt x="715" y="304"/>
                      </a:lnTo>
                      <a:lnTo>
                        <a:pt x="733" y="250"/>
                      </a:lnTo>
                      <a:lnTo>
                        <a:pt x="719" y="241"/>
                      </a:lnTo>
                      <a:lnTo>
                        <a:pt x="679" y="228"/>
                      </a:lnTo>
                      <a:lnTo>
                        <a:pt x="657" y="241"/>
                      </a:lnTo>
                      <a:close/>
                      <a:moveTo>
                        <a:pt x="666" y="143"/>
                      </a:moveTo>
                      <a:lnTo>
                        <a:pt x="652" y="152"/>
                      </a:lnTo>
                      <a:lnTo>
                        <a:pt x="643" y="170"/>
                      </a:lnTo>
                      <a:lnTo>
                        <a:pt x="643" y="179"/>
                      </a:lnTo>
                      <a:lnTo>
                        <a:pt x="657" y="179"/>
                      </a:lnTo>
                      <a:lnTo>
                        <a:pt x="683" y="197"/>
                      </a:lnTo>
                      <a:lnTo>
                        <a:pt x="688" y="192"/>
                      </a:lnTo>
                      <a:lnTo>
                        <a:pt x="683" y="161"/>
                      </a:lnTo>
                      <a:lnTo>
                        <a:pt x="666" y="143"/>
                      </a:lnTo>
                      <a:close/>
                      <a:moveTo>
                        <a:pt x="697" y="76"/>
                      </a:moveTo>
                      <a:lnTo>
                        <a:pt x="688" y="89"/>
                      </a:lnTo>
                      <a:lnTo>
                        <a:pt x="692" y="71"/>
                      </a:lnTo>
                      <a:lnTo>
                        <a:pt x="679" y="62"/>
                      </a:lnTo>
                      <a:lnTo>
                        <a:pt x="657" y="54"/>
                      </a:lnTo>
                      <a:lnTo>
                        <a:pt x="634" y="58"/>
                      </a:lnTo>
                      <a:lnTo>
                        <a:pt x="639" y="76"/>
                      </a:lnTo>
                      <a:lnTo>
                        <a:pt x="661" y="103"/>
                      </a:lnTo>
                      <a:lnTo>
                        <a:pt x="683" y="107"/>
                      </a:lnTo>
                      <a:lnTo>
                        <a:pt x="697" y="98"/>
                      </a:lnTo>
                      <a:lnTo>
                        <a:pt x="710" y="138"/>
                      </a:lnTo>
                      <a:lnTo>
                        <a:pt x="701" y="152"/>
                      </a:lnTo>
                      <a:lnTo>
                        <a:pt x="710" y="197"/>
                      </a:lnTo>
                      <a:lnTo>
                        <a:pt x="719" y="205"/>
                      </a:lnTo>
                      <a:lnTo>
                        <a:pt x="724" y="197"/>
                      </a:lnTo>
                      <a:lnTo>
                        <a:pt x="737" y="210"/>
                      </a:lnTo>
                      <a:lnTo>
                        <a:pt x="746" y="205"/>
                      </a:lnTo>
                      <a:lnTo>
                        <a:pt x="750" y="197"/>
                      </a:lnTo>
                      <a:lnTo>
                        <a:pt x="759" y="192"/>
                      </a:lnTo>
                      <a:lnTo>
                        <a:pt x="759" y="205"/>
                      </a:lnTo>
                      <a:lnTo>
                        <a:pt x="782" y="205"/>
                      </a:lnTo>
                      <a:lnTo>
                        <a:pt x="809" y="205"/>
                      </a:lnTo>
                      <a:lnTo>
                        <a:pt x="826" y="205"/>
                      </a:lnTo>
                      <a:lnTo>
                        <a:pt x="835" y="192"/>
                      </a:lnTo>
                      <a:lnTo>
                        <a:pt x="840" y="201"/>
                      </a:lnTo>
                      <a:lnTo>
                        <a:pt x="853" y="210"/>
                      </a:lnTo>
                      <a:lnTo>
                        <a:pt x="871" y="201"/>
                      </a:lnTo>
                      <a:lnTo>
                        <a:pt x="871" y="192"/>
                      </a:lnTo>
                      <a:lnTo>
                        <a:pt x="884" y="188"/>
                      </a:lnTo>
                      <a:lnTo>
                        <a:pt x="880" y="179"/>
                      </a:lnTo>
                      <a:lnTo>
                        <a:pt x="871" y="179"/>
                      </a:lnTo>
                      <a:lnTo>
                        <a:pt x="884" y="165"/>
                      </a:lnTo>
                      <a:lnTo>
                        <a:pt x="884" y="143"/>
                      </a:lnTo>
                      <a:lnTo>
                        <a:pt x="867" y="134"/>
                      </a:lnTo>
                      <a:lnTo>
                        <a:pt x="849" y="130"/>
                      </a:lnTo>
                      <a:lnTo>
                        <a:pt x="835" y="134"/>
                      </a:lnTo>
                      <a:lnTo>
                        <a:pt x="826" y="130"/>
                      </a:lnTo>
                      <a:lnTo>
                        <a:pt x="800" y="138"/>
                      </a:lnTo>
                      <a:lnTo>
                        <a:pt x="791" y="152"/>
                      </a:lnTo>
                      <a:lnTo>
                        <a:pt x="773" y="143"/>
                      </a:lnTo>
                      <a:lnTo>
                        <a:pt x="759" y="138"/>
                      </a:lnTo>
                      <a:lnTo>
                        <a:pt x="750" y="143"/>
                      </a:lnTo>
                      <a:lnTo>
                        <a:pt x="737" y="134"/>
                      </a:lnTo>
                      <a:lnTo>
                        <a:pt x="737" y="125"/>
                      </a:lnTo>
                      <a:lnTo>
                        <a:pt x="724" y="121"/>
                      </a:lnTo>
                      <a:lnTo>
                        <a:pt x="733" y="116"/>
                      </a:lnTo>
                      <a:lnTo>
                        <a:pt x="724" y="112"/>
                      </a:lnTo>
                      <a:lnTo>
                        <a:pt x="724" y="107"/>
                      </a:lnTo>
                      <a:lnTo>
                        <a:pt x="746" y="107"/>
                      </a:lnTo>
                      <a:lnTo>
                        <a:pt x="750" y="103"/>
                      </a:lnTo>
                      <a:lnTo>
                        <a:pt x="719" y="89"/>
                      </a:lnTo>
                      <a:lnTo>
                        <a:pt x="728" y="85"/>
                      </a:lnTo>
                      <a:lnTo>
                        <a:pt x="710" y="67"/>
                      </a:lnTo>
                      <a:lnTo>
                        <a:pt x="701" y="76"/>
                      </a:lnTo>
                      <a:lnTo>
                        <a:pt x="697" y="76"/>
                      </a:lnTo>
                      <a:close/>
                      <a:moveTo>
                        <a:pt x="777" y="670"/>
                      </a:moveTo>
                      <a:lnTo>
                        <a:pt x="800" y="666"/>
                      </a:lnTo>
                      <a:lnTo>
                        <a:pt x="804" y="688"/>
                      </a:lnTo>
                      <a:lnTo>
                        <a:pt x="817" y="675"/>
                      </a:lnTo>
                      <a:lnTo>
                        <a:pt x="822" y="666"/>
                      </a:lnTo>
                      <a:lnTo>
                        <a:pt x="831" y="652"/>
                      </a:lnTo>
                      <a:lnTo>
                        <a:pt x="849" y="657"/>
                      </a:lnTo>
                      <a:lnTo>
                        <a:pt x="844" y="666"/>
                      </a:lnTo>
                      <a:lnTo>
                        <a:pt x="867" y="670"/>
                      </a:lnTo>
                      <a:lnTo>
                        <a:pt x="876" y="661"/>
                      </a:lnTo>
                      <a:lnTo>
                        <a:pt x="867" y="652"/>
                      </a:lnTo>
                      <a:lnTo>
                        <a:pt x="853" y="652"/>
                      </a:lnTo>
                      <a:lnTo>
                        <a:pt x="853" y="639"/>
                      </a:lnTo>
                      <a:lnTo>
                        <a:pt x="822" y="612"/>
                      </a:lnTo>
                      <a:lnTo>
                        <a:pt x="817" y="608"/>
                      </a:lnTo>
                      <a:lnTo>
                        <a:pt x="813" y="617"/>
                      </a:lnTo>
                      <a:lnTo>
                        <a:pt x="804" y="599"/>
                      </a:lnTo>
                      <a:lnTo>
                        <a:pt x="800" y="594"/>
                      </a:lnTo>
                      <a:lnTo>
                        <a:pt x="791" y="612"/>
                      </a:lnTo>
                      <a:lnTo>
                        <a:pt x="786" y="634"/>
                      </a:lnTo>
                      <a:lnTo>
                        <a:pt x="791" y="657"/>
                      </a:lnTo>
                      <a:lnTo>
                        <a:pt x="777" y="657"/>
                      </a:lnTo>
                      <a:lnTo>
                        <a:pt x="777" y="670"/>
                      </a:lnTo>
                      <a:close/>
                      <a:moveTo>
                        <a:pt x="791" y="0"/>
                      </a:moveTo>
                      <a:lnTo>
                        <a:pt x="800" y="13"/>
                      </a:lnTo>
                      <a:lnTo>
                        <a:pt x="809" y="18"/>
                      </a:lnTo>
                      <a:lnTo>
                        <a:pt x="826" y="18"/>
                      </a:lnTo>
                      <a:lnTo>
                        <a:pt x="831" y="31"/>
                      </a:lnTo>
                      <a:lnTo>
                        <a:pt x="791" y="22"/>
                      </a:lnTo>
                      <a:lnTo>
                        <a:pt x="782" y="4"/>
                      </a:lnTo>
                      <a:lnTo>
                        <a:pt x="768" y="0"/>
                      </a:lnTo>
                      <a:lnTo>
                        <a:pt x="755" y="9"/>
                      </a:lnTo>
                      <a:lnTo>
                        <a:pt x="768" y="31"/>
                      </a:lnTo>
                      <a:lnTo>
                        <a:pt x="777" y="31"/>
                      </a:lnTo>
                      <a:lnTo>
                        <a:pt x="777" y="40"/>
                      </a:lnTo>
                      <a:lnTo>
                        <a:pt x="759" y="45"/>
                      </a:lnTo>
                      <a:lnTo>
                        <a:pt x="746" y="62"/>
                      </a:lnTo>
                      <a:lnTo>
                        <a:pt x="742" y="80"/>
                      </a:lnTo>
                      <a:lnTo>
                        <a:pt x="759" y="89"/>
                      </a:lnTo>
                      <a:lnTo>
                        <a:pt x="782" y="98"/>
                      </a:lnTo>
                      <a:lnTo>
                        <a:pt x="809" y="98"/>
                      </a:lnTo>
                      <a:lnTo>
                        <a:pt x="809" y="89"/>
                      </a:lnTo>
                      <a:lnTo>
                        <a:pt x="817" y="85"/>
                      </a:lnTo>
                      <a:lnTo>
                        <a:pt x="822" y="76"/>
                      </a:lnTo>
                      <a:lnTo>
                        <a:pt x="831" y="94"/>
                      </a:lnTo>
                      <a:lnTo>
                        <a:pt x="858" y="85"/>
                      </a:lnTo>
                      <a:lnTo>
                        <a:pt x="867" y="94"/>
                      </a:lnTo>
                      <a:lnTo>
                        <a:pt x="862" y="107"/>
                      </a:lnTo>
                      <a:lnTo>
                        <a:pt x="867" y="112"/>
                      </a:lnTo>
                      <a:lnTo>
                        <a:pt x="893" y="89"/>
                      </a:lnTo>
                      <a:lnTo>
                        <a:pt x="907" y="71"/>
                      </a:lnTo>
                      <a:lnTo>
                        <a:pt x="907" y="58"/>
                      </a:lnTo>
                      <a:lnTo>
                        <a:pt x="889" y="58"/>
                      </a:lnTo>
                      <a:lnTo>
                        <a:pt x="889" y="40"/>
                      </a:lnTo>
                      <a:lnTo>
                        <a:pt x="867" y="36"/>
                      </a:lnTo>
                      <a:lnTo>
                        <a:pt x="853" y="45"/>
                      </a:lnTo>
                      <a:lnTo>
                        <a:pt x="849" y="40"/>
                      </a:lnTo>
                      <a:lnTo>
                        <a:pt x="858" y="36"/>
                      </a:lnTo>
                      <a:lnTo>
                        <a:pt x="849" y="22"/>
                      </a:lnTo>
                      <a:lnTo>
                        <a:pt x="858" y="18"/>
                      </a:lnTo>
                      <a:lnTo>
                        <a:pt x="871" y="31"/>
                      </a:lnTo>
                      <a:lnTo>
                        <a:pt x="902" y="31"/>
                      </a:lnTo>
                      <a:lnTo>
                        <a:pt x="911" y="18"/>
                      </a:lnTo>
                      <a:lnTo>
                        <a:pt x="907" y="18"/>
                      </a:lnTo>
                      <a:lnTo>
                        <a:pt x="911" y="4"/>
                      </a:lnTo>
                      <a:lnTo>
                        <a:pt x="925" y="0"/>
                      </a:lnTo>
                      <a:lnTo>
                        <a:pt x="925" y="0"/>
                      </a:lnTo>
                      <a:lnTo>
                        <a:pt x="791" y="0"/>
                      </a:lnTo>
                      <a:close/>
                      <a:moveTo>
                        <a:pt x="831" y="693"/>
                      </a:moveTo>
                      <a:lnTo>
                        <a:pt x="822" y="706"/>
                      </a:lnTo>
                      <a:lnTo>
                        <a:pt x="826" y="715"/>
                      </a:lnTo>
                      <a:lnTo>
                        <a:pt x="835" y="715"/>
                      </a:lnTo>
                      <a:lnTo>
                        <a:pt x="849" y="697"/>
                      </a:lnTo>
                      <a:lnTo>
                        <a:pt x="849" y="688"/>
                      </a:lnTo>
                      <a:lnTo>
                        <a:pt x="844" y="688"/>
                      </a:lnTo>
                      <a:lnTo>
                        <a:pt x="840" y="693"/>
                      </a:lnTo>
                      <a:lnTo>
                        <a:pt x="831" y="693"/>
                      </a:lnTo>
                      <a:close/>
                      <a:moveTo>
                        <a:pt x="831" y="1122"/>
                      </a:moveTo>
                      <a:lnTo>
                        <a:pt x="849" y="1131"/>
                      </a:lnTo>
                      <a:lnTo>
                        <a:pt x="853" y="1122"/>
                      </a:lnTo>
                      <a:lnTo>
                        <a:pt x="831" y="1122"/>
                      </a:lnTo>
                      <a:close/>
                      <a:moveTo>
                        <a:pt x="871" y="438"/>
                      </a:moveTo>
                      <a:lnTo>
                        <a:pt x="880" y="451"/>
                      </a:lnTo>
                      <a:lnTo>
                        <a:pt x="889" y="442"/>
                      </a:lnTo>
                      <a:lnTo>
                        <a:pt x="889" y="433"/>
                      </a:lnTo>
                      <a:lnTo>
                        <a:pt x="902" y="429"/>
                      </a:lnTo>
                      <a:lnTo>
                        <a:pt x="898" y="411"/>
                      </a:lnTo>
                      <a:lnTo>
                        <a:pt x="889" y="402"/>
                      </a:lnTo>
                      <a:lnTo>
                        <a:pt x="893" y="398"/>
                      </a:lnTo>
                      <a:lnTo>
                        <a:pt x="907" y="416"/>
                      </a:lnTo>
                      <a:lnTo>
                        <a:pt x="916" y="416"/>
                      </a:lnTo>
                      <a:lnTo>
                        <a:pt x="916" y="438"/>
                      </a:lnTo>
                      <a:lnTo>
                        <a:pt x="929" y="438"/>
                      </a:lnTo>
                      <a:lnTo>
                        <a:pt x="920" y="447"/>
                      </a:lnTo>
                      <a:lnTo>
                        <a:pt x="943" y="460"/>
                      </a:lnTo>
                      <a:lnTo>
                        <a:pt x="929" y="469"/>
                      </a:lnTo>
                      <a:lnTo>
                        <a:pt x="929" y="483"/>
                      </a:lnTo>
                      <a:lnTo>
                        <a:pt x="947" y="465"/>
                      </a:lnTo>
                      <a:lnTo>
                        <a:pt x="965" y="487"/>
                      </a:lnTo>
                      <a:lnTo>
                        <a:pt x="969" y="500"/>
                      </a:lnTo>
                      <a:lnTo>
                        <a:pt x="983" y="500"/>
                      </a:lnTo>
                      <a:lnTo>
                        <a:pt x="992" y="527"/>
                      </a:lnTo>
                      <a:lnTo>
                        <a:pt x="1005" y="527"/>
                      </a:lnTo>
                      <a:lnTo>
                        <a:pt x="992" y="532"/>
                      </a:lnTo>
                      <a:lnTo>
                        <a:pt x="983" y="559"/>
                      </a:lnTo>
                      <a:lnTo>
                        <a:pt x="1005" y="559"/>
                      </a:lnTo>
                      <a:lnTo>
                        <a:pt x="1010" y="541"/>
                      </a:lnTo>
                      <a:lnTo>
                        <a:pt x="1036" y="572"/>
                      </a:lnTo>
                      <a:lnTo>
                        <a:pt x="1010" y="585"/>
                      </a:lnTo>
                      <a:lnTo>
                        <a:pt x="1001" y="567"/>
                      </a:lnTo>
                      <a:lnTo>
                        <a:pt x="978" y="563"/>
                      </a:lnTo>
                      <a:lnTo>
                        <a:pt x="960" y="585"/>
                      </a:lnTo>
                      <a:lnTo>
                        <a:pt x="974" y="594"/>
                      </a:lnTo>
                      <a:lnTo>
                        <a:pt x="974" y="612"/>
                      </a:lnTo>
                      <a:lnTo>
                        <a:pt x="965" y="608"/>
                      </a:lnTo>
                      <a:lnTo>
                        <a:pt x="934" y="612"/>
                      </a:lnTo>
                      <a:lnTo>
                        <a:pt x="916" y="603"/>
                      </a:lnTo>
                      <a:lnTo>
                        <a:pt x="902" y="626"/>
                      </a:lnTo>
                      <a:lnTo>
                        <a:pt x="902" y="639"/>
                      </a:lnTo>
                      <a:lnTo>
                        <a:pt x="911" y="648"/>
                      </a:lnTo>
                      <a:lnTo>
                        <a:pt x="925" y="648"/>
                      </a:lnTo>
                      <a:lnTo>
                        <a:pt x="929" y="643"/>
                      </a:lnTo>
                      <a:lnTo>
                        <a:pt x="965" y="643"/>
                      </a:lnTo>
                      <a:lnTo>
                        <a:pt x="1001" y="666"/>
                      </a:lnTo>
                      <a:lnTo>
                        <a:pt x="992" y="675"/>
                      </a:lnTo>
                      <a:lnTo>
                        <a:pt x="996" y="688"/>
                      </a:lnTo>
                      <a:lnTo>
                        <a:pt x="1010" y="688"/>
                      </a:lnTo>
                      <a:lnTo>
                        <a:pt x="1014" y="697"/>
                      </a:lnTo>
                      <a:lnTo>
                        <a:pt x="1005" y="693"/>
                      </a:lnTo>
                      <a:lnTo>
                        <a:pt x="1010" y="706"/>
                      </a:lnTo>
                      <a:lnTo>
                        <a:pt x="1018" y="706"/>
                      </a:lnTo>
                      <a:lnTo>
                        <a:pt x="1023" y="697"/>
                      </a:lnTo>
                      <a:lnTo>
                        <a:pt x="1081" y="724"/>
                      </a:lnTo>
                      <a:lnTo>
                        <a:pt x="1081" y="710"/>
                      </a:lnTo>
                      <a:lnTo>
                        <a:pt x="1041" y="666"/>
                      </a:lnTo>
                      <a:lnTo>
                        <a:pt x="1041" y="657"/>
                      </a:lnTo>
                      <a:lnTo>
                        <a:pt x="1094" y="693"/>
                      </a:lnTo>
                      <a:lnTo>
                        <a:pt x="1103" y="661"/>
                      </a:lnTo>
                      <a:lnTo>
                        <a:pt x="1094" y="634"/>
                      </a:lnTo>
                      <a:lnTo>
                        <a:pt x="1072" y="626"/>
                      </a:lnTo>
                      <a:lnTo>
                        <a:pt x="1050" y="590"/>
                      </a:lnTo>
                      <a:lnTo>
                        <a:pt x="1063" y="590"/>
                      </a:lnTo>
                      <a:lnTo>
                        <a:pt x="1063" y="585"/>
                      </a:lnTo>
                      <a:lnTo>
                        <a:pt x="1063" y="581"/>
                      </a:lnTo>
                      <a:lnTo>
                        <a:pt x="1072" y="576"/>
                      </a:lnTo>
                      <a:lnTo>
                        <a:pt x="1103" y="621"/>
                      </a:lnTo>
                      <a:lnTo>
                        <a:pt x="1117" y="626"/>
                      </a:lnTo>
                      <a:lnTo>
                        <a:pt x="1117" y="599"/>
                      </a:lnTo>
                      <a:lnTo>
                        <a:pt x="1135" y="603"/>
                      </a:lnTo>
                      <a:lnTo>
                        <a:pt x="1139" y="585"/>
                      </a:lnTo>
                      <a:lnTo>
                        <a:pt x="1152" y="567"/>
                      </a:lnTo>
                      <a:lnTo>
                        <a:pt x="1139" y="545"/>
                      </a:lnTo>
                      <a:lnTo>
                        <a:pt x="1121" y="541"/>
                      </a:lnTo>
                      <a:lnTo>
                        <a:pt x="1121" y="532"/>
                      </a:lnTo>
                      <a:lnTo>
                        <a:pt x="1094" y="505"/>
                      </a:lnTo>
                      <a:lnTo>
                        <a:pt x="1068" y="500"/>
                      </a:lnTo>
                      <a:lnTo>
                        <a:pt x="1068" y="487"/>
                      </a:lnTo>
                      <a:lnTo>
                        <a:pt x="1054" y="487"/>
                      </a:lnTo>
                      <a:lnTo>
                        <a:pt x="1054" y="456"/>
                      </a:lnTo>
                      <a:lnTo>
                        <a:pt x="1068" y="460"/>
                      </a:lnTo>
                      <a:lnTo>
                        <a:pt x="1077" y="451"/>
                      </a:lnTo>
                      <a:lnTo>
                        <a:pt x="1054" y="438"/>
                      </a:lnTo>
                      <a:lnTo>
                        <a:pt x="1068" y="433"/>
                      </a:lnTo>
                      <a:lnTo>
                        <a:pt x="1054" y="411"/>
                      </a:lnTo>
                      <a:lnTo>
                        <a:pt x="1041" y="420"/>
                      </a:lnTo>
                      <a:lnTo>
                        <a:pt x="1050" y="407"/>
                      </a:lnTo>
                      <a:lnTo>
                        <a:pt x="1023" y="398"/>
                      </a:lnTo>
                      <a:lnTo>
                        <a:pt x="1005" y="407"/>
                      </a:lnTo>
                      <a:lnTo>
                        <a:pt x="1014" y="389"/>
                      </a:lnTo>
                      <a:lnTo>
                        <a:pt x="1014" y="375"/>
                      </a:lnTo>
                      <a:lnTo>
                        <a:pt x="1005" y="375"/>
                      </a:lnTo>
                      <a:lnTo>
                        <a:pt x="1010" y="362"/>
                      </a:lnTo>
                      <a:lnTo>
                        <a:pt x="1005" y="353"/>
                      </a:lnTo>
                      <a:lnTo>
                        <a:pt x="983" y="344"/>
                      </a:lnTo>
                      <a:lnTo>
                        <a:pt x="978" y="357"/>
                      </a:lnTo>
                      <a:lnTo>
                        <a:pt x="969" y="335"/>
                      </a:lnTo>
                      <a:lnTo>
                        <a:pt x="956" y="344"/>
                      </a:lnTo>
                      <a:lnTo>
                        <a:pt x="956" y="335"/>
                      </a:lnTo>
                      <a:lnTo>
                        <a:pt x="965" y="326"/>
                      </a:lnTo>
                      <a:lnTo>
                        <a:pt x="960" y="317"/>
                      </a:lnTo>
                      <a:lnTo>
                        <a:pt x="951" y="317"/>
                      </a:lnTo>
                      <a:lnTo>
                        <a:pt x="947" y="313"/>
                      </a:lnTo>
                      <a:lnTo>
                        <a:pt x="951" y="308"/>
                      </a:lnTo>
                      <a:lnTo>
                        <a:pt x="951" y="295"/>
                      </a:lnTo>
                      <a:lnTo>
                        <a:pt x="920" y="281"/>
                      </a:lnTo>
                      <a:lnTo>
                        <a:pt x="907" y="295"/>
                      </a:lnTo>
                      <a:lnTo>
                        <a:pt x="911" y="304"/>
                      </a:lnTo>
                      <a:lnTo>
                        <a:pt x="902" y="304"/>
                      </a:lnTo>
                      <a:lnTo>
                        <a:pt x="902" y="313"/>
                      </a:lnTo>
                      <a:lnTo>
                        <a:pt x="889" y="304"/>
                      </a:lnTo>
                      <a:lnTo>
                        <a:pt x="884" y="308"/>
                      </a:lnTo>
                      <a:lnTo>
                        <a:pt x="880" y="299"/>
                      </a:lnTo>
                      <a:lnTo>
                        <a:pt x="871" y="326"/>
                      </a:lnTo>
                      <a:lnTo>
                        <a:pt x="871" y="290"/>
                      </a:lnTo>
                      <a:lnTo>
                        <a:pt x="867" y="268"/>
                      </a:lnTo>
                      <a:lnTo>
                        <a:pt x="862" y="264"/>
                      </a:lnTo>
                      <a:lnTo>
                        <a:pt x="858" y="241"/>
                      </a:lnTo>
                      <a:lnTo>
                        <a:pt x="840" y="241"/>
                      </a:lnTo>
                      <a:lnTo>
                        <a:pt x="809" y="259"/>
                      </a:lnTo>
                      <a:lnTo>
                        <a:pt x="813" y="268"/>
                      </a:lnTo>
                      <a:lnTo>
                        <a:pt x="804" y="273"/>
                      </a:lnTo>
                      <a:lnTo>
                        <a:pt x="804" y="304"/>
                      </a:lnTo>
                      <a:lnTo>
                        <a:pt x="809" y="308"/>
                      </a:lnTo>
                      <a:lnTo>
                        <a:pt x="804" y="331"/>
                      </a:lnTo>
                      <a:lnTo>
                        <a:pt x="804" y="344"/>
                      </a:lnTo>
                      <a:lnTo>
                        <a:pt x="817" y="344"/>
                      </a:lnTo>
                      <a:lnTo>
                        <a:pt x="813" y="371"/>
                      </a:lnTo>
                      <a:lnTo>
                        <a:pt x="795" y="375"/>
                      </a:lnTo>
                      <a:lnTo>
                        <a:pt x="795" y="371"/>
                      </a:lnTo>
                      <a:lnTo>
                        <a:pt x="809" y="362"/>
                      </a:lnTo>
                      <a:lnTo>
                        <a:pt x="804" y="357"/>
                      </a:lnTo>
                      <a:lnTo>
                        <a:pt x="791" y="322"/>
                      </a:lnTo>
                      <a:lnTo>
                        <a:pt x="795" y="304"/>
                      </a:lnTo>
                      <a:lnTo>
                        <a:pt x="791" y="290"/>
                      </a:lnTo>
                      <a:lnTo>
                        <a:pt x="809" y="241"/>
                      </a:lnTo>
                      <a:lnTo>
                        <a:pt x="791" y="237"/>
                      </a:lnTo>
                      <a:lnTo>
                        <a:pt x="755" y="264"/>
                      </a:lnTo>
                      <a:lnTo>
                        <a:pt x="737" y="322"/>
                      </a:lnTo>
                      <a:lnTo>
                        <a:pt x="737" y="366"/>
                      </a:lnTo>
                      <a:lnTo>
                        <a:pt x="768" y="371"/>
                      </a:lnTo>
                      <a:lnTo>
                        <a:pt x="777" y="384"/>
                      </a:lnTo>
                      <a:lnTo>
                        <a:pt x="759" y="380"/>
                      </a:lnTo>
                      <a:lnTo>
                        <a:pt x="742" y="380"/>
                      </a:lnTo>
                      <a:lnTo>
                        <a:pt x="759" y="416"/>
                      </a:lnTo>
                      <a:lnTo>
                        <a:pt x="773" y="420"/>
                      </a:lnTo>
                      <a:lnTo>
                        <a:pt x="786" y="411"/>
                      </a:lnTo>
                      <a:lnTo>
                        <a:pt x="800" y="429"/>
                      </a:lnTo>
                      <a:lnTo>
                        <a:pt x="831" y="429"/>
                      </a:lnTo>
                      <a:lnTo>
                        <a:pt x="853" y="438"/>
                      </a:lnTo>
                      <a:lnTo>
                        <a:pt x="858" y="429"/>
                      </a:lnTo>
                      <a:lnTo>
                        <a:pt x="871" y="438"/>
                      </a:lnTo>
                      <a:close/>
                      <a:moveTo>
                        <a:pt x="880" y="702"/>
                      </a:moveTo>
                      <a:lnTo>
                        <a:pt x="871" y="715"/>
                      </a:lnTo>
                      <a:lnTo>
                        <a:pt x="871" y="724"/>
                      </a:lnTo>
                      <a:lnTo>
                        <a:pt x="880" y="728"/>
                      </a:lnTo>
                      <a:lnTo>
                        <a:pt x="884" y="733"/>
                      </a:lnTo>
                      <a:lnTo>
                        <a:pt x="889" y="706"/>
                      </a:lnTo>
                      <a:lnTo>
                        <a:pt x="884" y="702"/>
                      </a:lnTo>
                      <a:lnTo>
                        <a:pt x="880" y="702"/>
                      </a:lnTo>
                      <a:close/>
                      <a:moveTo>
                        <a:pt x="934" y="496"/>
                      </a:moveTo>
                      <a:lnTo>
                        <a:pt x="920" y="514"/>
                      </a:lnTo>
                      <a:lnTo>
                        <a:pt x="920" y="536"/>
                      </a:lnTo>
                      <a:lnTo>
                        <a:pt x="929" y="536"/>
                      </a:lnTo>
                      <a:lnTo>
                        <a:pt x="943" y="536"/>
                      </a:lnTo>
                      <a:lnTo>
                        <a:pt x="951" y="523"/>
                      </a:lnTo>
                      <a:lnTo>
                        <a:pt x="947" y="505"/>
                      </a:lnTo>
                      <a:lnTo>
                        <a:pt x="951" y="496"/>
                      </a:lnTo>
                      <a:lnTo>
                        <a:pt x="934" y="496"/>
                      </a:lnTo>
                      <a:close/>
                      <a:moveTo>
                        <a:pt x="956" y="1148"/>
                      </a:moveTo>
                      <a:lnTo>
                        <a:pt x="1001" y="1144"/>
                      </a:lnTo>
                      <a:lnTo>
                        <a:pt x="1014" y="1122"/>
                      </a:lnTo>
                      <a:lnTo>
                        <a:pt x="1032" y="1095"/>
                      </a:lnTo>
                      <a:lnTo>
                        <a:pt x="1036" y="1099"/>
                      </a:lnTo>
                      <a:lnTo>
                        <a:pt x="1045" y="1095"/>
                      </a:lnTo>
                      <a:lnTo>
                        <a:pt x="1054" y="1135"/>
                      </a:lnTo>
                      <a:lnTo>
                        <a:pt x="1063" y="1139"/>
                      </a:lnTo>
                      <a:lnTo>
                        <a:pt x="1077" y="1139"/>
                      </a:lnTo>
                      <a:lnTo>
                        <a:pt x="1094" y="1135"/>
                      </a:lnTo>
                      <a:lnTo>
                        <a:pt x="1108" y="1139"/>
                      </a:lnTo>
                      <a:lnTo>
                        <a:pt x="1099" y="1139"/>
                      </a:lnTo>
                      <a:lnTo>
                        <a:pt x="1081" y="1153"/>
                      </a:lnTo>
                      <a:lnTo>
                        <a:pt x="1077" y="1166"/>
                      </a:lnTo>
                      <a:lnTo>
                        <a:pt x="1090" y="1175"/>
                      </a:lnTo>
                      <a:lnTo>
                        <a:pt x="1103" y="1153"/>
                      </a:lnTo>
                      <a:lnTo>
                        <a:pt x="1117" y="1157"/>
                      </a:lnTo>
                      <a:lnTo>
                        <a:pt x="1152" y="1139"/>
                      </a:lnTo>
                      <a:lnTo>
                        <a:pt x="1152" y="1131"/>
                      </a:lnTo>
                      <a:lnTo>
                        <a:pt x="1157" y="1135"/>
                      </a:lnTo>
                      <a:lnTo>
                        <a:pt x="1166" y="1131"/>
                      </a:lnTo>
                      <a:lnTo>
                        <a:pt x="1175" y="1122"/>
                      </a:lnTo>
                      <a:lnTo>
                        <a:pt x="1170" y="1117"/>
                      </a:lnTo>
                      <a:lnTo>
                        <a:pt x="1166" y="1117"/>
                      </a:lnTo>
                      <a:lnTo>
                        <a:pt x="1161" y="1122"/>
                      </a:lnTo>
                      <a:lnTo>
                        <a:pt x="1166" y="1099"/>
                      </a:lnTo>
                      <a:lnTo>
                        <a:pt x="1157" y="1099"/>
                      </a:lnTo>
                      <a:lnTo>
                        <a:pt x="1148" y="1122"/>
                      </a:lnTo>
                      <a:lnTo>
                        <a:pt x="1152" y="1131"/>
                      </a:lnTo>
                      <a:lnTo>
                        <a:pt x="1139" y="1126"/>
                      </a:lnTo>
                      <a:lnTo>
                        <a:pt x="1126" y="1131"/>
                      </a:lnTo>
                      <a:lnTo>
                        <a:pt x="1108" y="1122"/>
                      </a:lnTo>
                      <a:lnTo>
                        <a:pt x="1094" y="1104"/>
                      </a:lnTo>
                      <a:lnTo>
                        <a:pt x="1099" y="1090"/>
                      </a:lnTo>
                      <a:lnTo>
                        <a:pt x="1094" y="1086"/>
                      </a:lnTo>
                      <a:lnTo>
                        <a:pt x="1085" y="1095"/>
                      </a:lnTo>
                      <a:lnTo>
                        <a:pt x="1077" y="1081"/>
                      </a:lnTo>
                      <a:lnTo>
                        <a:pt x="1077" y="1077"/>
                      </a:lnTo>
                      <a:lnTo>
                        <a:pt x="1090" y="1081"/>
                      </a:lnTo>
                      <a:lnTo>
                        <a:pt x="1108" y="1072"/>
                      </a:lnTo>
                      <a:lnTo>
                        <a:pt x="1103" y="1059"/>
                      </a:lnTo>
                      <a:lnTo>
                        <a:pt x="1094" y="1055"/>
                      </a:lnTo>
                      <a:lnTo>
                        <a:pt x="1085" y="1050"/>
                      </a:lnTo>
                      <a:lnTo>
                        <a:pt x="1077" y="1055"/>
                      </a:lnTo>
                      <a:lnTo>
                        <a:pt x="1045" y="1068"/>
                      </a:lnTo>
                      <a:lnTo>
                        <a:pt x="1023" y="1095"/>
                      </a:lnTo>
                      <a:lnTo>
                        <a:pt x="1014" y="1108"/>
                      </a:lnTo>
                      <a:lnTo>
                        <a:pt x="996" y="1113"/>
                      </a:lnTo>
                      <a:lnTo>
                        <a:pt x="956" y="1148"/>
                      </a:lnTo>
                      <a:close/>
                      <a:moveTo>
                        <a:pt x="1085" y="733"/>
                      </a:moveTo>
                      <a:lnTo>
                        <a:pt x="1099" y="746"/>
                      </a:lnTo>
                      <a:lnTo>
                        <a:pt x="1103" y="733"/>
                      </a:lnTo>
                      <a:lnTo>
                        <a:pt x="1099" y="728"/>
                      </a:lnTo>
                      <a:lnTo>
                        <a:pt x="1085" y="733"/>
                      </a:lnTo>
                      <a:close/>
                      <a:moveTo>
                        <a:pt x="1103" y="1041"/>
                      </a:moveTo>
                      <a:lnTo>
                        <a:pt x="1117" y="1050"/>
                      </a:lnTo>
                      <a:lnTo>
                        <a:pt x="1117" y="1055"/>
                      </a:lnTo>
                      <a:lnTo>
                        <a:pt x="1144" y="1059"/>
                      </a:lnTo>
                      <a:lnTo>
                        <a:pt x="1144" y="1050"/>
                      </a:lnTo>
                      <a:lnTo>
                        <a:pt x="1130" y="1046"/>
                      </a:lnTo>
                      <a:lnTo>
                        <a:pt x="1108" y="1041"/>
                      </a:lnTo>
                      <a:lnTo>
                        <a:pt x="1103" y="1041"/>
                      </a:lnTo>
                      <a:close/>
                      <a:moveTo>
                        <a:pt x="1112" y="1099"/>
                      </a:moveTo>
                      <a:lnTo>
                        <a:pt x="1103" y="1108"/>
                      </a:lnTo>
                      <a:lnTo>
                        <a:pt x="1117" y="1122"/>
                      </a:lnTo>
                      <a:lnTo>
                        <a:pt x="1130" y="1122"/>
                      </a:lnTo>
                      <a:lnTo>
                        <a:pt x="1139" y="1113"/>
                      </a:lnTo>
                      <a:lnTo>
                        <a:pt x="1117" y="1113"/>
                      </a:lnTo>
                      <a:lnTo>
                        <a:pt x="1112" y="1099"/>
                      </a:lnTo>
                      <a:close/>
                      <a:moveTo>
                        <a:pt x="1237" y="996"/>
                      </a:moveTo>
                      <a:lnTo>
                        <a:pt x="1228" y="996"/>
                      </a:lnTo>
                      <a:lnTo>
                        <a:pt x="1215" y="1005"/>
                      </a:lnTo>
                      <a:lnTo>
                        <a:pt x="1211" y="1010"/>
                      </a:lnTo>
                      <a:lnTo>
                        <a:pt x="1184" y="1068"/>
                      </a:lnTo>
                      <a:lnTo>
                        <a:pt x="1188" y="1072"/>
                      </a:lnTo>
                      <a:lnTo>
                        <a:pt x="1175" y="1081"/>
                      </a:lnTo>
                      <a:lnTo>
                        <a:pt x="1179" y="1090"/>
                      </a:lnTo>
                      <a:lnTo>
                        <a:pt x="1215" y="1090"/>
                      </a:lnTo>
                      <a:lnTo>
                        <a:pt x="1224" y="1086"/>
                      </a:lnTo>
                      <a:lnTo>
                        <a:pt x="1228" y="1090"/>
                      </a:lnTo>
                      <a:lnTo>
                        <a:pt x="1233" y="1086"/>
                      </a:lnTo>
                      <a:lnTo>
                        <a:pt x="1237" y="1086"/>
                      </a:lnTo>
                      <a:lnTo>
                        <a:pt x="1224" y="1104"/>
                      </a:lnTo>
                      <a:lnTo>
                        <a:pt x="1233" y="1104"/>
                      </a:lnTo>
                      <a:lnTo>
                        <a:pt x="1237" y="1095"/>
                      </a:lnTo>
                      <a:lnTo>
                        <a:pt x="1251" y="1081"/>
                      </a:lnTo>
                      <a:lnTo>
                        <a:pt x="1246" y="1099"/>
                      </a:lnTo>
                      <a:lnTo>
                        <a:pt x="1246" y="1108"/>
                      </a:lnTo>
                      <a:lnTo>
                        <a:pt x="1255" y="1095"/>
                      </a:lnTo>
                      <a:lnTo>
                        <a:pt x="1260" y="1108"/>
                      </a:lnTo>
                      <a:lnTo>
                        <a:pt x="1269" y="1104"/>
                      </a:lnTo>
                      <a:lnTo>
                        <a:pt x="1273" y="1095"/>
                      </a:lnTo>
                      <a:lnTo>
                        <a:pt x="1273" y="1086"/>
                      </a:lnTo>
                      <a:lnTo>
                        <a:pt x="1264" y="1095"/>
                      </a:lnTo>
                      <a:lnTo>
                        <a:pt x="1269" y="1077"/>
                      </a:lnTo>
                      <a:lnTo>
                        <a:pt x="1255" y="1086"/>
                      </a:lnTo>
                      <a:lnTo>
                        <a:pt x="1260" y="1077"/>
                      </a:lnTo>
                      <a:lnTo>
                        <a:pt x="1269" y="1072"/>
                      </a:lnTo>
                      <a:lnTo>
                        <a:pt x="1269" y="1063"/>
                      </a:lnTo>
                      <a:lnTo>
                        <a:pt x="1255" y="1072"/>
                      </a:lnTo>
                      <a:lnTo>
                        <a:pt x="1255" y="1063"/>
                      </a:lnTo>
                      <a:lnTo>
                        <a:pt x="1260" y="1055"/>
                      </a:lnTo>
                      <a:lnTo>
                        <a:pt x="1251" y="1046"/>
                      </a:lnTo>
                      <a:lnTo>
                        <a:pt x="1237" y="1055"/>
                      </a:lnTo>
                      <a:lnTo>
                        <a:pt x="1228" y="1055"/>
                      </a:lnTo>
                      <a:lnTo>
                        <a:pt x="1233" y="1037"/>
                      </a:lnTo>
                      <a:lnTo>
                        <a:pt x="1224" y="1032"/>
                      </a:lnTo>
                      <a:lnTo>
                        <a:pt x="1215" y="1050"/>
                      </a:lnTo>
                      <a:lnTo>
                        <a:pt x="1211" y="1046"/>
                      </a:lnTo>
                      <a:lnTo>
                        <a:pt x="1228" y="1019"/>
                      </a:lnTo>
                      <a:lnTo>
                        <a:pt x="1237" y="996"/>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38" name="Freeform 71">
                  <a:extLst>
                    <a:ext uri="{FF2B5EF4-FFF2-40B4-BE49-F238E27FC236}">
                      <a16:creationId xmlns:a16="http://schemas.microsoft.com/office/drawing/2014/main" id="{023B10FF-B66C-4A15-886D-6C9FA4E3D92D}"/>
                    </a:ext>
                  </a:extLst>
                </p:cNvPr>
                <p:cNvSpPr>
                  <a:spLocks noEditPoints="1"/>
                </p:cNvSpPr>
                <p:nvPr/>
              </p:nvSpPr>
              <p:spPr bwMode="gray">
                <a:xfrm>
                  <a:off x="1606" y="3043"/>
                  <a:ext cx="125" cy="724"/>
                </a:xfrm>
                <a:custGeom>
                  <a:avLst/>
                  <a:gdLst>
                    <a:gd name="T0" fmla="*/ 71 w 125"/>
                    <a:gd name="T1" fmla="*/ 80 h 724"/>
                    <a:gd name="T2" fmla="*/ 67 w 125"/>
                    <a:gd name="T3" fmla="*/ 125 h 724"/>
                    <a:gd name="T4" fmla="*/ 58 w 125"/>
                    <a:gd name="T5" fmla="*/ 197 h 724"/>
                    <a:gd name="T6" fmla="*/ 49 w 125"/>
                    <a:gd name="T7" fmla="*/ 250 h 724"/>
                    <a:gd name="T8" fmla="*/ 31 w 125"/>
                    <a:gd name="T9" fmla="*/ 375 h 724"/>
                    <a:gd name="T10" fmla="*/ 27 w 125"/>
                    <a:gd name="T11" fmla="*/ 407 h 724"/>
                    <a:gd name="T12" fmla="*/ 27 w 125"/>
                    <a:gd name="T13" fmla="*/ 438 h 724"/>
                    <a:gd name="T14" fmla="*/ 27 w 125"/>
                    <a:gd name="T15" fmla="*/ 465 h 724"/>
                    <a:gd name="T16" fmla="*/ 9 w 125"/>
                    <a:gd name="T17" fmla="*/ 500 h 724"/>
                    <a:gd name="T18" fmla="*/ 4 w 125"/>
                    <a:gd name="T19" fmla="*/ 518 h 724"/>
                    <a:gd name="T20" fmla="*/ 18 w 125"/>
                    <a:gd name="T21" fmla="*/ 527 h 724"/>
                    <a:gd name="T22" fmla="*/ 13 w 125"/>
                    <a:gd name="T23" fmla="*/ 599 h 724"/>
                    <a:gd name="T24" fmla="*/ 18 w 125"/>
                    <a:gd name="T25" fmla="*/ 626 h 724"/>
                    <a:gd name="T26" fmla="*/ 27 w 125"/>
                    <a:gd name="T27" fmla="*/ 652 h 724"/>
                    <a:gd name="T28" fmla="*/ 49 w 125"/>
                    <a:gd name="T29" fmla="*/ 666 h 724"/>
                    <a:gd name="T30" fmla="*/ 85 w 125"/>
                    <a:gd name="T31" fmla="*/ 643 h 724"/>
                    <a:gd name="T32" fmla="*/ 40 w 125"/>
                    <a:gd name="T33" fmla="*/ 621 h 724"/>
                    <a:gd name="T34" fmla="*/ 27 w 125"/>
                    <a:gd name="T35" fmla="*/ 576 h 724"/>
                    <a:gd name="T36" fmla="*/ 49 w 125"/>
                    <a:gd name="T37" fmla="*/ 509 h 724"/>
                    <a:gd name="T38" fmla="*/ 49 w 125"/>
                    <a:gd name="T39" fmla="*/ 474 h 724"/>
                    <a:gd name="T40" fmla="*/ 49 w 125"/>
                    <a:gd name="T41" fmla="*/ 465 h 724"/>
                    <a:gd name="T42" fmla="*/ 54 w 125"/>
                    <a:gd name="T43" fmla="*/ 416 h 724"/>
                    <a:gd name="T44" fmla="*/ 54 w 125"/>
                    <a:gd name="T45" fmla="*/ 371 h 724"/>
                    <a:gd name="T46" fmla="*/ 58 w 125"/>
                    <a:gd name="T47" fmla="*/ 317 h 724"/>
                    <a:gd name="T48" fmla="*/ 80 w 125"/>
                    <a:gd name="T49" fmla="*/ 268 h 724"/>
                    <a:gd name="T50" fmla="*/ 67 w 125"/>
                    <a:gd name="T51" fmla="*/ 223 h 724"/>
                    <a:gd name="T52" fmla="*/ 76 w 125"/>
                    <a:gd name="T53" fmla="*/ 188 h 724"/>
                    <a:gd name="T54" fmla="*/ 89 w 125"/>
                    <a:gd name="T55" fmla="*/ 138 h 724"/>
                    <a:gd name="T56" fmla="*/ 116 w 125"/>
                    <a:gd name="T57" fmla="*/ 80 h 724"/>
                    <a:gd name="T58" fmla="*/ 94 w 125"/>
                    <a:gd name="T59" fmla="*/ 22 h 724"/>
                    <a:gd name="T60" fmla="*/ 71 w 125"/>
                    <a:gd name="T61" fmla="*/ 9 h 724"/>
                    <a:gd name="T62" fmla="*/ 67 w 125"/>
                    <a:gd name="T63" fmla="*/ 675 h 724"/>
                    <a:gd name="T64" fmla="*/ 71 w 125"/>
                    <a:gd name="T65" fmla="*/ 675 h 724"/>
                    <a:gd name="T66" fmla="*/ 98 w 125"/>
                    <a:gd name="T67" fmla="*/ 643 h 724"/>
                    <a:gd name="T68" fmla="*/ 76 w 125"/>
                    <a:gd name="T69" fmla="*/ 666 h 724"/>
                    <a:gd name="T70" fmla="*/ 80 w 125"/>
                    <a:gd name="T71" fmla="*/ 679 h 724"/>
                    <a:gd name="T72" fmla="*/ 13 w 125"/>
                    <a:gd name="T73" fmla="*/ 648 h 724"/>
                    <a:gd name="T74" fmla="*/ 27 w 125"/>
                    <a:gd name="T75" fmla="*/ 670 h 724"/>
                    <a:gd name="T76" fmla="*/ 49 w 125"/>
                    <a:gd name="T77" fmla="*/ 679 h 724"/>
                    <a:gd name="T78" fmla="*/ 54 w 125"/>
                    <a:gd name="T79" fmla="*/ 697 h 724"/>
                    <a:gd name="T80" fmla="*/ 71 w 125"/>
                    <a:gd name="T81" fmla="*/ 702 h 724"/>
                    <a:gd name="T82" fmla="*/ 76 w 125"/>
                    <a:gd name="T83" fmla="*/ 702 h 724"/>
                    <a:gd name="T84" fmla="*/ 89 w 125"/>
                    <a:gd name="T85" fmla="*/ 724 h 724"/>
                    <a:gd name="T86" fmla="*/ 94 w 125"/>
                    <a:gd name="T87" fmla="*/ 724 h 724"/>
                    <a:gd name="T88" fmla="*/ 107 w 125"/>
                    <a:gd name="T89" fmla="*/ 715 h 724"/>
                    <a:gd name="T90" fmla="*/ 107 w 125"/>
                    <a:gd name="T91" fmla="*/ 710 h 724"/>
                    <a:gd name="T92" fmla="*/ 121 w 125"/>
                    <a:gd name="T93" fmla="*/ 706 h 724"/>
                    <a:gd name="T94" fmla="*/ 98 w 125"/>
                    <a:gd name="T95" fmla="*/ 702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5" h="724">
                      <a:moveTo>
                        <a:pt x="71" y="9"/>
                      </a:moveTo>
                      <a:lnTo>
                        <a:pt x="71" y="31"/>
                      </a:lnTo>
                      <a:lnTo>
                        <a:pt x="71" y="80"/>
                      </a:lnTo>
                      <a:lnTo>
                        <a:pt x="67" y="85"/>
                      </a:lnTo>
                      <a:lnTo>
                        <a:pt x="67" y="121"/>
                      </a:lnTo>
                      <a:lnTo>
                        <a:pt x="67" y="125"/>
                      </a:lnTo>
                      <a:lnTo>
                        <a:pt x="67" y="138"/>
                      </a:lnTo>
                      <a:lnTo>
                        <a:pt x="54" y="183"/>
                      </a:lnTo>
                      <a:lnTo>
                        <a:pt x="58" y="197"/>
                      </a:lnTo>
                      <a:lnTo>
                        <a:pt x="49" y="205"/>
                      </a:lnTo>
                      <a:lnTo>
                        <a:pt x="54" y="241"/>
                      </a:lnTo>
                      <a:lnTo>
                        <a:pt x="49" y="250"/>
                      </a:lnTo>
                      <a:lnTo>
                        <a:pt x="54" y="259"/>
                      </a:lnTo>
                      <a:lnTo>
                        <a:pt x="27" y="326"/>
                      </a:lnTo>
                      <a:lnTo>
                        <a:pt x="31" y="375"/>
                      </a:lnTo>
                      <a:lnTo>
                        <a:pt x="22" y="380"/>
                      </a:lnTo>
                      <a:lnTo>
                        <a:pt x="27" y="398"/>
                      </a:lnTo>
                      <a:lnTo>
                        <a:pt x="27" y="407"/>
                      </a:lnTo>
                      <a:lnTo>
                        <a:pt x="22" y="411"/>
                      </a:lnTo>
                      <a:lnTo>
                        <a:pt x="22" y="442"/>
                      </a:lnTo>
                      <a:lnTo>
                        <a:pt x="27" y="438"/>
                      </a:lnTo>
                      <a:lnTo>
                        <a:pt x="31" y="416"/>
                      </a:lnTo>
                      <a:lnTo>
                        <a:pt x="40" y="416"/>
                      </a:lnTo>
                      <a:lnTo>
                        <a:pt x="27" y="465"/>
                      </a:lnTo>
                      <a:lnTo>
                        <a:pt x="27" y="451"/>
                      </a:lnTo>
                      <a:lnTo>
                        <a:pt x="22" y="456"/>
                      </a:lnTo>
                      <a:lnTo>
                        <a:pt x="9" y="500"/>
                      </a:lnTo>
                      <a:lnTo>
                        <a:pt x="0" y="509"/>
                      </a:lnTo>
                      <a:lnTo>
                        <a:pt x="0" y="523"/>
                      </a:lnTo>
                      <a:lnTo>
                        <a:pt x="4" y="518"/>
                      </a:lnTo>
                      <a:lnTo>
                        <a:pt x="9" y="509"/>
                      </a:lnTo>
                      <a:lnTo>
                        <a:pt x="22" y="518"/>
                      </a:lnTo>
                      <a:lnTo>
                        <a:pt x="18" y="527"/>
                      </a:lnTo>
                      <a:lnTo>
                        <a:pt x="4" y="541"/>
                      </a:lnTo>
                      <a:lnTo>
                        <a:pt x="4" y="603"/>
                      </a:lnTo>
                      <a:lnTo>
                        <a:pt x="13" y="599"/>
                      </a:lnTo>
                      <a:lnTo>
                        <a:pt x="4" y="617"/>
                      </a:lnTo>
                      <a:lnTo>
                        <a:pt x="9" y="643"/>
                      </a:lnTo>
                      <a:lnTo>
                        <a:pt x="18" y="626"/>
                      </a:lnTo>
                      <a:lnTo>
                        <a:pt x="18" y="648"/>
                      </a:lnTo>
                      <a:lnTo>
                        <a:pt x="27" y="643"/>
                      </a:lnTo>
                      <a:lnTo>
                        <a:pt x="27" y="652"/>
                      </a:lnTo>
                      <a:lnTo>
                        <a:pt x="40" y="657"/>
                      </a:lnTo>
                      <a:lnTo>
                        <a:pt x="36" y="661"/>
                      </a:lnTo>
                      <a:lnTo>
                        <a:pt x="49" y="666"/>
                      </a:lnTo>
                      <a:lnTo>
                        <a:pt x="63" y="675"/>
                      </a:lnTo>
                      <a:lnTo>
                        <a:pt x="67" y="648"/>
                      </a:lnTo>
                      <a:lnTo>
                        <a:pt x="85" y="643"/>
                      </a:lnTo>
                      <a:lnTo>
                        <a:pt x="89" y="634"/>
                      </a:lnTo>
                      <a:lnTo>
                        <a:pt x="49" y="630"/>
                      </a:lnTo>
                      <a:lnTo>
                        <a:pt x="40" y="621"/>
                      </a:lnTo>
                      <a:lnTo>
                        <a:pt x="40" y="603"/>
                      </a:lnTo>
                      <a:lnTo>
                        <a:pt x="31" y="603"/>
                      </a:lnTo>
                      <a:lnTo>
                        <a:pt x="27" y="576"/>
                      </a:lnTo>
                      <a:lnTo>
                        <a:pt x="36" y="559"/>
                      </a:lnTo>
                      <a:lnTo>
                        <a:pt x="40" y="554"/>
                      </a:lnTo>
                      <a:lnTo>
                        <a:pt x="49" y="509"/>
                      </a:lnTo>
                      <a:lnTo>
                        <a:pt x="49" y="491"/>
                      </a:lnTo>
                      <a:lnTo>
                        <a:pt x="58" y="483"/>
                      </a:lnTo>
                      <a:lnTo>
                        <a:pt x="49" y="474"/>
                      </a:lnTo>
                      <a:lnTo>
                        <a:pt x="58" y="474"/>
                      </a:lnTo>
                      <a:lnTo>
                        <a:pt x="58" y="465"/>
                      </a:lnTo>
                      <a:lnTo>
                        <a:pt x="49" y="465"/>
                      </a:lnTo>
                      <a:lnTo>
                        <a:pt x="54" y="442"/>
                      </a:lnTo>
                      <a:lnTo>
                        <a:pt x="49" y="429"/>
                      </a:lnTo>
                      <a:lnTo>
                        <a:pt x="54" y="416"/>
                      </a:lnTo>
                      <a:lnTo>
                        <a:pt x="49" y="393"/>
                      </a:lnTo>
                      <a:lnTo>
                        <a:pt x="49" y="375"/>
                      </a:lnTo>
                      <a:lnTo>
                        <a:pt x="54" y="371"/>
                      </a:lnTo>
                      <a:lnTo>
                        <a:pt x="54" y="357"/>
                      </a:lnTo>
                      <a:lnTo>
                        <a:pt x="63" y="353"/>
                      </a:lnTo>
                      <a:lnTo>
                        <a:pt x="58" y="317"/>
                      </a:lnTo>
                      <a:lnTo>
                        <a:pt x="67" y="304"/>
                      </a:lnTo>
                      <a:lnTo>
                        <a:pt x="71" y="281"/>
                      </a:lnTo>
                      <a:lnTo>
                        <a:pt x="80" y="268"/>
                      </a:lnTo>
                      <a:lnTo>
                        <a:pt x="80" y="250"/>
                      </a:lnTo>
                      <a:lnTo>
                        <a:pt x="76" y="250"/>
                      </a:lnTo>
                      <a:lnTo>
                        <a:pt x="67" y="223"/>
                      </a:lnTo>
                      <a:lnTo>
                        <a:pt x="71" y="210"/>
                      </a:lnTo>
                      <a:lnTo>
                        <a:pt x="80" y="205"/>
                      </a:lnTo>
                      <a:lnTo>
                        <a:pt x="76" y="188"/>
                      </a:lnTo>
                      <a:lnTo>
                        <a:pt x="85" y="161"/>
                      </a:lnTo>
                      <a:lnTo>
                        <a:pt x="94" y="147"/>
                      </a:lnTo>
                      <a:lnTo>
                        <a:pt x="89" y="138"/>
                      </a:lnTo>
                      <a:lnTo>
                        <a:pt x="94" y="112"/>
                      </a:lnTo>
                      <a:lnTo>
                        <a:pt x="116" y="98"/>
                      </a:lnTo>
                      <a:lnTo>
                        <a:pt x="116" y="80"/>
                      </a:lnTo>
                      <a:lnTo>
                        <a:pt x="107" y="76"/>
                      </a:lnTo>
                      <a:lnTo>
                        <a:pt x="94" y="40"/>
                      </a:lnTo>
                      <a:lnTo>
                        <a:pt x="94" y="22"/>
                      </a:lnTo>
                      <a:lnTo>
                        <a:pt x="89" y="9"/>
                      </a:lnTo>
                      <a:lnTo>
                        <a:pt x="85" y="0"/>
                      </a:lnTo>
                      <a:lnTo>
                        <a:pt x="71" y="9"/>
                      </a:lnTo>
                      <a:close/>
                      <a:moveTo>
                        <a:pt x="71" y="666"/>
                      </a:moveTo>
                      <a:lnTo>
                        <a:pt x="71" y="670"/>
                      </a:lnTo>
                      <a:lnTo>
                        <a:pt x="67" y="675"/>
                      </a:lnTo>
                      <a:lnTo>
                        <a:pt x="67" y="679"/>
                      </a:lnTo>
                      <a:lnTo>
                        <a:pt x="71" y="679"/>
                      </a:lnTo>
                      <a:lnTo>
                        <a:pt x="71" y="675"/>
                      </a:lnTo>
                      <a:lnTo>
                        <a:pt x="76" y="675"/>
                      </a:lnTo>
                      <a:lnTo>
                        <a:pt x="71" y="666"/>
                      </a:lnTo>
                      <a:close/>
                      <a:moveTo>
                        <a:pt x="98" y="643"/>
                      </a:moveTo>
                      <a:lnTo>
                        <a:pt x="89" y="643"/>
                      </a:lnTo>
                      <a:lnTo>
                        <a:pt x="76" y="648"/>
                      </a:lnTo>
                      <a:lnTo>
                        <a:pt x="76" y="666"/>
                      </a:lnTo>
                      <a:lnTo>
                        <a:pt x="89" y="661"/>
                      </a:lnTo>
                      <a:lnTo>
                        <a:pt x="80" y="670"/>
                      </a:lnTo>
                      <a:lnTo>
                        <a:pt x="80" y="679"/>
                      </a:lnTo>
                      <a:lnTo>
                        <a:pt x="94" y="693"/>
                      </a:lnTo>
                      <a:lnTo>
                        <a:pt x="67" y="684"/>
                      </a:lnTo>
                      <a:lnTo>
                        <a:pt x="13" y="648"/>
                      </a:lnTo>
                      <a:lnTo>
                        <a:pt x="13" y="657"/>
                      </a:lnTo>
                      <a:lnTo>
                        <a:pt x="31" y="666"/>
                      </a:lnTo>
                      <a:lnTo>
                        <a:pt x="27" y="670"/>
                      </a:lnTo>
                      <a:lnTo>
                        <a:pt x="31" y="679"/>
                      </a:lnTo>
                      <a:lnTo>
                        <a:pt x="40" y="684"/>
                      </a:lnTo>
                      <a:lnTo>
                        <a:pt x="49" y="679"/>
                      </a:lnTo>
                      <a:lnTo>
                        <a:pt x="63" y="688"/>
                      </a:lnTo>
                      <a:lnTo>
                        <a:pt x="49" y="688"/>
                      </a:lnTo>
                      <a:lnTo>
                        <a:pt x="54" y="697"/>
                      </a:lnTo>
                      <a:lnTo>
                        <a:pt x="63" y="693"/>
                      </a:lnTo>
                      <a:lnTo>
                        <a:pt x="71" y="697"/>
                      </a:lnTo>
                      <a:lnTo>
                        <a:pt x="71" y="702"/>
                      </a:lnTo>
                      <a:lnTo>
                        <a:pt x="63" y="702"/>
                      </a:lnTo>
                      <a:lnTo>
                        <a:pt x="76" y="706"/>
                      </a:lnTo>
                      <a:lnTo>
                        <a:pt x="76" y="702"/>
                      </a:lnTo>
                      <a:lnTo>
                        <a:pt x="80" y="706"/>
                      </a:lnTo>
                      <a:lnTo>
                        <a:pt x="76" y="715"/>
                      </a:lnTo>
                      <a:lnTo>
                        <a:pt x="89" y="724"/>
                      </a:lnTo>
                      <a:lnTo>
                        <a:pt x="89" y="715"/>
                      </a:lnTo>
                      <a:lnTo>
                        <a:pt x="94" y="715"/>
                      </a:lnTo>
                      <a:lnTo>
                        <a:pt x="94" y="724"/>
                      </a:lnTo>
                      <a:lnTo>
                        <a:pt x="103" y="719"/>
                      </a:lnTo>
                      <a:lnTo>
                        <a:pt x="107" y="724"/>
                      </a:lnTo>
                      <a:lnTo>
                        <a:pt x="107" y="715"/>
                      </a:lnTo>
                      <a:lnTo>
                        <a:pt x="103" y="715"/>
                      </a:lnTo>
                      <a:lnTo>
                        <a:pt x="103" y="706"/>
                      </a:lnTo>
                      <a:lnTo>
                        <a:pt x="107" y="710"/>
                      </a:lnTo>
                      <a:lnTo>
                        <a:pt x="121" y="715"/>
                      </a:lnTo>
                      <a:lnTo>
                        <a:pt x="125" y="710"/>
                      </a:lnTo>
                      <a:lnTo>
                        <a:pt x="121" y="706"/>
                      </a:lnTo>
                      <a:lnTo>
                        <a:pt x="103" y="702"/>
                      </a:lnTo>
                      <a:lnTo>
                        <a:pt x="94" y="702"/>
                      </a:lnTo>
                      <a:lnTo>
                        <a:pt x="98" y="702"/>
                      </a:lnTo>
                      <a:lnTo>
                        <a:pt x="98" y="643"/>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39" name="Freeform 72">
                  <a:extLst>
                    <a:ext uri="{FF2B5EF4-FFF2-40B4-BE49-F238E27FC236}">
                      <a16:creationId xmlns:a16="http://schemas.microsoft.com/office/drawing/2014/main" id="{62731791-EA53-460E-8946-5C19A7FB8A31}"/>
                    </a:ext>
                  </a:extLst>
                </p:cNvPr>
                <p:cNvSpPr>
                  <a:spLocks/>
                </p:cNvSpPr>
                <p:nvPr/>
              </p:nvSpPr>
              <p:spPr bwMode="gray">
                <a:xfrm>
                  <a:off x="1548" y="2596"/>
                  <a:ext cx="179" cy="246"/>
                </a:xfrm>
                <a:custGeom>
                  <a:avLst/>
                  <a:gdLst>
                    <a:gd name="T0" fmla="*/ 22 w 179"/>
                    <a:gd name="T1" fmla="*/ 174 h 246"/>
                    <a:gd name="T2" fmla="*/ 36 w 179"/>
                    <a:gd name="T3" fmla="*/ 174 h 246"/>
                    <a:gd name="T4" fmla="*/ 71 w 179"/>
                    <a:gd name="T5" fmla="*/ 192 h 246"/>
                    <a:gd name="T6" fmla="*/ 107 w 179"/>
                    <a:gd name="T7" fmla="*/ 210 h 246"/>
                    <a:gd name="T8" fmla="*/ 121 w 179"/>
                    <a:gd name="T9" fmla="*/ 241 h 246"/>
                    <a:gd name="T10" fmla="*/ 147 w 179"/>
                    <a:gd name="T11" fmla="*/ 201 h 246"/>
                    <a:gd name="T12" fmla="*/ 134 w 179"/>
                    <a:gd name="T13" fmla="*/ 192 h 246"/>
                    <a:gd name="T14" fmla="*/ 143 w 179"/>
                    <a:gd name="T15" fmla="*/ 183 h 246"/>
                    <a:gd name="T16" fmla="*/ 134 w 179"/>
                    <a:gd name="T17" fmla="*/ 174 h 246"/>
                    <a:gd name="T18" fmla="*/ 156 w 179"/>
                    <a:gd name="T19" fmla="*/ 161 h 246"/>
                    <a:gd name="T20" fmla="*/ 170 w 179"/>
                    <a:gd name="T21" fmla="*/ 165 h 246"/>
                    <a:gd name="T22" fmla="*/ 174 w 179"/>
                    <a:gd name="T23" fmla="*/ 143 h 246"/>
                    <a:gd name="T24" fmla="*/ 170 w 179"/>
                    <a:gd name="T25" fmla="*/ 134 h 246"/>
                    <a:gd name="T26" fmla="*/ 165 w 179"/>
                    <a:gd name="T27" fmla="*/ 112 h 246"/>
                    <a:gd name="T28" fmla="*/ 143 w 179"/>
                    <a:gd name="T29" fmla="*/ 94 h 246"/>
                    <a:gd name="T30" fmla="*/ 107 w 179"/>
                    <a:gd name="T31" fmla="*/ 85 h 246"/>
                    <a:gd name="T32" fmla="*/ 98 w 179"/>
                    <a:gd name="T33" fmla="*/ 63 h 246"/>
                    <a:gd name="T34" fmla="*/ 85 w 179"/>
                    <a:gd name="T35" fmla="*/ 54 h 246"/>
                    <a:gd name="T36" fmla="*/ 89 w 179"/>
                    <a:gd name="T37" fmla="*/ 31 h 246"/>
                    <a:gd name="T38" fmla="*/ 107 w 179"/>
                    <a:gd name="T39" fmla="*/ 9 h 246"/>
                    <a:gd name="T40" fmla="*/ 116 w 179"/>
                    <a:gd name="T41" fmla="*/ 0 h 246"/>
                    <a:gd name="T42" fmla="*/ 85 w 179"/>
                    <a:gd name="T43" fmla="*/ 18 h 246"/>
                    <a:gd name="T44" fmla="*/ 71 w 179"/>
                    <a:gd name="T45" fmla="*/ 22 h 246"/>
                    <a:gd name="T46" fmla="*/ 49 w 179"/>
                    <a:gd name="T47" fmla="*/ 31 h 246"/>
                    <a:gd name="T48" fmla="*/ 49 w 179"/>
                    <a:gd name="T49" fmla="*/ 40 h 246"/>
                    <a:gd name="T50" fmla="*/ 31 w 179"/>
                    <a:gd name="T51" fmla="*/ 58 h 246"/>
                    <a:gd name="T52" fmla="*/ 27 w 179"/>
                    <a:gd name="T53" fmla="*/ 58 h 246"/>
                    <a:gd name="T54" fmla="*/ 18 w 179"/>
                    <a:gd name="T55" fmla="*/ 76 h 246"/>
                    <a:gd name="T56" fmla="*/ 27 w 179"/>
                    <a:gd name="T57" fmla="*/ 89 h 246"/>
                    <a:gd name="T58" fmla="*/ 27 w 179"/>
                    <a:gd name="T59" fmla="*/ 121 h 246"/>
                    <a:gd name="T60" fmla="*/ 22 w 179"/>
                    <a:gd name="T61" fmla="*/ 143 h 246"/>
                    <a:gd name="T62" fmla="*/ 9 w 179"/>
                    <a:gd name="T63" fmla="*/ 152 h 246"/>
                    <a:gd name="T64" fmla="*/ 0 w 179"/>
                    <a:gd name="T65" fmla="*/ 16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9" h="246">
                      <a:moveTo>
                        <a:pt x="9" y="161"/>
                      </a:moveTo>
                      <a:lnTo>
                        <a:pt x="22" y="174"/>
                      </a:lnTo>
                      <a:lnTo>
                        <a:pt x="27" y="179"/>
                      </a:lnTo>
                      <a:lnTo>
                        <a:pt x="36" y="174"/>
                      </a:lnTo>
                      <a:lnTo>
                        <a:pt x="58" y="188"/>
                      </a:lnTo>
                      <a:lnTo>
                        <a:pt x="71" y="192"/>
                      </a:lnTo>
                      <a:lnTo>
                        <a:pt x="94" y="215"/>
                      </a:lnTo>
                      <a:lnTo>
                        <a:pt x="107" y="210"/>
                      </a:lnTo>
                      <a:lnTo>
                        <a:pt x="134" y="219"/>
                      </a:lnTo>
                      <a:lnTo>
                        <a:pt x="121" y="241"/>
                      </a:lnTo>
                      <a:lnTo>
                        <a:pt x="129" y="246"/>
                      </a:lnTo>
                      <a:lnTo>
                        <a:pt x="147" y="201"/>
                      </a:lnTo>
                      <a:lnTo>
                        <a:pt x="143" y="192"/>
                      </a:lnTo>
                      <a:lnTo>
                        <a:pt x="134" y="192"/>
                      </a:lnTo>
                      <a:lnTo>
                        <a:pt x="129" y="183"/>
                      </a:lnTo>
                      <a:lnTo>
                        <a:pt x="143" y="183"/>
                      </a:lnTo>
                      <a:lnTo>
                        <a:pt x="147" y="174"/>
                      </a:lnTo>
                      <a:lnTo>
                        <a:pt x="134" y="174"/>
                      </a:lnTo>
                      <a:lnTo>
                        <a:pt x="138" y="161"/>
                      </a:lnTo>
                      <a:lnTo>
                        <a:pt x="156" y="161"/>
                      </a:lnTo>
                      <a:lnTo>
                        <a:pt x="170" y="152"/>
                      </a:lnTo>
                      <a:lnTo>
                        <a:pt x="170" y="165"/>
                      </a:lnTo>
                      <a:lnTo>
                        <a:pt x="179" y="165"/>
                      </a:lnTo>
                      <a:lnTo>
                        <a:pt x="174" y="143"/>
                      </a:lnTo>
                      <a:lnTo>
                        <a:pt x="161" y="148"/>
                      </a:lnTo>
                      <a:lnTo>
                        <a:pt x="170" y="134"/>
                      </a:lnTo>
                      <a:lnTo>
                        <a:pt x="165" y="130"/>
                      </a:lnTo>
                      <a:lnTo>
                        <a:pt x="165" y="112"/>
                      </a:lnTo>
                      <a:lnTo>
                        <a:pt x="170" y="89"/>
                      </a:lnTo>
                      <a:lnTo>
                        <a:pt x="143" y="94"/>
                      </a:lnTo>
                      <a:lnTo>
                        <a:pt x="134" y="80"/>
                      </a:lnTo>
                      <a:lnTo>
                        <a:pt x="107" y="85"/>
                      </a:lnTo>
                      <a:lnTo>
                        <a:pt x="94" y="72"/>
                      </a:lnTo>
                      <a:lnTo>
                        <a:pt x="98" y="63"/>
                      </a:lnTo>
                      <a:lnTo>
                        <a:pt x="89" y="54"/>
                      </a:lnTo>
                      <a:lnTo>
                        <a:pt x="85" y="54"/>
                      </a:lnTo>
                      <a:lnTo>
                        <a:pt x="89" y="49"/>
                      </a:lnTo>
                      <a:lnTo>
                        <a:pt x="89" y="31"/>
                      </a:lnTo>
                      <a:lnTo>
                        <a:pt x="98" y="18"/>
                      </a:lnTo>
                      <a:lnTo>
                        <a:pt x="107" y="9"/>
                      </a:lnTo>
                      <a:lnTo>
                        <a:pt x="116" y="9"/>
                      </a:lnTo>
                      <a:lnTo>
                        <a:pt x="116" y="0"/>
                      </a:lnTo>
                      <a:lnTo>
                        <a:pt x="107" y="0"/>
                      </a:lnTo>
                      <a:lnTo>
                        <a:pt x="85" y="18"/>
                      </a:lnTo>
                      <a:lnTo>
                        <a:pt x="76" y="18"/>
                      </a:lnTo>
                      <a:lnTo>
                        <a:pt x="71" y="22"/>
                      </a:lnTo>
                      <a:lnTo>
                        <a:pt x="62" y="22"/>
                      </a:lnTo>
                      <a:lnTo>
                        <a:pt x="49" y="31"/>
                      </a:lnTo>
                      <a:lnTo>
                        <a:pt x="45" y="40"/>
                      </a:lnTo>
                      <a:lnTo>
                        <a:pt x="49" y="40"/>
                      </a:lnTo>
                      <a:lnTo>
                        <a:pt x="49" y="49"/>
                      </a:lnTo>
                      <a:lnTo>
                        <a:pt x="31" y="58"/>
                      </a:lnTo>
                      <a:lnTo>
                        <a:pt x="31" y="72"/>
                      </a:lnTo>
                      <a:lnTo>
                        <a:pt x="27" y="58"/>
                      </a:lnTo>
                      <a:lnTo>
                        <a:pt x="27" y="72"/>
                      </a:lnTo>
                      <a:lnTo>
                        <a:pt x="18" y="76"/>
                      </a:lnTo>
                      <a:lnTo>
                        <a:pt x="18" y="76"/>
                      </a:lnTo>
                      <a:lnTo>
                        <a:pt x="27" y="89"/>
                      </a:lnTo>
                      <a:lnTo>
                        <a:pt x="22" y="98"/>
                      </a:lnTo>
                      <a:lnTo>
                        <a:pt x="27" y="121"/>
                      </a:lnTo>
                      <a:lnTo>
                        <a:pt x="27" y="125"/>
                      </a:lnTo>
                      <a:lnTo>
                        <a:pt x="22" y="143"/>
                      </a:lnTo>
                      <a:lnTo>
                        <a:pt x="13" y="143"/>
                      </a:lnTo>
                      <a:lnTo>
                        <a:pt x="9" y="152"/>
                      </a:lnTo>
                      <a:lnTo>
                        <a:pt x="9" y="156"/>
                      </a:lnTo>
                      <a:lnTo>
                        <a:pt x="0" y="161"/>
                      </a:lnTo>
                      <a:lnTo>
                        <a:pt x="9" y="161"/>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40" name="Freeform 73">
                  <a:extLst>
                    <a:ext uri="{FF2B5EF4-FFF2-40B4-BE49-F238E27FC236}">
                      <a16:creationId xmlns:a16="http://schemas.microsoft.com/office/drawing/2014/main" id="{44C09982-9AC3-4646-93EF-DA9EC7667984}"/>
                    </a:ext>
                  </a:extLst>
                </p:cNvPr>
                <p:cNvSpPr>
                  <a:spLocks/>
                </p:cNvSpPr>
                <p:nvPr/>
              </p:nvSpPr>
              <p:spPr bwMode="gray">
                <a:xfrm>
                  <a:off x="1454" y="2618"/>
                  <a:ext cx="49" cy="41"/>
                </a:xfrm>
                <a:custGeom>
                  <a:avLst/>
                  <a:gdLst>
                    <a:gd name="T0" fmla="*/ 0 w 49"/>
                    <a:gd name="T1" fmla="*/ 0 h 41"/>
                    <a:gd name="T2" fmla="*/ 0 w 49"/>
                    <a:gd name="T3" fmla="*/ 9 h 41"/>
                    <a:gd name="T4" fmla="*/ 5 w 49"/>
                    <a:gd name="T5" fmla="*/ 9 h 41"/>
                    <a:gd name="T6" fmla="*/ 0 w 49"/>
                    <a:gd name="T7" fmla="*/ 14 h 41"/>
                    <a:gd name="T8" fmla="*/ 0 w 49"/>
                    <a:gd name="T9" fmla="*/ 23 h 41"/>
                    <a:gd name="T10" fmla="*/ 14 w 49"/>
                    <a:gd name="T11" fmla="*/ 27 h 41"/>
                    <a:gd name="T12" fmla="*/ 18 w 49"/>
                    <a:gd name="T13" fmla="*/ 23 h 41"/>
                    <a:gd name="T14" fmla="*/ 18 w 49"/>
                    <a:gd name="T15" fmla="*/ 18 h 41"/>
                    <a:gd name="T16" fmla="*/ 22 w 49"/>
                    <a:gd name="T17" fmla="*/ 27 h 41"/>
                    <a:gd name="T18" fmla="*/ 31 w 49"/>
                    <a:gd name="T19" fmla="*/ 36 h 41"/>
                    <a:gd name="T20" fmla="*/ 31 w 49"/>
                    <a:gd name="T21" fmla="*/ 41 h 41"/>
                    <a:gd name="T22" fmla="*/ 40 w 49"/>
                    <a:gd name="T23" fmla="*/ 41 h 41"/>
                    <a:gd name="T24" fmla="*/ 40 w 49"/>
                    <a:gd name="T25" fmla="*/ 36 h 41"/>
                    <a:gd name="T26" fmla="*/ 40 w 49"/>
                    <a:gd name="T27" fmla="*/ 41 h 41"/>
                    <a:gd name="T28" fmla="*/ 40 w 49"/>
                    <a:gd name="T29" fmla="*/ 27 h 41"/>
                    <a:gd name="T30" fmla="*/ 49 w 49"/>
                    <a:gd name="T31" fmla="*/ 23 h 41"/>
                    <a:gd name="T32" fmla="*/ 40 w 49"/>
                    <a:gd name="T33" fmla="*/ 18 h 41"/>
                    <a:gd name="T34" fmla="*/ 36 w 49"/>
                    <a:gd name="T35" fmla="*/ 5 h 41"/>
                    <a:gd name="T36" fmla="*/ 31 w 49"/>
                    <a:gd name="T37" fmla="*/ 5 h 41"/>
                    <a:gd name="T38" fmla="*/ 31 w 49"/>
                    <a:gd name="T39" fmla="*/ 5 h 41"/>
                    <a:gd name="T40" fmla="*/ 18 w 49"/>
                    <a:gd name="T41" fmla="*/ 0 h 41"/>
                    <a:gd name="T42" fmla="*/ 0 w 49"/>
                    <a:gd name="T4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41">
                      <a:moveTo>
                        <a:pt x="0" y="0"/>
                      </a:moveTo>
                      <a:lnTo>
                        <a:pt x="0" y="9"/>
                      </a:lnTo>
                      <a:lnTo>
                        <a:pt x="5" y="9"/>
                      </a:lnTo>
                      <a:lnTo>
                        <a:pt x="0" y="14"/>
                      </a:lnTo>
                      <a:lnTo>
                        <a:pt x="0" y="23"/>
                      </a:lnTo>
                      <a:lnTo>
                        <a:pt x="14" y="27"/>
                      </a:lnTo>
                      <a:lnTo>
                        <a:pt x="18" y="23"/>
                      </a:lnTo>
                      <a:lnTo>
                        <a:pt x="18" y="18"/>
                      </a:lnTo>
                      <a:lnTo>
                        <a:pt x="22" y="27"/>
                      </a:lnTo>
                      <a:lnTo>
                        <a:pt x="31" y="36"/>
                      </a:lnTo>
                      <a:lnTo>
                        <a:pt x="31" y="41"/>
                      </a:lnTo>
                      <a:lnTo>
                        <a:pt x="40" y="41"/>
                      </a:lnTo>
                      <a:lnTo>
                        <a:pt x="40" y="36"/>
                      </a:lnTo>
                      <a:lnTo>
                        <a:pt x="40" y="41"/>
                      </a:lnTo>
                      <a:lnTo>
                        <a:pt x="40" y="27"/>
                      </a:lnTo>
                      <a:lnTo>
                        <a:pt x="49" y="23"/>
                      </a:lnTo>
                      <a:lnTo>
                        <a:pt x="40" y="18"/>
                      </a:lnTo>
                      <a:lnTo>
                        <a:pt x="36" y="5"/>
                      </a:lnTo>
                      <a:lnTo>
                        <a:pt x="31" y="5"/>
                      </a:lnTo>
                      <a:lnTo>
                        <a:pt x="31" y="5"/>
                      </a:lnTo>
                      <a:lnTo>
                        <a:pt x="18" y="0"/>
                      </a:lnTo>
                      <a:lnTo>
                        <a:pt x="0"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41" name="Freeform 74">
                  <a:extLst>
                    <a:ext uri="{FF2B5EF4-FFF2-40B4-BE49-F238E27FC236}">
                      <a16:creationId xmlns:a16="http://schemas.microsoft.com/office/drawing/2014/main" id="{DE980F6A-C326-4F71-ADC6-9D5B99E4DA59}"/>
                    </a:ext>
                  </a:extLst>
                </p:cNvPr>
                <p:cNvSpPr>
                  <a:spLocks noEditPoints="1"/>
                </p:cNvSpPr>
                <p:nvPr/>
              </p:nvSpPr>
              <p:spPr bwMode="gray">
                <a:xfrm>
                  <a:off x="1468" y="2431"/>
                  <a:ext cx="160" cy="58"/>
                </a:xfrm>
                <a:custGeom>
                  <a:avLst/>
                  <a:gdLst>
                    <a:gd name="T0" fmla="*/ 8 w 160"/>
                    <a:gd name="T1" fmla="*/ 18 h 58"/>
                    <a:gd name="T2" fmla="*/ 0 w 160"/>
                    <a:gd name="T3" fmla="*/ 22 h 58"/>
                    <a:gd name="T4" fmla="*/ 4 w 160"/>
                    <a:gd name="T5" fmla="*/ 27 h 58"/>
                    <a:gd name="T6" fmla="*/ 17 w 160"/>
                    <a:gd name="T7" fmla="*/ 22 h 58"/>
                    <a:gd name="T8" fmla="*/ 17 w 160"/>
                    <a:gd name="T9" fmla="*/ 18 h 58"/>
                    <a:gd name="T10" fmla="*/ 31 w 160"/>
                    <a:gd name="T11" fmla="*/ 18 h 58"/>
                    <a:gd name="T12" fmla="*/ 35 w 160"/>
                    <a:gd name="T13" fmla="*/ 13 h 58"/>
                    <a:gd name="T14" fmla="*/ 44 w 160"/>
                    <a:gd name="T15" fmla="*/ 13 h 58"/>
                    <a:gd name="T16" fmla="*/ 40 w 160"/>
                    <a:gd name="T17" fmla="*/ 18 h 58"/>
                    <a:gd name="T18" fmla="*/ 53 w 160"/>
                    <a:gd name="T19" fmla="*/ 18 h 58"/>
                    <a:gd name="T20" fmla="*/ 80 w 160"/>
                    <a:gd name="T21" fmla="*/ 27 h 58"/>
                    <a:gd name="T22" fmla="*/ 89 w 160"/>
                    <a:gd name="T23" fmla="*/ 27 h 58"/>
                    <a:gd name="T24" fmla="*/ 93 w 160"/>
                    <a:gd name="T25" fmla="*/ 40 h 58"/>
                    <a:gd name="T26" fmla="*/ 102 w 160"/>
                    <a:gd name="T27" fmla="*/ 44 h 58"/>
                    <a:gd name="T28" fmla="*/ 107 w 160"/>
                    <a:gd name="T29" fmla="*/ 40 h 58"/>
                    <a:gd name="T30" fmla="*/ 111 w 160"/>
                    <a:gd name="T31" fmla="*/ 49 h 58"/>
                    <a:gd name="T32" fmla="*/ 98 w 160"/>
                    <a:gd name="T33" fmla="*/ 58 h 58"/>
                    <a:gd name="T34" fmla="*/ 147 w 160"/>
                    <a:gd name="T35" fmla="*/ 58 h 58"/>
                    <a:gd name="T36" fmla="*/ 160 w 160"/>
                    <a:gd name="T37" fmla="*/ 53 h 58"/>
                    <a:gd name="T38" fmla="*/ 156 w 160"/>
                    <a:gd name="T39" fmla="*/ 44 h 58"/>
                    <a:gd name="T40" fmla="*/ 134 w 160"/>
                    <a:gd name="T41" fmla="*/ 44 h 58"/>
                    <a:gd name="T42" fmla="*/ 134 w 160"/>
                    <a:gd name="T43" fmla="*/ 31 h 58"/>
                    <a:gd name="T44" fmla="*/ 125 w 160"/>
                    <a:gd name="T45" fmla="*/ 35 h 58"/>
                    <a:gd name="T46" fmla="*/ 107 w 160"/>
                    <a:gd name="T47" fmla="*/ 18 h 58"/>
                    <a:gd name="T48" fmla="*/ 102 w 160"/>
                    <a:gd name="T49" fmla="*/ 9 h 58"/>
                    <a:gd name="T50" fmla="*/ 98 w 160"/>
                    <a:gd name="T51" fmla="*/ 9 h 58"/>
                    <a:gd name="T52" fmla="*/ 98 w 160"/>
                    <a:gd name="T53" fmla="*/ 13 h 58"/>
                    <a:gd name="T54" fmla="*/ 84 w 160"/>
                    <a:gd name="T55" fmla="*/ 9 h 58"/>
                    <a:gd name="T56" fmla="*/ 80 w 160"/>
                    <a:gd name="T57" fmla="*/ 13 h 58"/>
                    <a:gd name="T58" fmla="*/ 67 w 160"/>
                    <a:gd name="T59" fmla="*/ 0 h 58"/>
                    <a:gd name="T60" fmla="*/ 40 w 160"/>
                    <a:gd name="T61" fmla="*/ 0 h 58"/>
                    <a:gd name="T62" fmla="*/ 8 w 160"/>
                    <a:gd name="T63" fmla="*/ 9 h 58"/>
                    <a:gd name="T64" fmla="*/ 8 w 160"/>
                    <a:gd name="T65" fmla="*/ 18 h 58"/>
                    <a:gd name="T66" fmla="*/ 31 w 160"/>
                    <a:gd name="T67" fmla="*/ 22 h 58"/>
                    <a:gd name="T68" fmla="*/ 31 w 160"/>
                    <a:gd name="T69" fmla="*/ 27 h 58"/>
                    <a:gd name="T70" fmla="*/ 22 w 160"/>
                    <a:gd name="T71" fmla="*/ 27 h 58"/>
                    <a:gd name="T72" fmla="*/ 31 w 160"/>
                    <a:gd name="T73" fmla="*/ 31 h 58"/>
                    <a:gd name="T74" fmla="*/ 35 w 160"/>
                    <a:gd name="T75" fmla="*/ 27 h 58"/>
                    <a:gd name="T76" fmla="*/ 35 w 160"/>
                    <a:gd name="T77" fmla="*/ 22 h 58"/>
                    <a:gd name="T78" fmla="*/ 31 w 160"/>
                    <a:gd name="T79"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58">
                      <a:moveTo>
                        <a:pt x="8" y="18"/>
                      </a:moveTo>
                      <a:lnTo>
                        <a:pt x="0" y="22"/>
                      </a:lnTo>
                      <a:lnTo>
                        <a:pt x="4" y="27"/>
                      </a:lnTo>
                      <a:lnTo>
                        <a:pt x="17" y="22"/>
                      </a:lnTo>
                      <a:lnTo>
                        <a:pt x="17" y="18"/>
                      </a:lnTo>
                      <a:lnTo>
                        <a:pt x="31" y="18"/>
                      </a:lnTo>
                      <a:lnTo>
                        <a:pt x="35" y="13"/>
                      </a:lnTo>
                      <a:lnTo>
                        <a:pt x="44" y="13"/>
                      </a:lnTo>
                      <a:lnTo>
                        <a:pt x="40" y="18"/>
                      </a:lnTo>
                      <a:lnTo>
                        <a:pt x="53" y="18"/>
                      </a:lnTo>
                      <a:lnTo>
                        <a:pt x="80" y="27"/>
                      </a:lnTo>
                      <a:lnTo>
                        <a:pt x="89" y="27"/>
                      </a:lnTo>
                      <a:lnTo>
                        <a:pt x="93" y="40"/>
                      </a:lnTo>
                      <a:lnTo>
                        <a:pt x="102" y="44"/>
                      </a:lnTo>
                      <a:lnTo>
                        <a:pt x="107" y="40"/>
                      </a:lnTo>
                      <a:lnTo>
                        <a:pt x="111" y="49"/>
                      </a:lnTo>
                      <a:lnTo>
                        <a:pt x="98" y="58"/>
                      </a:lnTo>
                      <a:lnTo>
                        <a:pt x="147" y="58"/>
                      </a:lnTo>
                      <a:lnTo>
                        <a:pt x="160" y="53"/>
                      </a:lnTo>
                      <a:lnTo>
                        <a:pt x="156" y="44"/>
                      </a:lnTo>
                      <a:lnTo>
                        <a:pt x="134" y="44"/>
                      </a:lnTo>
                      <a:lnTo>
                        <a:pt x="134" y="31"/>
                      </a:lnTo>
                      <a:lnTo>
                        <a:pt x="125" y="35"/>
                      </a:lnTo>
                      <a:lnTo>
                        <a:pt x="107" y="18"/>
                      </a:lnTo>
                      <a:lnTo>
                        <a:pt x="102" y="9"/>
                      </a:lnTo>
                      <a:lnTo>
                        <a:pt x="98" y="9"/>
                      </a:lnTo>
                      <a:lnTo>
                        <a:pt x="98" y="13"/>
                      </a:lnTo>
                      <a:lnTo>
                        <a:pt x="84" y="9"/>
                      </a:lnTo>
                      <a:lnTo>
                        <a:pt x="80" y="13"/>
                      </a:lnTo>
                      <a:lnTo>
                        <a:pt x="67" y="0"/>
                      </a:lnTo>
                      <a:lnTo>
                        <a:pt x="40" y="0"/>
                      </a:lnTo>
                      <a:lnTo>
                        <a:pt x="8" y="9"/>
                      </a:lnTo>
                      <a:lnTo>
                        <a:pt x="8" y="18"/>
                      </a:lnTo>
                      <a:close/>
                      <a:moveTo>
                        <a:pt x="31" y="22"/>
                      </a:moveTo>
                      <a:lnTo>
                        <a:pt x="31" y="27"/>
                      </a:lnTo>
                      <a:lnTo>
                        <a:pt x="22" y="27"/>
                      </a:lnTo>
                      <a:lnTo>
                        <a:pt x="31" y="31"/>
                      </a:lnTo>
                      <a:lnTo>
                        <a:pt x="35" y="27"/>
                      </a:lnTo>
                      <a:lnTo>
                        <a:pt x="35" y="22"/>
                      </a:lnTo>
                      <a:lnTo>
                        <a:pt x="31" y="2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42" name="Freeform 75">
                  <a:extLst>
                    <a:ext uri="{FF2B5EF4-FFF2-40B4-BE49-F238E27FC236}">
                      <a16:creationId xmlns:a16="http://schemas.microsoft.com/office/drawing/2014/main" id="{5A8EE1D6-FD6C-4812-BE35-B9FDBDE89C20}"/>
                    </a:ext>
                  </a:extLst>
                </p:cNvPr>
                <p:cNvSpPr>
                  <a:spLocks/>
                </p:cNvSpPr>
                <p:nvPr/>
              </p:nvSpPr>
              <p:spPr bwMode="gray">
                <a:xfrm>
                  <a:off x="1651" y="2489"/>
                  <a:ext cx="53" cy="36"/>
                </a:xfrm>
                <a:custGeom>
                  <a:avLst/>
                  <a:gdLst>
                    <a:gd name="T0" fmla="*/ 0 w 53"/>
                    <a:gd name="T1" fmla="*/ 22 h 36"/>
                    <a:gd name="T2" fmla="*/ 13 w 53"/>
                    <a:gd name="T3" fmla="*/ 36 h 36"/>
                    <a:gd name="T4" fmla="*/ 18 w 53"/>
                    <a:gd name="T5" fmla="*/ 22 h 36"/>
                    <a:gd name="T6" fmla="*/ 22 w 53"/>
                    <a:gd name="T7" fmla="*/ 18 h 36"/>
                    <a:gd name="T8" fmla="*/ 22 w 53"/>
                    <a:gd name="T9" fmla="*/ 22 h 36"/>
                    <a:gd name="T10" fmla="*/ 35 w 53"/>
                    <a:gd name="T11" fmla="*/ 18 h 36"/>
                    <a:gd name="T12" fmla="*/ 44 w 53"/>
                    <a:gd name="T13" fmla="*/ 18 h 36"/>
                    <a:gd name="T14" fmla="*/ 49 w 53"/>
                    <a:gd name="T15" fmla="*/ 22 h 36"/>
                    <a:gd name="T16" fmla="*/ 53 w 53"/>
                    <a:gd name="T17" fmla="*/ 18 h 36"/>
                    <a:gd name="T18" fmla="*/ 53 w 53"/>
                    <a:gd name="T19" fmla="*/ 13 h 36"/>
                    <a:gd name="T20" fmla="*/ 44 w 53"/>
                    <a:gd name="T21" fmla="*/ 9 h 36"/>
                    <a:gd name="T22" fmla="*/ 40 w 53"/>
                    <a:gd name="T23" fmla="*/ 4 h 36"/>
                    <a:gd name="T24" fmla="*/ 35 w 53"/>
                    <a:gd name="T25" fmla="*/ 4 h 36"/>
                    <a:gd name="T26" fmla="*/ 31 w 53"/>
                    <a:gd name="T27" fmla="*/ 0 h 36"/>
                    <a:gd name="T28" fmla="*/ 26 w 53"/>
                    <a:gd name="T29" fmla="*/ 0 h 36"/>
                    <a:gd name="T30" fmla="*/ 9 w 53"/>
                    <a:gd name="T31" fmla="*/ 0 h 36"/>
                    <a:gd name="T32" fmla="*/ 4 w 53"/>
                    <a:gd name="T33" fmla="*/ 0 h 36"/>
                    <a:gd name="T34" fmla="*/ 4 w 53"/>
                    <a:gd name="T35" fmla="*/ 9 h 36"/>
                    <a:gd name="T36" fmla="*/ 0 w 53"/>
                    <a:gd name="T3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6">
                      <a:moveTo>
                        <a:pt x="0" y="22"/>
                      </a:moveTo>
                      <a:lnTo>
                        <a:pt x="13" y="36"/>
                      </a:lnTo>
                      <a:lnTo>
                        <a:pt x="18" y="22"/>
                      </a:lnTo>
                      <a:lnTo>
                        <a:pt x="22" y="18"/>
                      </a:lnTo>
                      <a:lnTo>
                        <a:pt x="22" y="22"/>
                      </a:lnTo>
                      <a:lnTo>
                        <a:pt x="35" y="18"/>
                      </a:lnTo>
                      <a:lnTo>
                        <a:pt x="44" y="18"/>
                      </a:lnTo>
                      <a:lnTo>
                        <a:pt x="49" y="22"/>
                      </a:lnTo>
                      <a:lnTo>
                        <a:pt x="53" y="18"/>
                      </a:lnTo>
                      <a:lnTo>
                        <a:pt x="53" y="13"/>
                      </a:lnTo>
                      <a:lnTo>
                        <a:pt x="44" y="9"/>
                      </a:lnTo>
                      <a:lnTo>
                        <a:pt x="40" y="4"/>
                      </a:lnTo>
                      <a:lnTo>
                        <a:pt x="35" y="4"/>
                      </a:lnTo>
                      <a:lnTo>
                        <a:pt x="31" y="0"/>
                      </a:lnTo>
                      <a:lnTo>
                        <a:pt x="26" y="0"/>
                      </a:lnTo>
                      <a:lnTo>
                        <a:pt x="9" y="0"/>
                      </a:lnTo>
                      <a:lnTo>
                        <a:pt x="4" y="0"/>
                      </a:lnTo>
                      <a:lnTo>
                        <a:pt x="4" y="9"/>
                      </a:lnTo>
                      <a:lnTo>
                        <a:pt x="0" y="2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43" name="Freeform 76">
                  <a:extLst>
                    <a:ext uri="{FF2B5EF4-FFF2-40B4-BE49-F238E27FC236}">
                      <a16:creationId xmlns:a16="http://schemas.microsoft.com/office/drawing/2014/main" id="{5C3A7C1E-E11A-478A-A982-C6363B91CDD1}"/>
                    </a:ext>
                  </a:extLst>
                </p:cNvPr>
                <p:cNvSpPr>
                  <a:spLocks noEditPoints="1"/>
                </p:cNvSpPr>
                <p:nvPr/>
              </p:nvSpPr>
              <p:spPr bwMode="gray">
                <a:xfrm>
                  <a:off x="1374" y="2757"/>
                  <a:ext cx="232" cy="94"/>
                </a:xfrm>
                <a:custGeom>
                  <a:avLst/>
                  <a:gdLst>
                    <a:gd name="T0" fmla="*/ 4 w 232"/>
                    <a:gd name="T1" fmla="*/ 22 h 94"/>
                    <a:gd name="T2" fmla="*/ 0 w 232"/>
                    <a:gd name="T3" fmla="*/ 27 h 94"/>
                    <a:gd name="T4" fmla="*/ 4 w 232"/>
                    <a:gd name="T5" fmla="*/ 36 h 94"/>
                    <a:gd name="T6" fmla="*/ 0 w 232"/>
                    <a:gd name="T7" fmla="*/ 40 h 94"/>
                    <a:gd name="T8" fmla="*/ 4 w 232"/>
                    <a:gd name="T9" fmla="*/ 45 h 94"/>
                    <a:gd name="T10" fmla="*/ 9 w 232"/>
                    <a:gd name="T11" fmla="*/ 40 h 94"/>
                    <a:gd name="T12" fmla="*/ 4 w 232"/>
                    <a:gd name="T13" fmla="*/ 22 h 94"/>
                    <a:gd name="T14" fmla="*/ 13 w 232"/>
                    <a:gd name="T15" fmla="*/ 31 h 94"/>
                    <a:gd name="T16" fmla="*/ 13 w 232"/>
                    <a:gd name="T17" fmla="*/ 31 h 94"/>
                    <a:gd name="T18" fmla="*/ 18 w 232"/>
                    <a:gd name="T19" fmla="*/ 40 h 94"/>
                    <a:gd name="T20" fmla="*/ 18 w 232"/>
                    <a:gd name="T21" fmla="*/ 36 h 94"/>
                    <a:gd name="T22" fmla="*/ 13 w 232"/>
                    <a:gd name="T23" fmla="*/ 31 h 94"/>
                    <a:gd name="T24" fmla="*/ 161 w 232"/>
                    <a:gd name="T25" fmla="*/ 76 h 94"/>
                    <a:gd name="T26" fmla="*/ 161 w 232"/>
                    <a:gd name="T27" fmla="*/ 80 h 94"/>
                    <a:gd name="T28" fmla="*/ 156 w 232"/>
                    <a:gd name="T29" fmla="*/ 85 h 94"/>
                    <a:gd name="T30" fmla="*/ 161 w 232"/>
                    <a:gd name="T31" fmla="*/ 94 h 94"/>
                    <a:gd name="T32" fmla="*/ 183 w 232"/>
                    <a:gd name="T33" fmla="*/ 94 h 94"/>
                    <a:gd name="T34" fmla="*/ 187 w 232"/>
                    <a:gd name="T35" fmla="*/ 71 h 94"/>
                    <a:gd name="T36" fmla="*/ 210 w 232"/>
                    <a:gd name="T37" fmla="*/ 62 h 94"/>
                    <a:gd name="T38" fmla="*/ 232 w 232"/>
                    <a:gd name="T39" fmla="*/ 36 h 94"/>
                    <a:gd name="T40" fmla="*/ 232 w 232"/>
                    <a:gd name="T41" fmla="*/ 27 h 94"/>
                    <a:gd name="T42" fmla="*/ 210 w 232"/>
                    <a:gd name="T43" fmla="*/ 13 h 94"/>
                    <a:gd name="T44" fmla="*/ 201 w 232"/>
                    <a:gd name="T45" fmla="*/ 18 h 94"/>
                    <a:gd name="T46" fmla="*/ 196 w 232"/>
                    <a:gd name="T47" fmla="*/ 13 h 94"/>
                    <a:gd name="T48" fmla="*/ 183 w 232"/>
                    <a:gd name="T49" fmla="*/ 0 h 94"/>
                    <a:gd name="T50" fmla="*/ 161 w 232"/>
                    <a:gd name="T51" fmla="*/ 9 h 94"/>
                    <a:gd name="T52" fmla="*/ 165 w 232"/>
                    <a:gd name="T53" fmla="*/ 18 h 94"/>
                    <a:gd name="T54" fmla="*/ 156 w 232"/>
                    <a:gd name="T55" fmla="*/ 36 h 94"/>
                    <a:gd name="T56" fmla="*/ 152 w 232"/>
                    <a:gd name="T57" fmla="*/ 36 h 94"/>
                    <a:gd name="T58" fmla="*/ 152 w 232"/>
                    <a:gd name="T59" fmla="*/ 45 h 94"/>
                    <a:gd name="T60" fmla="*/ 147 w 232"/>
                    <a:gd name="T61" fmla="*/ 58 h 94"/>
                    <a:gd name="T62" fmla="*/ 156 w 232"/>
                    <a:gd name="T63" fmla="*/ 62 h 94"/>
                    <a:gd name="T64" fmla="*/ 169 w 232"/>
                    <a:gd name="T65" fmla="*/ 58 h 94"/>
                    <a:gd name="T66" fmla="*/ 169 w 232"/>
                    <a:gd name="T67" fmla="*/ 62 h 94"/>
                    <a:gd name="T68" fmla="*/ 161 w 232"/>
                    <a:gd name="T69" fmla="*/ 7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2" h="94">
                      <a:moveTo>
                        <a:pt x="4" y="22"/>
                      </a:moveTo>
                      <a:lnTo>
                        <a:pt x="0" y="27"/>
                      </a:lnTo>
                      <a:lnTo>
                        <a:pt x="4" y="36"/>
                      </a:lnTo>
                      <a:lnTo>
                        <a:pt x="0" y="40"/>
                      </a:lnTo>
                      <a:lnTo>
                        <a:pt x="4" y="45"/>
                      </a:lnTo>
                      <a:lnTo>
                        <a:pt x="9" y="40"/>
                      </a:lnTo>
                      <a:lnTo>
                        <a:pt x="4" y="22"/>
                      </a:lnTo>
                      <a:close/>
                      <a:moveTo>
                        <a:pt x="13" y="31"/>
                      </a:moveTo>
                      <a:lnTo>
                        <a:pt x="13" y="31"/>
                      </a:lnTo>
                      <a:lnTo>
                        <a:pt x="18" y="40"/>
                      </a:lnTo>
                      <a:lnTo>
                        <a:pt x="18" y="36"/>
                      </a:lnTo>
                      <a:lnTo>
                        <a:pt x="13" y="31"/>
                      </a:lnTo>
                      <a:close/>
                      <a:moveTo>
                        <a:pt x="161" y="76"/>
                      </a:moveTo>
                      <a:lnTo>
                        <a:pt x="161" y="80"/>
                      </a:lnTo>
                      <a:lnTo>
                        <a:pt x="156" y="85"/>
                      </a:lnTo>
                      <a:lnTo>
                        <a:pt x="161" y="94"/>
                      </a:lnTo>
                      <a:lnTo>
                        <a:pt x="183" y="94"/>
                      </a:lnTo>
                      <a:lnTo>
                        <a:pt x="187" y="71"/>
                      </a:lnTo>
                      <a:lnTo>
                        <a:pt x="210" y="62"/>
                      </a:lnTo>
                      <a:lnTo>
                        <a:pt x="232" y="36"/>
                      </a:lnTo>
                      <a:lnTo>
                        <a:pt x="232" y="27"/>
                      </a:lnTo>
                      <a:lnTo>
                        <a:pt x="210" y="13"/>
                      </a:lnTo>
                      <a:lnTo>
                        <a:pt x="201" y="18"/>
                      </a:lnTo>
                      <a:lnTo>
                        <a:pt x="196" y="13"/>
                      </a:lnTo>
                      <a:lnTo>
                        <a:pt x="183" y="0"/>
                      </a:lnTo>
                      <a:lnTo>
                        <a:pt x="161" y="9"/>
                      </a:lnTo>
                      <a:lnTo>
                        <a:pt x="165" y="18"/>
                      </a:lnTo>
                      <a:lnTo>
                        <a:pt x="156" y="36"/>
                      </a:lnTo>
                      <a:lnTo>
                        <a:pt x="152" y="36"/>
                      </a:lnTo>
                      <a:lnTo>
                        <a:pt x="152" y="45"/>
                      </a:lnTo>
                      <a:lnTo>
                        <a:pt x="147" y="58"/>
                      </a:lnTo>
                      <a:lnTo>
                        <a:pt x="156" y="62"/>
                      </a:lnTo>
                      <a:lnTo>
                        <a:pt x="169" y="58"/>
                      </a:lnTo>
                      <a:lnTo>
                        <a:pt x="169" y="62"/>
                      </a:lnTo>
                      <a:lnTo>
                        <a:pt x="161" y="76"/>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44" name="Freeform 77">
                  <a:extLst>
                    <a:ext uri="{FF2B5EF4-FFF2-40B4-BE49-F238E27FC236}">
                      <a16:creationId xmlns:a16="http://schemas.microsoft.com/office/drawing/2014/main" id="{640216BE-35C5-46B8-998D-3BF511F28F45}"/>
                    </a:ext>
                  </a:extLst>
                </p:cNvPr>
                <p:cNvSpPr>
                  <a:spLocks/>
                </p:cNvSpPr>
                <p:nvPr/>
              </p:nvSpPr>
              <p:spPr bwMode="gray">
                <a:xfrm>
                  <a:off x="1387" y="2569"/>
                  <a:ext cx="36" cy="23"/>
                </a:xfrm>
                <a:custGeom>
                  <a:avLst/>
                  <a:gdLst>
                    <a:gd name="T0" fmla="*/ 0 w 36"/>
                    <a:gd name="T1" fmla="*/ 9 h 23"/>
                    <a:gd name="T2" fmla="*/ 27 w 36"/>
                    <a:gd name="T3" fmla="*/ 23 h 23"/>
                    <a:gd name="T4" fmla="*/ 36 w 36"/>
                    <a:gd name="T5" fmla="*/ 18 h 23"/>
                    <a:gd name="T6" fmla="*/ 36 w 36"/>
                    <a:gd name="T7" fmla="*/ 18 h 23"/>
                    <a:gd name="T8" fmla="*/ 36 w 36"/>
                    <a:gd name="T9" fmla="*/ 5 h 23"/>
                    <a:gd name="T10" fmla="*/ 27 w 36"/>
                    <a:gd name="T11" fmla="*/ 5 h 23"/>
                    <a:gd name="T12" fmla="*/ 22 w 36"/>
                    <a:gd name="T13" fmla="*/ 0 h 23"/>
                    <a:gd name="T14" fmla="*/ 14 w 36"/>
                    <a:gd name="T15" fmla="*/ 0 h 23"/>
                    <a:gd name="T16" fmla="*/ 14 w 36"/>
                    <a:gd name="T17" fmla="*/ 5 h 23"/>
                    <a:gd name="T18" fmla="*/ 0 w 36"/>
                    <a:gd name="T19"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23">
                      <a:moveTo>
                        <a:pt x="0" y="9"/>
                      </a:moveTo>
                      <a:lnTo>
                        <a:pt x="27" y="23"/>
                      </a:lnTo>
                      <a:lnTo>
                        <a:pt x="36" y="18"/>
                      </a:lnTo>
                      <a:lnTo>
                        <a:pt x="36" y="18"/>
                      </a:lnTo>
                      <a:lnTo>
                        <a:pt x="36" y="5"/>
                      </a:lnTo>
                      <a:lnTo>
                        <a:pt x="27" y="5"/>
                      </a:lnTo>
                      <a:lnTo>
                        <a:pt x="22" y="0"/>
                      </a:lnTo>
                      <a:lnTo>
                        <a:pt x="14" y="0"/>
                      </a:lnTo>
                      <a:lnTo>
                        <a:pt x="14" y="5"/>
                      </a:lnTo>
                      <a:lnTo>
                        <a:pt x="0" y="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45" name="Freeform 78">
                  <a:extLst>
                    <a:ext uri="{FF2B5EF4-FFF2-40B4-BE49-F238E27FC236}">
                      <a16:creationId xmlns:a16="http://schemas.microsoft.com/office/drawing/2014/main" id="{B2C8D340-75C9-45FF-89BA-B33FD2EE349E}"/>
                    </a:ext>
                  </a:extLst>
                </p:cNvPr>
                <p:cNvSpPr>
                  <a:spLocks noEditPoints="1"/>
                </p:cNvSpPr>
                <p:nvPr/>
              </p:nvSpPr>
              <p:spPr bwMode="gray">
                <a:xfrm>
                  <a:off x="1820" y="3655"/>
                  <a:ext cx="45" cy="27"/>
                </a:xfrm>
                <a:custGeom>
                  <a:avLst/>
                  <a:gdLst>
                    <a:gd name="T0" fmla="*/ 18 w 45"/>
                    <a:gd name="T1" fmla="*/ 5 h 27"/>
                    <a:gd name="T2" fmla="*/ 0 w 45"/>
                    <a:gd name="T3" fmla="*/ 0 h 27"/>
                    <a:gd name="T4" fmla="*/ 9 w 45"/>
                    <a:gd name="T5" fmla="*/ 9 h 27"/>
                    <a:gd name="T6" fmla="*/ 0 w 45"/>
                    <a:gd name="T7" fmla="*/ 22 h 27"/>
                    <a:gd name="T8" fmla="*/ 5 w 45"/>
                    <a:gd name="T9" fmla="*/ 27 h 27"/>
                    <a:gd name="T10" fmla="*/ 14 w 45"/>
                    <a:gd name="T11" fmla="*/ 18 h 27"/>
                    <a:gd name="T12" fmla="*/ 18 w 45"/>
                    <a:gd name="T13" fmla="*/ 5 h 27"/>
                    <a:gd name="T14" fmla="*/ 23 w 45"/>
                    <a:gd name="T15" fmla="*/ 0 h 27"/>
                    <a:gd name="T16" fmla="*/ 23 w 45"/>
                    <a:gd name="T17" fmla="*/ 9 h 27"/>
                    <a:gd name="T18" fmla="*/ 18 w 45"/>
                    <a:gd name="T19" fmla="*/ 9 h 27"/>
                    <a:gd name="T20" fmla="*/ 14 w 45"/>
                    <a:gd name="T21" fmla="*/ 22 h 27"/>
                    <a:gd name="T22" fmla="*/ 23 w 45"/>
                    <a:gd name="T23" fmla="*/ 27 h 27"/>
                    <a:gd name="T24" fmla="*/ 27 w 45"/>
                    <a:gd name="T25" fmla="*/ 27 h 27"/>
                    <a:gd name="T26" fmla="*/ 36 w 45"/>
                    <a:gd name="T27" fmla="*/ 18 h 27"/>
                    <a:gd name="T28" fmla="*/ 45 w 45"/>
                    <a:gd name="T29" fmla="*/ 9 h 27"/>
                    <a:gd name="T30" fmla="*/ 41 w 45"/>
                    <a:gd name="T31" fmla="*/ 5 h 27"/>
                    <a:gd name="T32" fmla="*/ 23 w 45"/>
                    <a:gd name="T33"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27">
                      <a:moveTo>
                        <a:pt x="18" y="5"/>
                      </a:moveTo>
                      <a:lnTo>
                        <a:pt x="0" y="0"/>
                      </a:lnTo>
                      <a:lnTo>
                        <a:pt x="9" y="9"/>
                      </a:lnTo>
                      <a:lnTo>
                        <a:pt x="0" y="22"/>
                      </a:lnTo>
                      <a:lnTo>
                        <a:pt x="5" y="27"/>
                      </a:lnTo>
                      <a:lnTo>
                        <a:pt x="14" y="18"/>
                      </a:lnTo>
                      <a:lnTo>
                        <a:pt x="18" y="5"/>
                      </a:lnTo>
                      <a:close/>
                      <a:moveTo>
                        <a:pt x="23" y="0"/>
                      </a:moveTo>
                      <a:lnTo>
                        <a:pt x="23" y="9"/>
                      </a:lnTo>
                      <a:lnTo>
                        <a:pt x="18" y="9"/>
                      </a:lnTo>
                      <a:lnTo>
                        <a:pt x="14" y="22"/>
                      </a:lnTo>
                      <a:lnTo>
                        <a:pt x="23" y="27"/>
                      </a:lnTo>
                      <a:lnTo>
                        <a:pt x="27" y="27"/>
                      </a:lnTo>
                      <a:lnTo>
                        <a:pt x="36" y="18"/>
                      </a:lnTo>
                      <a:lnTo>
                        <a:pt x="45" y="9"/>
                      </a:lnTo>
                      <a:lnTo>
                        <a:pt x="41" y="5"/>
                      </a:lnTo>
                      <a:lnTo>
                        <a:pt x="23"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46" name="Freeform 79">
                  <a:extLst>
                    <a:ext uri="{FF2B5EF4-FFF2-40B4-BE49-F238E27FC236}">
                      <a16:creationId xmlns:a16="http://schemas.microsoft.com/office/drawing/2014/main" id="{A7CAD554-C186-4195-943E-DCD25444ACC9}"/>
                    </a:ext>
                  </a:extLst>
                </p:cNvPr>
                <p:cNvSpPr>
                  <a:spLocks/>
                </p:cNvSpPr>
                <p:nvPr/>
              </p:nvSpPr>
              <p:spPr bwMode="gray">
                <a:xfrm>
                  <a:off x="1901" y="2699"/>
                  <a:ext cx="44" cy="53"/>
                </a:xfrm>
                <a:custGeom>
                  <a:avLst/>
                  <a:gdLst>
                    <a:gd name="T0" fmla="*/ 9 w 44"/>
                    <a:gd name="T1" fmla="*/ 4 h 53"/>
                    <a:gd name="T2" fmla="*/ 4 w 44"/>
                    <a:gd name="T3" fmla="*/ 13 h 53"/>
                    <a:gd name="T4" fmla="*/ 13 w 44"/>
                    <a:gd name="T5" fmla="*/ 31 h 53"/>
                    <a:gd name="T6" fmla="*/ 0 w 44"/>
                    <a:gd name="T7" fmla="*/ 45 h 53"/>
                    <a:gd name="T8" fmla="*/ 9 w 44"/>
                    <a:gd name="T9" fmla="*/ 53 h 53"/>
                    <a:gd name="T10" fmla="*/ 22 w 44"/>
                    <a:gd name="T11" fmla="*/ 53 h 53"/>
                    <a:gd name="T12" fmla="*/ 36 w 44"/>
                    <a:gd name="T13" fmla="*/ 45 h 53"/>
                    <a:gd name="T14" fmla="*/ 44 w 44"/>
                    <a:gd name="T15" fmla="*/ 27 h 53"/>
                    <a:gd name="T16" fmla="*/ 40 w 44"/>
                    <a:gd name="T17" fmla="*/ 18 h 53"/>
                    <a:gd name="T18" fmla="*/ 27 w 44"/>
                    <a:gd name="T19" fmla="*/ 4 h 53"/>
                    <a:gd name="T20" fmla="*/ 13 w 44"/>
                    <a:gd name="T21" fmla="*/ 0 h 53"/>
                    <a:gd name="T22" fmla="*/ 9 w 44"/>
                    <a:gd name="T23" fmla="*/ 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53">
                      <a:moveTo>
                        <a:pt x="9" y="4"/>
                      </a:moveTo>
                      <a:lnTo>
                        <a:pt x="4" y="13"/>
                      </a:lnTo>
                      <a:lnTo>
                        <a:pt x="13" y="31"/>
                      </a:lnTo>
                      <a:lnTo>
                        <a:pt x="0" y="45"/>
                      </a:lnTo>
                      <a:lnTo>
                        <a:pt x="9" y="53"/>
                      </a:lnTo>
                      <a:lnTo>
                        <a:pt x="22" y="53"/>
                      </a:lnTo>
                      <a:lnTo>
                        <a:pt x="36" y="45"/>
                      </a:lnTo>
                      <a:lnTo>
                        <a:pt x="44" y="27"/>
                      </a:lnTo>
                      <a:lnTo>
                        <a:pt x="40" y="18"/>
                      </a:lnTo>
                      <a:lnTo>
                        <a:pt x="27" y="4"/>
                      </a:lnTo>
                      <a:lnTo>
                        <a:pt x="13" y="0"/>
                      </a:lnTo>
                      <a:lnTo>
                        <a:pt x="9" y="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47" name="Freeform 80">
                  <a:extLst>
                    <a:ext uri="{FF2B5EF4-FFF2-40B4-BE49-F238E27FC236}">
                      <a16:creationId xmlns:a16="http://schemas.microsoft.com/office/drawing/2014/main" id="{3679CDEA-EF97-4D7A-962E-3FEB5206F87E}"/>
                    </a:ext>
                  </a:extLst>
                </p:cNvPr>
                <p:cNvSpPr>
                  <a:spLocks noEditPoints="1"/>
                </p:cNvSpPr>
                <p:nvPr/>
              </p:nvSpPr>
              <p:spPr bwMode="gray">
                <a:xfrm>
                  <a:off x="512" y="2927"/>
                  <a:ext cx="250" cy="290"/>
                </a:xfrm>
                <a:custGeom>
                  <a:avLst/>
                  <a:gdLst>
                    <a:gd name="T0" fmla="*/ 0 w 250"/>
                    <a:gd name="T1" fmla="*/ 103 h 290"/>
                    <a:gd name="T2" fmla="*/ 0 w 250"/>
                    <a:gd name="T3" fmla="*/ 103 h 290"/>
                    <a:gd name="T4" fmla="*/ 4 w 250"/>
                    <a:gd name="T5" fmla="*/ 103 h 290"/>
                    <a:gd name="T6" fmla="*/ 0 w 250"/>
                    <a:gd name="T7" fmla="*/ 103 h 290"/>
                    <a:gd name="T8" fmla="*/ 26 w 250"/>
                    <a:gd name="T9" fmla="*/ 120 h 290"/>
                    <a:gd name="T10" fmla="*/ 26 w 250"/>
                    <a:gd name="T11" fmla="*/ 120 h 290"/>
                    <a:gd name="T12" fmla="*/ 31 w 250"/>
                    <a:gd name="T13" fmla="*/ 125 h 290"/>
                    <a:gd name="T14" fmla="*/ 35 w 250"/>
                    <a:gd name="T15" fmla="*/ 120 h 290"/>
                    <a:gd name="T16" fmla="*/ 26 w 250"/>
                    <a:gd name="T17" fmla="*/ 120 h 290"/>
                    <a:gd name="T18" fmla="*/ 49 w 250"/>
                    <a:gd name="T19" fmla="*/ 80 h 290"/>
                    <a:gd name="T20" fmla="*/ 49 w 250"/>
                    <a:gd name="T21" fmla="*/ 85 h 290"/>
                    <a:gd name="T22" fmla="*/ 58 w 250"/>
                    <a:gd name="T23" fmla="*/ 85 h 290"/>
                    <a:gd name="T24" fmla="*/ 53 w 250"/>
                    <a:gd name="T25" fmla="*/ 80 h 290"/>
                    <a:gd name="T26" fmla="*/ 49 w 250"/>
                    <a:gd name="T27" fmla="*/ 80 h 290"/>
                    <a:gd name="T28" fmla="*/ 80 w 250"/>
                    <a:gd name="T29" fmla="*/ 98 h 290"/>
                    <a:gd name="T30" fmla="*/ 84 w 250"/>
                    <a:gd name="T31" fmla="*/ 103 h 290"/>
                    <a:gd name="T32" fmla="*/ 89 w 250"/>
                    <a:gd name="T33" fmla="*/ 103 h 290"/>
                    <a:gd name="T34" fmla="*/ 84 w 250"/>
                    <a:gd name="T35" fmla="*/ 98 h 290"/>
                    <a:gd name="T36" fmla="*/ 80 w 250"/>
                    <a:gd name="T37" fmla="*/ 98 h 290"/>
                    <a:gd name="T38" fmla="*/ 102 w 250"/>
                    <a:gd name="T39" fmla="*/ 286 h 290"/>
                    <a:gd name="T40" fmla="*/ 102 w 250"/>
                    <a:gd name="T41" fmla="*/ 286 h 290"/>
                    <a:gd name="T42" fmla="*/ 107 w 250"/>
                    <a:gd name="T43" fmla="*/ 290 h 290"/>
                    <a:gd name="T44" fmla="*/ 107 w 250"/>
                    <a:gd name="T45" fmla="*/ 286 h 290"/>
                    <a:gd name="T46" fmla="*/ 102 w 250"/>
                    <a:gd name="T47" fmla="*/ 286 h 290"/>
                    <a:gd name="T48" fmla="*/ 111 w 250"/>
                    <a:gd name="T49" fmla="*/ 98 h 290"/>
                    <a:gd name="T50" fmla="*/ 111 w 250"/>
                    <a:gd name="T51" fmla="*/ 103 h 290"/>
                    <a:gd name="T52" fmla="*/ 116 w 250"/>
                    <a:gd name="T53" fmla="*/ 103 h 290"/>
                    <a:gd name="T54" fmla="*/ 116 w 250"/>
                    <a:gd name="T55" fmla="*/ 103 h 290"/>
                    <a:gd name="T56" fmla="*/ 111 w 250"/>
                    <a:gd name="T57" fmla="*/ 98 h 290"/>
                    <a:gd name="T58" fmla="*/ 116 w 250"/>
                    <a:gd name="T59" fmla="*/ 165 h 290"/>
                    <a:gd name="T60" fmla="*/ 116 w 250"/>
                    <a:gd name="T61" fmla="*/ 165 h 290"/>
                    <a:gd name="T62" fmla="*/ 120 w 250"/>
                    <a:gd name="T63" fmla="*/ 165 h 290"/>
                    <a:gd name="T64" fmla="*/ 120 w 250"/>
                    <a:gd name="T65" fmla="*/ 170 h 290"/>
                    <a:gd name="T66" fmla="*/ 120 w 250"/>
                    <a:gd name="T67" fmla="*/ 170 h 290"/>
                    <a:gd name="T68" fmla="*/ 116 w 250"/>
                    <a:gd name="T69" fmla="*/ 165 h 290"/>
                    <a:gd name="T70" fmla="*/ 151 w 250"/>
                    <a:gd name="T71" fmla="*/ 125 h 290"/>
                    <a:gd name="T72" fmla="*/ 156 w 250"/>
                    <a:gd name="T73" fmla="*/ 129 h 290"/>
                    <a:gd name="T74" fmla="*/ 156 w 250"/>
                    <a:gd name="T75" fmla="*/ 129 h 290"/>
                    <a:gd name="T76" fmla="*/ 151 w 250"/>
                    <a:gd name="T77" fmla="*/ 125 h 290"/>
                    <a:gd name="T78" fmla="*/ 151 w 250"/>
                    <a:gd name="T79" fmla="*/ 125 h 290"/>
                    <a:gd name="T80" fmla="*/ 174 w 250"/>
                    <a:gd name="T81" fmla="*/ 0 h 290"/>
                    <a:gd name="T82" fmla="*/ 174 w 250"/>
                    <a:gd name="T83" fmla="*/ 0 h 290"/>
                    <a:gd name="T84" fmla="*/ 178 w 250"/>
                    <a:gd name="T85" fmla="*/ 0 h 290"/>
                    <a:gd name="T86" fmla="*/ 178 w 250"/>
                    <a:gd name="T87" fmla="*/ 0 h 290"/>
                    <a:gd name="T88" fmla="*/ 174 w 250"/>
                    <a:gd name="T89" fmla="*/ 0 h 290"/>
                    <a:gd name="T90" fmla="*/ 214 w 250"/>
                    <a:gd name="T91" fmla="*/ 125 h 290"/>
                    <a:gd name="T92" fmla="*/ 214 w 250"/>
                    <a:gd name="T93" fmla="*/ 134 h 290"/>
                    <a:gd name="T94" fmla="*/ 214 w 250"/>
                    <a:gd name="T95" fmla="*/ 129 h 290"/>
                    <a:gd name="T96" fmla="*/ 214 w 250"/>
                    <a:gd name="T97" fmla="*/ 125 h 290"/>
                    <a:gd name="T98" fmla="*/ 241 w 250"/>
                    <a:gd name="T99" fmla="*/ 201 h 290"/>
                    <a:gd name="T100" fmla="*/ 236 w 250"/>
                    <a:gd name="T101" fmla="*/ 205 h 290"/>
                    <a:gd name="T102" fmla="*/ 241 w 250"/>
                    <a:gd name="T103" fmla="*/ 205 h 290"/>
                    <a:gd name="T104" fmla="*/ 241 w 250"/>
                    <a:gd name="T105" fmla="*/ 201 h 290"/>
                    <a:gd name="T106" fmla="*/ 241 w 250"/>
                    <a:gd name="T107" fmla="*/ 201 h 290"/>
                    <a:gd name="T108" fmla="*/ 245 w 250"/>
                    <a:gd name="T109" fmla="*/ 205 h 290"/>
                    <a:gd name="T110" fmla="*/ 245 w 250"/>
                    <a:gd name="T111" fmla="*/ 205 h 290"/>
                    <a:gd name="T112" fmla="*/ 250 w 250"/>
                    <a:gd name="T113" fmla="*/ 210 h 290"/>
                    <a:gd name="T114" fmla="*/ 250 w 250"/>
                    <a:gd name="T115" fmla="*/ 205 h 290"/>
                    <a:gd name="T116" fmla="*/ 245 w 250"/>
                    <a:gd name="T117" fmla="*/ 205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0" h="290">
                      <a:moveTo>
                        <a:pt x="0" y="103"/>
                      </a:moveTo>
                      <a:lnTo>
                        <a:pt x="0" y="103"/>
                      </a:lnTo>
                      <a:lnTo>
                        <a:pt x="4" y="103"/>
                      </a:lnTo>
                      <a:lnTo>
                        <a:pt x="0" y="103"/>
                      </a:lnTo>
                      <a:close/>
                      <a:moveTo>
                        <a:pt x="26" y="120"/>
                      </a:moveTo>
                      <a:lnTo>
                        <a:pt x="26" y="120"/>
                      </a:lnTo>
                      <a:lnTo>
                        <a:pt x="31" y="125"/>
                      </a:lnTo>
                      <a:lnTo>
                        <a:pt x="35" y="120"/>
                      </a:lnTo>
                      <a:lnTo>
                        <a:pt x="26" y="120"/>
                      </a:lnTo>
                      <a:close/>
                      <a:moveTo>
                        <a:pt x="49" y="80"/>
                      </a:moveTo>
                      <a:lnTo>
                        <a:pt x="49" y="85"/>
                      </a:lnTo>
                      <a:lnTo>
                        <a:pt x="58" y="85"/>
                      </a:lnTo>
                      <a:lnTo>
                        <a:pt x="53" y="80"/>
                      </a:lnTo>
                      <a:lnTo>
                        <a:pt x="49" y="80"/>
                      </a:lnTo>
                      <a:close/>
                      <a:moveTo>
                        <a:pt x="80" y="98"/>
                      </a:moveTo>
                      <a:lnTo>
                        <a:pt x="84" y="103"/>
                      </a:lnTo>
                      <a:lnTo>
                        <a:pt x="89" y="103"/>
                      </a:lnTo>
                      <a:lnTo>
                        <a:pt x="84" y="98"/>
                      </a:lnTo>
                      <a:lnTo>
                        <a:pt x="80" y="98"/>
                      </a:lnTo>
                      <a:close/>
                      <a:moveTo>
                        <a:pt x="102" y="286"/>
                      </a:moveTo>
                      <a:lnTo>
                        <a:pt x="102" y="286"/>
                      </a:lnTo>
                      <a:lnTo>
                        <a:pt x="107" y="290"/>
                      </a:lnTo>
                      <a:lnTo>
                        <a:pt x="107" y="286"/>
                      </a:lnTo>
                      <a:lnTo>
                        <a:pt x="102" y="286"/>
                      </a:lnTo>
                      <a:close/>
                      <a:moveTo>
                        <a:pt x="111" y="98"/>
                      </a:moveTo>
                      <a:lnTo>
                        <a:pt x="111" y="103"/>
                      </a:lnTo>
                      <a:lnTo>
                        <a:pt x="116" y="103"/>
                      </a:lnTo>
                      <a:lnTo>
                        <a:pt x="116" y="103"/>
                      </a:lnTo>
                      <a:lnTo>
                        <a:pt x="111" y="98"/>
                      </a:lnTo>
                      <a:close/>
                      <a:moveTo>
                        <a:pt x="116" y="165"/>
                      </a:moveTo>
                      <a:lnTo>
                        <a:pt x="116" y="165"/>
                      </a:lnTo>
                      <a:lnTo>
                        <a:pt x="120" y="165"/>
                      </a:lnTo>
                      <a:lnTo>
                        <a:pt x="120" y="170"/>
                      </a:lnTo>
                      <a:lnTo>
                        <a:pt x="120" y="170"/>
                      </a:lnTo>
                      <a:lnTo>
                        <a:pt x="116" y="165"/>
                      </a:lnTo>
                      <a:close/>
                      <a:moveTo>
                        <a:pt x="151" y="125"/>
                      </a:moveTo>
                      <a:lnTo>
                        <a:pt x="156" y="129"/>
                      </a:lnTo>
                      <a:lnTo>
                        <a:pt x="156" y="129"/>
                      </a:lnTo>
                      <a:lnTo>
                        <a:pt x="151" y="125"/>
                      </a:lnTo>
                      <a:lnTo>
                        <a:pt x="151" y="125"/>
                      </a:lnTo>
                      <a:close/>
                      <a:moveTo>
                        <a:pt x="174" y="0"/>
                      </a:moveTo>
                      <a:lnTo>
                        <a:pt x="174" y="0"/>
                      </a:lnTo>
                      <a:lnTo>
                        <a:pt x="178" y="0"/>
                      </a:lnTo>
                      <a:lnTo>
                        <a:pt x="178" y="0"/>
                      </a:lnTo>
                      <a:lnTo>
                        <a:pt x="174" y="0"/>
                      </a:lnTo>
                      <a:close/>
                      <a:moveTo>
                        <a:pt x="214" y="125"/>
                      </a:moveTo>
                      <a:lnTo>
                        <a:pt x="214" y="134"/>
                      </a:lnTo>
                      <a:lnTo>
                        <a:pt x="214" y="129"/>
                      </a:lnTo>
                      <a:lnTo>
                        <a:pt x="214" y="125"/>
                      </a:lnTo>
                      <a:close/>
                      <a:moveTo>
                        <a:pt x="241" y="201"/>
                      </a:moveTo>
                      <a:lnTo>
                        <a:pt x="236" y="205"/>
                      </a:lnTo>
                      <a:lnTo>
                        <a:pt x="241" y="205"/>
                      </a:lnTo>
                      <a:lnTo>
                        <a:pt x="241" y="201"/>
                      </a:lnTo>
                      <a:lnTo>
                        <a:pt x="241" y="201"/>
                      </a:lnTo>
                      <a:close/>
                      <a:moveTo>
                        <a:pt x="245" y="205"/>
                      </a:moveTo>
                      <a:lnTo>
                        <a:pt x="245" y="205"/>
                      </a:lnTo>
                      <a:lnTo>
                        <a:pt x="250" y="210"/>
                      </a:lnTo>
                      <a:lnTo>
                        <a:pt x="250" y="205"/>
                      </a:lnTo>
                      <a:lnTo>
                        <a:pt x="245" y="20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48" name="Freeform 81">
                  <a:extLst>
                    <a:ext uri="{FF2B5EF4-FFF2-40B4-BE49-F238E27FC236}">
                      <a16:creationId xmlns:a16="http://schemas.microsoft.com/office/drawing/2014/main" id="{96D7D39F-90E6-4DE7-9E7A-188560F2114E}"/>
                    </a:ext>
                  </a:extLst>
                </p:cNvPr>
                <p:cNvSpPr>
                  <a:spLocks/>
                </p:cNvSpPr>
                <p:nvPr/>
              </p:nvSpPr>
              <p:spPr bwMode="gray">
                <a:xfrm>
                  <a:off x="1798" y="2601"/>
                  <a:ext cx="9" cy="4"/>
                </a:xfrm>
                <a:custGeom>
                  <a:avLst/>
                  <a:gdLst>
                    <a:gd name="T0" fmla="*/ 5 w 9"/>
                    <a:gd name="T1" fmla="*/ 0 h 4"/>
                    <a:gd name="T2" fmla="*/ 0 w 9"/>
                    <a:gd name="T3" fmla="*/ 4 h 4"/>
                    <a:gd name="T4" fmla="*/ 5 w 9"/>
                    <a:gd name="T5" fmla="*/ 4 h 4"/>
                    <a:gd name="T6" fmla="*/ 9 w 9"/>
                    <a:gd name="T7" fmla="*/ 4 h 4"/>
                    <a:gd name="T8" fmla="*/ 5 w 9"/>
                    <a:gd name="T9" fmla="*/ 0 h 4"/>
                  </a:gdLst>
                  <a:ahLst/>
                  <a:cxnLst>
                    <a:cxn ang="0">
                      <a:pos x="T0" y="T1"/>
                    </a:cxn>
                    <a:cxn ang="0">
                      <a:pos x="T2" y="T3"/>
                    </a:cxn>
                    <a:cxn ang="0">
                      <a:pos x="T4" y="T5"/>
                    </a:cxn>
                    <a:cxn ang="0">
                      <a:pos x="T6" y="T7"/>
                    </a:cxn>
                    <a:cxn ang="0">
                      <a:pos x="T8" y="T9"/>
                    </a:cxn>
                  </a:cxnLst>
                  <a:rect l="0" t="0" r="r" b="b"/>
                  <a:pathLst>
                    <a:path w="9" h="4">
                      <a:moveTo>
                        <a:pt x="5" y="0"/>
                      </a:moveTo>
                      <a:lnTo>
                        <a:pt x="0" y="4"/>
                      </a:lnTo>
                      <a:lnTo>
                        <a:pt x="5" y="4"/>
                      </a:lnTo>
                      <a:lnTo>
                        <a:pt x="9" y="4"/>
                      </a:lnTo>
                      <a:lnTo>
                        <a:pt x="5"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49" name="Freeform 82">
                  <a:extLst>
                    <a:ext uri="{FF2B5EF4-FFF2-40B4-BE49-F238E27FC236}">
                      <a16:creationId xmlns:a16="http://schemas.microsoft.com/office/drawing/2014/main" id="{AE7D4541-F1C0-48C0-824E-FF060A8A9104}"/>
                    </a:ext>
                  </a:extLst>
                </p:cNvPr>
                <p:cNvSpPr>
                  <a:spLocks/>
                </p:cNvSpPr>
                <p:nvPr/>
              </p:nvSpPr>
              <p:spPr bwMode="gray">
                <a:xfrm>
                  <a:off x="1803" y="2538"/>
                  <a:ext cx="8" cy="9"/>
                </a:xfrm>
                <a:custGeom>
                  <a:avLst/>
                  <a:gdLst>
                    <a:gd name="T0" fmla="*/ 4 w 8"/>
                    <a:gd name="T1" fmla="*/ 0 h 9"/>
                    <a:gd name="T2" fmla="*/ 4 w 8"/>
                    <a:gd name="T3" fmla="*/ 4 h 9"/>
                    <a:gd name="T4" fmla="*/ 0 w 8"/>
                    <a:gd name="T5" fmla="*/ 4 h 9"/>
                    <a:gd name="T6" fmla="*/ 4 w 8"/>
                    <a:gd name="T7" fmla="*/ 9 h 9"/>
                    <a:gd name="T8" fmla="*/ 4 w 8"/>
                    <a:gd name="T9" fmla="*/ 4 h 9"/>
                    <a:gd name="T10" fmla="*/ 8 w 8"/>
                    <a:gd name="T11" fmla="*/ 4 h 9"/>
                    <a:gd name="T12" fmla="*/ 4 w 8"/>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8" h="9">
                      <a:moveTo>
                        <a:pt x="4" y="0"/>
                      </a:moveTo>
                      <a:lnTo>
                        <a:pt x="4" y="4"/>
                      </a:lnTo>
                      <a:lnTo>
                        <a:pt x="0" y="4"/>
                      </a:lnTo>
                      <a:lnTo>
                        <a:pt x="4" y="9"/>
                      </a:lnTo>
                      <a:lnTo>
                        <a:pt x="4" y="4"/>
                      </a:lnTo>
                      <a:lnTo>
                        <a:pt x="8" y="4"/>
                      </a:lnTo>
                      <a:lnTo>
                        <a:pt x="4"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50" name="Freeform 83">
                  <a:extLst>
                    <a:ext uri="{FF2B5EF4-FFF2-40B4-BE49-F238E27FC236}">
                      <a16:creationId xmlns:a16="http://schemas.microsoft.com/office/drawing/2014/main" id="{0C001B18-084B-4EAA-A72C-701AF7F594A8}"/>
                    </a:ext>
                  </a:extLst>
                </p:cNvPr>
                <p:cNvSpPr>
                  <a:spLocks/>
                </p:cNvSpPr>
                <p:nvPr/>
              </p:nvSpPr>
              <p:spPr bwMode="gray">
                <a:xfrm>
                  <a:off x="1360" y="2516"/>
                  <a:ext cx="58" cy="62"/>
                </a:xfrm>
                <a:custGeom>
                  <a:avLst/>
                  <a:gdLst>
                    <a:gd name="T0" fmla="*/ 0 w 58"/>
                    <a:gd name="T1" fmla="*/ 53 h 62"/>
                    <a:gd name="T2" fmla="*/ 9 w 58"/>
                    <a:gd name="T3" fmla="*/ 62 h 62"/>
                    <a:gd name="T4" fmla="*/ 18 w 58"/>
                    <a:gd name="T5" fmla="*/ 58 h 62"/>
                    <a:gd name="T6" fmla="*/ 27 w 58"/>
                    <a:gd name="T7" fmla="*/ 62 h 62"/>
                    <a:gd name="T8" fmla="*/ 41 w 58"/>
                    <a:gd name="T9" fmla="*/ 58 h 62"/>
                    <a:gd name="T10" fmla="*/ 41 w 58"/>
                    <a:gd name="T11" fmla="*/ 53 h 62"/>
                    <a:gd name="T12" fmla="*/ 41 w 58"/>
                    <a:gd name="T13" fmla="*/ 49 h 62"/>
                    <a:gd name="T14" fmla="*/ 49 w 58"/>
                    <a:gd name="T15" fmla="*/ 44 h 62"/>
                    <a:gd name="T16" fmla="*/ 58 w 58"/>
                    <a:gd name="T17" fmla="*/ 35 h 62"/>
                    <a:gd name="T18" fmla="*/ 58 w 58"/>
                    <a:gd name="T19" fmla="*/ 31 h 62"/>
                    <a:gd name="T20" fmla="*/ 49 w 58"/>
                    <a:gd name="T21" fmla="*/ 35 h 62"/>
                    <a:gd name="T22" fmla="*/ 45 w 58"/>
                    <a:gd name="T23" fmla="*/ 35 h 62"/>
                    <a:gd name="T24" fmla="*/ 49 w 58"/>
                    <a:gd name="T25" fmla="*/ 31 h 62"/>
                    <a:gd name="T26" fmla="*/ 45 w 58"/>
                    <a:gd name="T27" fmla="*/ 31 h 62"/>
                    <a:gd name="T28" fmla="*/ 41 w 58"/>
                    <a:gd name="T29" fmla="*/ 17 h 62"/>
                    <a:gd name="T30" fmla="*/ 45 w 58"/>
                    <a:gd name="T31" fmla="*/ 0 h 62"/>
                    <a:gd name="T32" fmla="*/ 41 w 58"/>
                    <a:gd name="T33" fmla="*/ 4 h 62"/>
                    <a:gd name="T34" fmla="*/ 36 w 58"/>
                    <a:gd name="T35" fmla="*/ 0 h 62"/>
                    <a:gd name="T36" fmla="*/ 18 w 58"/>
                    <a:gd name="T37" fmla="*/ 0 h 62"/>
                    <a:gd name="T38" fmla="*/ 14 w 58"/>
                    <a:gd name="T39" fmla="*/ 9 h 62"/>
                    <a:gd name="T40" fmla="*/ 27 w 58"/>
                    <a:gd name="T41" fmla="*/ 26 h 62"/>
                    <a:gd name="T42" fmla="*/ 27 w 58"/>
                    <a:gd name="T43" fmla="*/ 31 h 62"/>
                    <a:gd name="T44" fmla="*/ 5 w 58"/>
                    <a:gd name="T45" fmla="*/ 31 h 62"/>
                    <a:gd name="T46" fmla="*/ 0 w 58"/>
                    <a:gd name="T47"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62">
                      <a:moveTo>
                        <a:pt x="0" y="53"/>
                      </a:moveTo>
                      <a:lnTo>
                        <a:pt x="9" y="62"/>
                      </a:lnTo>
                      <a:lnTo>
                        <a:pt x="18" y="58"/>
                      </a:lnTo>
                      <a:lnTo>
                        <a:pt x="27" y="62"/>
                      </a:lnTo>
                      <a:lnTo>
                        <a:pt x="41" y="58"/>
                      </a:lnTo>
                      <a:lnTo>
                        <a:pt x="41" y="53"/>
                      </a:lnTo>
                      <a:lnTo>
                        <a:pt x="41" y="49"/>
                      </a:lnTo>
                      <a:lnTo>
                        <a:pt x="49" y="44"/>
                      </a:lnTo>
                      <a:lnTo>
                        <a:pt x="58" y="35"/>
                      </a:lnTo>
                      <a:lnTo>
                        <a:pt x="58" y="31"/>
                      </a:lnTo>
                      <a:lnTo>
                        <a:pt x="49" y="35"/>
                      </a:lnTo>
                      <a:lnTo>
                        <a:pt x="45" y="35"/>
                      </a:lnTo>
                      <a:lnTo>
                        <a:pt x="49" y="31"/>
                      </a:lnTo>
                      <a:lnTo>
                        <a:pt x="45" y="31"/>
                      </a:lnTo>
                      <a:lnTo>
                        <a:pt x="41" y="17"/>
                      </a:lnTo>
                      <a:lnTo>
                        <a:pt x="45" y="0"/>
                      </a:lnTo>
                      <a:lnTo>
                        <a:pt x="41" y="4"/>
                      </a:lnTo>
                      <a:lnTo>
                        <a:pt x="36" y="0"/>
                      </a:lnTo>
                      <a:lnTo>
                        <a:pt x="18" y="0"/>
                      </a:lnTo>
                      <a:lnTo>
                        <a:pt x="14" y="9"/>
                      </a:lnTo>
                      <a:lnTo>
                        <a:pt x="27" y="26"/>
                      </a:lnTo>
                      <a:lnTo>
                        <a:pt x="27" y="31"/>
                      </a:lnTo>
                      <a:lnTo>
                        <a:pt x="5" y="31"/>
                      </a:lnTo>
                      <a:lnTo>
                        <a:pt x="0" y="53"/>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51" name="Freeform 84">
                  <a:extLst>
                    <a:ext uri="{FF2B5EF4-FFF2-40B4-BE49-F238E27FC236}">
                      <a16:creationId xmlns:a16="http://schemas.microsoft.com/office/drawing/2014/main" id="{1BEAC431-12E2-467B-AAB5-BF91690CDE79}"/>
                    </a:ext>
                  </a:extLst>
                </p:cNvPr>
                <p:cNvSpPr>
                  <a:spLocks/>
                </p:cNvSpPr>
                <p:nvPr/>
              </p:nvSpPr>
              <p:spPr bwMode="gray">
                <a:xfrm>
                  <a:off x="1807" y="2654"/>
                  <a:ext cx="71" cy="112"/>
                </a:xfrm>
                <a:custGeom>
                  <a:avLst/>
                  <a:gdLst>
                    <a:gd name="T0" fmla="*/ 18 w 71"/>
                    <a:gd name="T1" fmla="*/ 0 h 112"/>
                    <a:gd name="T2" fmla="*/ 22 w 71"/>
                    <a:gd name="T3" fmla="*/ 14 h 112"/>
                    <a:gd name="T4" fmla="*/ 9 w 71"/>
                    <a:gd name="T5" fmla="*/ 18 h 112"/>
                    <a:gd name="T6" fmla="*/ 13 w 71"/>
                    <a:gd name="T7" fmla="*/ 27 h 112"/>
                    <a:gd name="T8" fmla="*/ 4 w 71"/>
                    <a:gd name="T9" fmla="*/ 31 h 112"/>
                    <a:gd name="T10" fmla="*/ 0 w 71"/>
                    <a:gd name="T11" fmla="*/ 40 h 112"/>
                    <a:gd name="T12" fmla="*/ 9 w 71"/>
                    <a:gd name="T13" fmla="*/ 49 h 112"/>
                    <a:gd name="T14" fmla="*/ 18 w 71"/>
                    <a:gd name="T15" fmla="*/ 49 h 112"/>
                    <a:gd name="T16" fmla="*/ 18 w 71"/>
                    <a:gd name="T17" fmla="*/ 63 h 112"/>
                    <a:gd name="T18" fmla="*/ 27 w 71"/>
                    <a:gd name="T19" fmla="*/ 63 h 112"/>
                    <a:gd name="T20" fmla="*/ 18 w 71"/>
                    <a:gd name="T21" fmla="*/ 72 h 112"/>
                    <a:gd name="T22" fmla="*/ 18 w 71"/>
                    <a:gd name="T23" fmla="*/ 94 h 112"/>
                    <a:gd name="T24" fmla="*/ 27 w 71"/>
                    <a:gd name="T25" fmla="*/ 107 h 112"/>
                    <a:gd name="T26" fmla="*/ 36 w 71"/>
                    <a:gd name="T27" fmla="*/ 112 h 112"/>
                    <a:gd name="T28" fmla="*/ 45 w 71"/>
                    <a:gd name="T29" fmla="*/ 103 h 112"/>
                    <a:gd name="T30" fmla="*/ 71 w 71"/>
                    <a:gd name="T31" fmla="*/ 98 h 112"/>
                    <a:gd name="T32" fmla="*/ 67 w 71"/>
                    <a:gd name="T33" fmla="*/ 90 h 112"/>
                    <a:gd name="T34" fmla="*/ 63 w 71"/>
                    <a:gd name="T35" fmla="*/ 76 h 112"/>
                    <a:gd name="T36" fmla="*/ 54 w 71"/>
                    <a:gd name="T37" fmla="*/ 76 h 112"/>
                    <a:gd name="T38" fmla="*/ 45 w 71"/>
                    <a:gd name="T39" fmla="*/ 67 h 112"/>
                    <a:gd name="T40" fmla="*/ 49 w 71"/>
                    <a:gd name="T41" fmla="*/ 58 h 112"/>
                    <a:gd name="T42" fmla="*/ 58 w 71"/>
                    <a:gd name="T43" fmla="*/ 54 h 112"/>
                    <a:gd name="T44" fmla="*/ 63 w 71"/>
                    <a:gd name="T45" fmla="*/ 40 h 112"/>
                    <a:gd name="T46" fmla="*/ 58 w 71"/>
                    <a:gd name="T47" fmla="*/ 36 h 112"/>
                    <a:gd name="T48" fmla="*/ 40 w 71"/>
                    <a:gd name="T49" fmla="*/ 22 h 112"/>
                    <a:gd name="T50" fmla="*/ 36 w 71"/>
                    <a:gd name="T51" fmla="*/ 14 h 112"/>
                    <a:gd name="T52" fmla="*/ 27 w 71"/>
                    <a:gd name="T53" fmla="*/ 5 h 112"/>
                    <a:gd name="T54" fmla="*/ 18 w 71"/>
                    <a:gd name="T5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1" h="112">
                      <a:moveTo>
                        <a:pt x="18" y="0"/>
                      </a:moveTo>
                      <a:lnTo>
                        <a:pt x="22" y="14"/>
                      </a:lnTo>
                      <a:lnTo>
                        <a:pt x="9" y="18"/>
                      </a:lnTo>
                      <a:lnTo>
                        <a:pt x="13" y="27"/>
                      </a:lnTo>
                      <a:lnTo>
                        <a:pt x="4" y="31"/>
                      </a:lnTo>
                      <a:lnTo>
                        <a:pt x="0" y="40"/>
                      </a:lnTo>
                      <a:lnTo>
                        <a:pt x="9" y="49"/>
                      </a:lnTo>
                      <a:lnTo>
                        <a:pt x="18" y="49"/>
                      </a:lnTo>
                      <a:lnTo>
                        <a:pt x="18" y="63"/>
                      </a:lnTo>
                      <a:lnTo>
                        <a:pt x="27" y="63"/>
                      </a:lnTo>
                      <a:lnTo>
                        <a:pt x="18" y="72"/>
                      </a:lnTo>
                      <a:lnTo>
                        <a:pt x="18" y="94"/>
                      </a:lnTo>
                      <a:lnTo>
                        <a:pt x="27" y="107"/>
                      </a:lnTo>
                      <a:lnTo>
                        <a:pt x="36" y="112"/>
                      </a:lnTo>
                      <a:lnTo>
                        <a:pt x="45" y="103"/>
                      </a:lnTo>
                      <a:lnTo>
                        <a:pt x="71" y="98"/>
                      </a:lnTo>
                      <a:lnTo>
                        <a:pt x="67" y="90"/>
                      </a:lnTo>
                      <a:lnTo>
                        <a:pt x="63" y="76"/>
                      </a:lnTo>
                      <a:lnTo>
                        <a:pt x="54" y="76"/>
                      </a:lnTo>
                      <a:lnTo>
                        <a:pt x="45" y="67"/>
                      </a:lnTo>
                      <a:lnTo>
                        <a:pt x="49" y="58"/>
                      </a:lnTo>
                      <a:lnTo>
                        <a:pt x="58" y="54"/>
                      </a:lnTo>
                      <a:lnTo>
                        <a:pt x="63" y="40"/>
                      </a:lnTo>
                      <a:lnTo>
                        <a:pt x="58" y="36"/>
                      </a:lnTo>
                      <a:lnTo>
                        <a:pt x="40" y="22"/>
                      </a:lnTo>
                      <a:lnTo>
                        <a:pt x="36" y="14"/>
                      </a:lnTo>
                      <a:lnTo>
                        <a:pt x="27" y="5"/>
                      </a:lnTo>
                      <a:lnTo>
                        <a:pt x="18"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52" name="Freeform 85">
                  <a:extLst>
                    <a:ext uri="{FF2B5EF4-FFF2-40B4-BE49-F238E27FC236}">
                      <a16:creationId xmlns:a16="http://schemas.microsoft.com/office/drawing/2014/main" id="{CF7B6DDE-587A-4DC3-8DF0-59572C60710D}"/>
                    </a:ext>
                  </a:extLst>
                </p:cNvPr>
                <p:cNvSpPr>
                  <a:spLocks/>
                </p:cNvSpPr>
                <p:nvPr/>
              </p:nvSpPr>
              <p:spPr bwMode="gray">
                <a:xfrm>
                  <a:off x="1619" y="2484"/>
                  <a:ext cx="36" cy="32"/>
                </a:xfrm>
                <a:custGeom>
                  <a:avLst/>
                  <a:gdLst>
                    <a:gd name="T0" fmla="*/ 36 w 36"/>
                    <a:gd name="T1" fmla="*/ 5 h 32"/>
                    <a:gd name="T2" fmla="*/ 36 w 36"/>
                    <a:gd name="T3" fmla="*/ 14 h 32"/>
                    <a:gd name="T4" fmla="*/ 32 w 36"/>
                    <a:gd name="T5" fmla="*/ 27 h 32"/>
                    <a:gd name="T6" fmla="*/ 14 w 36"/>
                    <a:gd name="T7" fmla="*/ 27 h 32"/>
                    <a:gd name="T8" fmla="*/ 9 w 36"/>
                    <a:gd name="T9" fmla="*/ 32 h 32"/>
                    <a:gd name="T10" fmla="*/ 5 w 36"/>
                    <a:gd name="T11" fmla="*/ 27 h 32"/>
                    <a:gd name="T12" fmla="*/ 0 w 36"/>
                    <a:gd name="T13" fmla="*/ 27 h 32"/>
                    <a:gd name="T14" fmla="*/ 0 w 36"/>
                    <a:gd name="T15" fmla="*/ 18 h 32"/>
                    <a:gd name="T16" fmla="*/ 14 w 36"/>
                    <a:gd name="T17" fmla="*/ 23 h 32"/>
                    <a:gd name="T18" fmla="*/ 23 w 36"/>
                    <a:gd name="T19" fmla="*/ 23 h 32"/>
                    <a:gd name="T20" fmla="*/ 23 w 36"/>
                    <a:gd name="T21" fmla="*/ 18 h 32"/>
                    <a:gd name="T22" fmla="*/ 23 w 36"/>
                    <a:gd name="T23" fmla="*/ 9 h 32"/>
                    <a:gd name="T24" fmla="*/ 14 w 36"/>
                    <a:gd name="T25" fmla="*/ 9 h 32"/>
                    <a:gd name="T26" fmla="*/ 14 w 36"/>
                    <a:gd name="T27" fmla="*/ 5 h 32"/>
                    <a:gd name="T28" fmla="*/ 23 w 36"/>
                    <a:gd name="T29" fmla="*/ 0 h 32"/>
                    <a:gd name="T30" fmla="*/ 36 w 36"/>
                    <a:gd name="T31"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32">
                      <a:moveTo>
                        <a:pt x="36" y="5"/>
                      </a:moveTo>
                      <a:lnTo>
                        <a:pt x="36" y="14"/>
                      </a:lnTo>
                      <a:lnTo>
                        <a:pt x="32" y="27"/>
                      </a:lnTo>
                      <a:lnTo>
                        <a:pt x="14" y="27"/>
                      </a:lnTo>
                      <a:lnTo>
                        <a:pt x="9" y="32"/>
                      </a:lnTo>
                      <a:lnTo>
                        <a:pt x="5" y="27"/>
                      </a:lnTo>
                      <a:lnTo>
                        <a:pt x="0" y="27"/>
                      </a:lnTo>
                      <a:lnTo>
                        <a:pt x="0" y="18"/>
                      </a:lnTo>
                      <a:lnTo>
                        <a:pt x="14" y="23"/>
                      </a:lnTo>
                      <a:lnTo>
                        <a:pt x="23" y="23"/>
                      </a:lnTo>
                      <a:lnTo>
                        <a:pt x="23" y="18"/>
                      </a:lnTo>
                      <a:lnTo>
                        <a:pt x="23" y="9"/>
                      </a:lnTo>
                      <a:lnTo>
                        <a:pt x="14" y="9"/>
                      </a:lnTo>
                      <a:lnTo>
                        <a:pt x="14" y="5"/>
                      </a:lnTo>
                      <a:lnTo>
                        <a:pt x="23" y="0"/>
                      </a:lnTo>
                      <a:lnTo>
                        <a:pt x="36" y="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53" name="Freeform 86">
                  <a:extLst>
                    <a:ext uri="{FF2B5EF4-FFF2-40B4-BE49-F238E27FC236}">
                      <a16:creationId xmlns:a16="http://schemas.microsoft.com/office/drawing/2014/main" id="{D399101B-11B6-4046-A3E2-2EB85F9CC0FA}"/>
                    </a:ext>
                  </a:extLst>
                </p:cNvPr>
                <p:cNvSpPr>
                  <a:spLocks/>
                </p:cNvSpPr>
                <p:nvPr/>
              </p:nvSpPr>
              <p:spPr bwMode="gray">
                <a:xfrm>
                  <a:off x="1401" y="2542"/>
                  <a:ext cx="89" cy="50"/>
                </a:xfrm>
                <a:custGeom>
                  <a:avLst/>
                  <a:gdLst>
                    <a:gd name="T0" fmla="*/ 0 w 89"/>
                    <a:gd name="T1" fmla="*/ 27 h 50"/>
                    <a:gd name="T2" fmla="*/ 0 w 89"/>
                    <a:gd name="T3" fmla="*/ 23 h 50"/>
                    <a:gd name="T4" fmla="*/ 8 w 89"/>
                    <a:gd name="T5" fmla="*/ 18 h 50"/>
                    <a:gd name="T6" fmla="*/ 17 w 89"/>
                    <a:gd name="T7" fmla="*/ 9 h 50"/>
                    <a:gd name="T8" fmla="*/ 26 w 89"/>
                    <a:gd name="T9" fmla="*/ 9 h 50"/>
                    <a:gd name="T10" fmla="*/ 49 w 89"/>
                    <a:gd name="T11" fmla="*/ 5 h 50"/>
                    <a:gd name="T12" fmla="*/ 49 w 89"/>
                    <a:gd name="T13" fmla="*/ 0 h 50"/>
                    <a:gd name="T14" fmla="*/ 67 w 89"/>
                    <a:gd name="T15" fmla="*/ 5 h 50"/>
                    <a:gd name="T16" fmla="*/ 75 w 89"/>
                    <a:gd name="T17" fmla="*/ 9 h 50"/>
                    <a:gd name="T18" fmla="*/ 80 w 89"/>
                    <a:gd name="T19" fmla="*/ 14 h 50"/>
                    <a:gd name="T20" fmla="*/ 84 w 89"/>
                    <a:gd name="T21" fmla="*/ 14 h 50"/>
                    <a:gd name="T22" fmla="*/ 89 w 89"/>
                    <a:gd name="T23" fmla="*/ 18 h 50"/>
                    <a:gd name="T24" fmla="*/ 75 w 89"/>
                    <a:gd name="T25" fmla="*/ 27 h 50"/>
                    <a:gd name="T26" fmla="*/ 71 w 89"/>
                    <a:gd name="T27" fmla="*/ 27 h 50"/>
                    <a:gd name="T28" fmla="*/ 58 w 89"/>
                    <a:gd name="T29" fmla="*/ 36 h 50"/>
                    <a:gd name="T30" fmla="*/ 49 w 89"/>
                    <a:gd name="T31" fmla="*/ 36 h 50"/>
                    <a:gd name="T32" fmla="*/ 40 w 89"/>
                    <a:gd name="T33" fmla="*/ 41 h 50"/>
                    <a:gd name="T34" fmla="*/ 40 w 89"/>
                    <a:gd name="T35" fmla="*/ 45 h 50"/>
                    <a:gd name="T36" fmla="*/ 31 w 89"/>
                    <a:gd name="T37" fmla="*/ 50 h 50"/>
                    <a:gd name="T38" fmla="*/ 31 w 89"/>
                    <a:gd name="T39" fmla="*/ 41 h 50"/>
                    <a:gd name="T40" fmla="*/ 22 w 89"/>
                    <a:gd name="T41" fmla="*/ 45 h 50"/>
                    <a:gd name="T42" fmla="*/ 22 w 89"/>
                    <a:gd name="T43" fmla="*/ 32 h 50"/>
                    <a:gd name="T44" fmla="*/ 13 w 89"/>
                    <a:gd name="T45" fmla="*/ 32 h 50"/>
                    <a:gd name="T46" fmla="*/ 8 w 89"/>
                    <a:gd name="T47" fmla="*/ 27 h 50"/>
                    <a:gd name="T48" fmla="*/ 0 w 89"/>
                    <a:gd name="T49"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50">
                      <a:moveTo>
                        <a:pt x="0" y="27"/>
                      </a:moveTo>
                      <a:lnTo>
                        <a:pt x="0" y="23"/>
                      </a:lnTo>
                      <a:lnTo>
                        <a:pt x="8" y="18"/>
                      </a:lnTo>
                      <a:lnTo>
                        <a:pt x="17" y="9"/>
                      </a:lnTo>
                      <a:lnTo>
                        <a:pt x="26" y="9"/>
                      </a:lnTo>
                      <a:lnTo>
                        <a:pt x="49" y="5"/>
                      </a:lnTo>
                      <a:lnTo>
                        <a:pt x="49" y="0"/>
                      </a:lnTo>
                      <a:lnTo>
                        <a:pt x="67" y="5"/>
                      </a:lnTo>
                      <a:lnTo>
                        <a:pt x="75" y="9"/>
                      </a:lnTo>
                      <a:lnTo>
                        <a:pt x="80" y="14"/>
                      </a:lnTo>
                      <a:lnTo>
                        <a:pt x="84" y="14"/>
                      </a:lnTo>
                      <a:lnTo>
                        <a:pt x="89" y="18"/>
                      </a:lnTo>
                      <a:lnTo>
                        <a:pt x="75" y="27"/>
                      </a:lnTo>
                      <a:lnTo>
                        <a:pt x="71" y="27"/>
                      </a:lnTo>
                      <a:lnTo>
                        <a:pt x="58" y="36"/>
                      </a:lnTo>
                      <a:lnTo>
                        <a:pt x="49" y="36"/>
                      </a:lnTo>
                      <a:lnTo>
                        <a:pt x="40" y="41"/>
                      </a:lnTo>
                      <a:lnTo>
                        <a:pt x="40" y="45"/>
                      </a:lnTo>
                      <a:lnTo>
                        <a:pt x="31" y="50"/>
                      </a:lnTo>
                      <a:lnTo>
                        <a:pt x="31" y="41"/>
                      </a:lnTo>
                      <a:lnTo>
                        <a:pt x="22" y="45"/>
                      </a:lnTo>
                      <a:lnTo>
                        <a:pt x="22" y="32"/>
                      </a:lnTo>
                      <a:lnTo>
                        <a:pt x="13" y="32"/>
                      </a:lnTo>
                      <a:lnTo>
                        <a:pt x="8" y="27"/>
                      </a:lnTo>
                      <a:lnTo>
                        <a:pt x="0" y="27"/>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54" name="Freeform 87">
                  <a:extLst>
                    <a:ext uri="{FF2B5EF4-FFF2-40B4-BE49-F238E27FC236}">
                      <a16:creationId xmlns:a16="http://schemas.microsoft.com/office/drawing/2014/main" id="{D680B7AB-D093-4A21-B43B-A6862CECBBDE}"/>
                    </a:ext>
                  </a:extLst>
                </p:cNvPr>
                <p:cNvSpPr>
                  <a:spLocks/>
                </p:cNvSpPr>
                <p:nvPr/>
              </p:nvSpPr>
              <p:spPr bwMode="gray">
                <a:xfrm>
                  <a:off x="1561" y="2502"/>
                  <a:ext cx="32" cy="18"/>
                </a:xfrm>
                <a:custGeom>
                  <a:avLst/>
                  <a:gdLst>
                    <a:gd name="T0" fmla="*/ 0 w 32"/>
                    <a:gd name="T1" fmla="*/ 5 h 18"/>
                    <a:gd name="T2" fmla="*/ 9 w 32"/>
                    <a:gd name="T3" fmla="*/ 14 h 18"/>
                    <a:gd name="T4" fmla="*/ 9 w 32"/>
                    <a:gd name="T5" fmla="*/ 14 h 18"/>
                    <a:gd name="T6" fmla="*/ 18 w 32"/>
                    <a:gd name="T7" fmla="*/ 18 h 18"/>
                    <a:gd name="T8" fmla="*/ 32 w 32"/>
                    <a:gd name="T9" fmla="*/ 14 h 18"/>
                    <a:gd name="T10" fmla="*/ 32 w 32"/>
                    <a:gd name="T11" fmla="*/ 9 h 18"/>
                    <a:gd name="T12" fmla="*/ 23 w 32"/>
                    <a:gd name="T13" fmla="*/ 0 h 18"/>
                    <a:gd name="T14" fmla="*/ 5 w 32"/>
                    <a:gd name="T15" fmla="*/ 0 h 18"/>
                    <a:gd name="T16" fmla="*/ 0 w 32"/>
                    <a:gd name="T17"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8">
                      <a:moveTo>
                        <a:pt x="0" y="5"/>
                      </a:moveTo>
                      <a:lnTo>
                        <a:pt x="9" y="14"/>
                      </a:lnTo>
                      <a:lnTo>
                        <a:pt x="9" y="14"/>
                      </a:lnTo>
                      <a:lnTo>
                        <a:pt x="18" y="18"/>
                      </a:lnTo>
                      <a:lnTo>
                        <a:pt x="32" y="14"/>
                      </a:lnTo>
                      <a:lnTo>
                        <a:pt x="32" y="9"/>
                      </a:lnTo>
                      <a:lnTo>
                        <a:pt x="23" y="0"/>
                      </a:lnTo>
                      <a:lnTo>
                        <a:pt x="5" y="0"/>
                      </a:lnTo>
                      <a:lnTo>
                        <a:pt x="0" y="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55" name="Freeform 88">
                  <a:extLst>
                    <a:ext uri="{FF2B5EF4-FFF2-40B4-BE49-F238E27FC236}">
                      <a16:creationId xmlns:a16="http://schemas.microsoft.com/office/drawing/2014/main" id="{00093440-9AC9-4E4F-822D-CC5EFB8D830C}"/>
                    </a:ext>
                  </a:extLst>
                </p:cNvPr>
                <p:cNvSpPr>
                  <a:spLocks/>
                </p:cNvSpPr>
                <p:nvPr/>
              </p:nvSpPr>
              <p:spPr bwMode="gray">
                <a:xfrm>
                  <a:off x="1811" y="2560"/>
                  <a:ext cx="5" cy="9"/>
                </a:xfrm>
                <a:custGeom>
                  <a:avLst/>
                  <a:gdLst>
                    <a:gd name="T0" fmla="*/ 5 w 5"/>
                    <a:gd name="T1" fmla="*/ 9 h 9"/>
                    <a:gd name="T2" fmla="*/ 5 w 5"/>
                    <a:gd name="T3" fmla="*/ 5 h 9"/>
                    <a:gd name="T4" fmla="*/ 0 w 5"/>
                    <a:gd name="T5" fmla="*/ 0 h 9"/>
                    <a:gd name="T6" fmla="*/ 0 w 5"/>
                    <a:gd name="T7" fmla="*/ 0 h 9"/>
                    <a:gd name="T8" fmla="*/ 0 w 5"/>
                    <a:gd name="T9" fmla="*/ 9 h 9"/>
                    <a:gd name="T10" fmla="*/ 5 w 5"/>
                    <a:gd name="T11" fmla="*/ 9 h 9"/>
                  </a:gdLst>
                  <a:ahLst/>
                  <a:cxnLst>
                    <a:cxn ang="0">
                      <a:pos x="T0" y="T1"/>
                    </a:cxn>
                    <a:cxn ang="0">
                      <a:pos x="T2" y="T3"/>
                    </a:cxn>
                    <a:cxn ang="0">
                      <a:pos x="T4" y="T5"/>
                    </a:cxn>
                    <a:cxn ang="0">
                      <a:pos x="T6" y="T7"/>
                    </a:cxn>
                    <a:cxn ang="0">
                      <a:pos x="T8" y="T9"/>
                    </a:cxn>
                    <a:cxn ang="0">
                      <a:pos x="T10" y="T11"/>
                    </a:cxn>
                  </a:cxnLst>
                  <a:rect l="0" t="0" r="r" b="b"/>
                  <a:pathLst>
                    <a:path w="5" h="9">
                      <a:moveTo>
                        <a:pt x="5" y="9"/>
                      </a:moveTo>
                      <a:lnTo>
                        <a:pt x="5" y="5"/>
                      </a:lnTo>
                      <a:lnTo>
                        <a:pt x="0" y="0"/>
                      </a:lnTo>
                      <a:lnTo>
                        <a:pt x="0" y="0"/>
                      </a:lnTo>
                      <a:lnTo>
                        <a:pt x="0" y="9"/>
                      </a:lnTo>
                      <a:lnTo>
                        <a:pt x="5" y="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56" name="Freeform 89">
                  <a:extLst>
                    <a:ext uri="{FF2B5EF4-FFF2-40B4-BE49-F238E27FC236}">
                      <a16:creationId xmlns:a16="http://schemas.microsoft.com/office/drawing/2014/main" id="{261F8E91-D172-4831-906D-F8596EDB11F3}"/>
                    </a:ext>
                  </a:extLst>
                </p:cNvPr>
                <p:cNvSpPr>
                  <a:spLocks/>
                </p:cNvSpPr>
                <p:nvPr/>
              </p:nvSpPr>
              <p:spPr bwMode="gray">
                <a:xfrm>
                  <a:off x="1003" y="2279"/>
                  <a:ext cx="442" cy="290"/>
                </a:xfrm>
                <a:custGeom>
                  <a:avLst/>
                  <a:gdLst>
                    <a:gd name="T0" fmla="*/ 4 w 442"/>
                    <a:gd name="T1" fmla="*/ 9 h 290"/>
                    <a:gd name="T2" fmla="*/ 36 w 442"/>
                    <a:gd name="T3" fmla="*/ 53 h 290"/>
                    <a:gd name="T4" fmla="*/ 49 w 442"/>
                    <a:gd name="T5" fmla="*/ 80 h 290"/>
                    <a:gd name="T6" fmla="*/ 40 w 442"/>
                    <a:gd name="T7" fmla="*/ 94 h 290"/>
                    <a:gd name="T8" fmla="*/ 71 w 442"/>
                    <a:gd name="T9" fmla="*/ 107 h 290"/>
                    <a:gd name="T10" fmla="*/ 80 w 442"/>
                    <a:gd name="T11" fmla="*/ 134 h 290"/>
                    <a:gd name="T12" fmla="*/ 80 w 442"/>
                    <a:gd name="T13" fmla="*/ 129 h 290"/>
                    <a:gd name="T14" fmla="*/ 116 w 442"/>
                    <a:gd name="T15" fmla="*/ 147 h 290"/>
                    <a:gd name="T16" fmla="*/ 107 w 442"/>
                    <a:gd name="T17" fmla="*/ 134 h 290"/>
                    <a:gd name="T18" fmla="*/ 98 w 442"/>
                    <a:gd name="T19" fmla="*/ 138 h 290"/>
                    <a:gd name="T20" fmla="*/ 94 w 442"/>
                    <a:gd name="T21" fmla="*/ 111 h 290"/>
                    <a:gd name="T22" fmla="*/ 80 w 442"/>
                    <a:gd name="T23" fmla="*/ 94 h 290"/>
                    <a:gd name="T24" fmla="*/ 63 w 442"/>
                    <a:gd name="T25" fmla="*/ 58 h 290"/>
                    <a:gd name="T26" fmla="*/ 49 w 442"/>
                    <a:gd name="T27" fmla="*/ 49 h 290"/>
                    <a:gd name="T28" fmla="*/ 58 w 442"/>
                    <a:gd name="T29" fmla="*/ 22 h 290"/>
                    <a:gd name="T30" fmla="*/ 67 w 442"/>
                    <a:gd name="T31" fmla="*/ 58 h 290"/>
                    <a:gd name="T32" fmla="*/ 76 w 442"/>
                    <a:gd name="T33" fmla="*/ 62 h 290"/>
                    <a:gd name="T34" fmla="*/ 89 w 442"/>
                    <a:gd name="T35" fmla="*/ 80 h 290"/>
                    <a:gd name="T36" fmla="*/ 103 w 442"/>
                    <a:gd name="T37" fmla="*/ 89 h 290"/>
                    <a:gd name="T38" fmla="*/ 121 w 442"/>
                    <a:gd name="T39" fmla="*/ 103 h 290"/>
                    <a:gd name="T40" fmla="*/ 130 w 442"/>
                    <a:gd name="T41" fmla="*/ 120 h 290"/>
                    <a:gd name="T42" fmla="*/ 170 w 442"/>
                    <a:gd name="T43" fmla="*/ 165 h 290"/>
                    <a:gd name="T44" fmla="*/ 174 w 442"/>
                    <a:gd name="T45" fmla="*/ 196 h 290"/>
                    <a:gd name="T46" fmla="*/ 201 w 442"/>
                    <a:gd name="T47" fmla="*/ 232 h 290"/>
                    <a:gd name="T48" fmla="*/ 259 w 442"/>
                    <a:gd name="T49" fmla="*/ 259 h 290"/>
                    <a:gd name="T50" fmla="*/ 317 w 442"/>
                    <a:gd name="T51" fmla="*/ 268 h 290"/>
                    <a:gd name="T52" fmla="*/ 357 w 442"/>
                    <a:gd name="T53" fmla="*/ 290 h 290"/>
                    <a:gd name="T54" fmla="*/ 384 w 442"/>
                    <a:gd name="T55" fmla="*/ 263 h 290"/>
                    <a:gd name="T56" fmla="*/ 393 w 442"/>
                    <a:gd name="T57" fmla="*/ 237 h 290"/>
                    <a:gd name="T58" fmla="*/ 411 w 442"/>
                    <a:gd name="T59" fmla="*/ 228 h 290"/>
                    <a:gd name="T60" fmla="*/ 429 w 442"/>
                    <a:gd name="T61" fmla="*/ 214 h 290"/>
                    <a:gd name="T62" fmla="*/ 433 w 442"/>
                    <a:gd name="T63" fmla="*/ 205 h 290"/>
                    <a:gd name="T64" fmla="*/ 438 w 442"/>
                    <a:gd name="T65" fmla="*/ 183 h 290"/>
                    <a:gd name="T66" fmla="*/ 398 w 442"/>
                    <a:gd name="T67" fmla="*/ 183 h 290"/>
                    <a:gd name="T68" fmla="*/ 384 w 442"/>
                    <a:gd name="T69" fmla="*/ 210 h 290"/>
                    <a:gd name="T70" fmla="*/ 366 w 442"/>
                    <a:gd name="T71" fmla="*/ 223 h 290"/>
                    <a:gd name="T72" fmla="*/ 326 w 442"/>
                    <a:gd name="T73" fmla="*/ 232 h 290"/>
                    <a:gd name="T74" fmla="*/ 299 w 442"/>
                    <a:gd name="T75" fmla="*/ 205 h 290"/>
                    <a:gd name="T76" fmla="*/ 286 w 442"/>
                    <a:gd name="T77" fmla="*/ 179 h 290"/>
                    <a:gd name="T78" fmla="*/ 286 w 442"/>
                    <a:gd name="T79" fmla="*/ 143 h 290"/>
                    <a:gd name="T80" fmla="*/ 281 w 442"/>
                    <a:gd name="T81" fmla="*/ 134 h 290"/>
                    <a:gd name="T82" fmla="*/ 290 w 442"/>
                    <a:gd name="T83" fmla="*/ 111 h 290"/>
                    <a:gd name="T84" fmla="*/ 255 w 442"/>
                    <a:gd name="T85" fmla="*/ 85 h 290"/>
                    <a:gd name="T86" fmla="*/ 201 w 442"/>
                    <a:gd name="T87" fmla="*/ 67 h 290"/>
                    <a:gd name="T88" fmla="*/ 156 w 442"/>
                    <a:gd name="T89" fmla="*/ 18 h 290"/>
                    <a:gd name="T90" fmla="*/ 89 w 442"/>
                    <a:gd name="T91" fmla="*/ 27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2" h="290">
                      <a:moveTo>
                        <a:pt x="0" y="4"/>
                      </a:moveTo>
                      <a:lnTo>
                        <a:pt x="0" y="9"/>
                      </a:lnTo>
                      <a:lnTo>
                        <a:pt x="4" y="9"/>
                      </a:lnTo>
                      <a:lnTo>
                        <a:pt x="18" y="36"/>
                      </a:lnTo>
                      <a:lnTo>
                        <a:pt x="22" y="49"/>
                      </a:lnTo>
                      <a:lnTo>
                        <a:pt x="36" y="53"/>
                      </a:lnTo>
                      <a:lnTo>
                        <a:pt x="45" y="67"/>
                      </a:lnTo>
                      <a:lnTo>
                        <a:pt x="45" y="76"/>
                      </a:lnTo>
                      <a:lnTo>
                        <a:pt x="49" y="80"/>
                      </a:lnTo>
                      <a:lnTo>
                        <a:pt x="40" y="76"/>
                      </a:lnTo>
                      <a:lnTo>
                        <a:pt x="31" y="80"/>
                      </a:lnTo>
                      <a:lnTo>
                        <a:pt x="40" y="94"/>
                      </a:lnTo>
                      <a:lnTo>
                        <a:pt x="54" y="98"/>
                      </a:lnTo>
                      <a:lnTo>
                        <a:pt x="58" y="94"/>
                      </a:lnTo>
                      <a:lnTo>
                        <a:pt x="71" y="107"/>
                      </a:lnTo>
                      <a:lnTo>
                        <a:pt x="71" y="134"/>
                      </a:lnTo>
                      <a:lnTo>
                        <a:pt x="80" y="138"/>
                      </a:lnTo>
                      <a:lnTo>
                        <a:pt x="80" y="134"/>
                      </a:lnTo>
                      <a:lnTo>
                        <a:pt x="76" y="134"/>
                      </a:lnTo>
                      <a:lnTo>
                        <a:pt x="76" y="129"/>
                      </a:lnTo>
                      <a:lnTo>
                        <a:pt x="80" y="129"/>
                      </a:lnTo>
                      <a:lnTo>
                        <a:pt x="85" y="138"/>
                      </a:lnTo>
                      <a:lnTo>
                        <a:pt x="107" y="161"/>
                      </a:lnTo>
                      <a:lnTo>
                        <a:pt x="116" y="147"/>
                      </a:lnTo>
                      <a:lnTo>
                        <a:pt x="112" y="138"/>
                      </a:lnTo>
                      <a:lnTo>
                        <a:pt x="112" y="134"/>
                      </a:lnTo>
                      <a:lnTo>
                        <a:pt x="107" y="134"/>
                      </a:lnTo>
                      <a:lnTo>
                        <a:pt x="107" y="138"/>
                      </a:lnTo>
                      <a:lnTo>
                        <a:pt x="103" y="134"/>
                      </a:lnTo>
                      <a:lnTo>
                        <a:pt x="98" y="138"/>
                      </a:lnTo>
                      <a:lnTo>
                        <a:pt x="94" y="120"/>
                      </a:lnTo>
                      <a:lnTo>
                        <a:pt x="89" y="111"/>
                      </a:lnTo>
                      <a:lnTo>
                        <a:pt x="94" y="111"/>
                      </a:lnTo>
                      <a:lnTo>
                        <a:pt x="94" y="107"/>
                      </a:lnTo>
                      <a:lnTo>
                        <a:pt x="89" y="107"/>
                      </a:lnTo>
                      <a:lnTo>
                        <a:pt x="80" y="94"/>
                      </a:lnTo>
                      <a:lnTo>
                        <a:pt x="80" y="98"/>
                      </a:lnTo>
                      <a:lnTo>
                        <a:pt x="58" y="62"/>
                      </a:lnTo>
                      <a:lnTo>
                        <a:pt x="63" y="58"/>
                      </a:lnTo>
                      <a:lnTo>
                        <a:pt x="54" y="53"/>
                      </a:lnTo>
                      <a:lnTo>
                        <a:pt x="54" y="58"/>
                      </a:lnTo>
                      <a:lnTo>
                        <a:pt x="49" y="49"/>
                      </a:lnTo>
                      <a:lnTo>
                        <a:pt x="40" y="44"/>
                      </a:lnTo>
                      <a:lnTo>
                        <a:pt x="36" y="18"/>
                      </a:lnTo>
                      <a:lnTo>
                        <a:pt x="58" y="22"/>
                      </a:lnTo>
                      <a:lnTo>
                        <a:pt x="58" y="31"/>
                      </a:lnTo>
                      <a:lnTo>
                        <a:pt x="71" y="58"/>
                      </a:lnTo>
                      <a:lnTo>
                        <a:pt x="67" y="58"/>
                      </a:lnTo>
                      <a:lnTo>
                        <a:pt x="67" y="67"/>
                      </a:lnTo>
                      <a:lnTo>
                        <a:pt x="71" y="67"/>
                      </a:lnTo>
                      <a:lnTo>
                        <a:pt x="76" y="62"/>
                      </a:lnTo>
                      <a:lnTo>
                        <a:pt x="71" y="58"/>
                      </a:lnTo>
                      <a:lnTo>
                        <a:pt x="80" y="67"/>
                      </a:lnTo>
                      <a:lnTo>
                        <a:pt x="89" y="80"/>
                      </a:lnTo>
                      <a:lnTo>
                        <a:pt x="94" y="80"/>
                      </a:lnTo>
                      <a:lnTo>
                        <a:pt x="98" y="89"/>
                      </a:lnTo>
                      <a:lnTo>
                        <a:pt x="103" y="89"/>
                      </a:lnTo>
                      <a:lnTo>
                        <a:pt x="112" y="98"/>
                      </a:lnTo>
                      <a:lnTo>
                        <a:pt x="116" y="98"/>
                      </a:lnTo>
                      <a:lnTo>
                        <a:pt x="121" y="103"/>
                      </a:lnTo>
                      <a:lnTo>
                        <a:pt x="116" y="116"/>
                      </a:lnTo>
                      <a:lnTo>
                        <a:pt x="121" y="120"/>
                      </a:lnTo>
                      <a:lnTo>
                        <a:pt x="130" y="120"/>
                      </a:lnTo>
                      <a:lnTo>
                        <a:pt x="152" y="147"/>
                      </a:lnTo>
                      <a:lnTo>
                        <a:pt x="152" y="152"/>
                      </a:lnTo>
                      <a:lnTo>
                        <a:pt x="170" y="165"/>
                      </a:lnTo>
                      <a:lnTo>
                        <a:pt x="174" y="187"/>
                      </a:lnTo>
                      <a:lnTo>
                        <a:pt x="174" y="192"/>
                      </a:lnTo>
                      <a:lnTo>
                        <a:pt x="174" y="196"/>
                      </a:lnTo>
                      <a:lnTo>
                        <a:pt x="170" y="201"/>
                      </a:lnTo>
                      <a:lnTo>
                        <a:pt x="174" y="210"/>
                      </a:lnTo>
                      <a:lnTo>
                        <a:pt x="201" y="232"/>
                      </a:lnTo>
                      <a:lnTo>
                        <a:pt x="228" y="237"/>
                      </a:lnTo>
                      <a:lnTo>
                        <a:pt x="237" y="254"/>
                      </a:lnTo>
                      <a:lnTo>
                        <a:pt x="259" y="259"/>
                      </a:lnTo>
                      <a:lnTo>
                        <a:pt x="295" y="277"/>
                      </a:lnTo>
                      <a:lnTo>
                        <a:pt x="308" y="272"/>
                      </a:lnTo>
                      <a:lnTo>
                        <a:pt x="317" y="268"/>
                      </a:lnTo>
                      <a:lnTo>
                        <a:pt x="331" y="268"/>
                      </a:lnTo>
                      <a:lnTo>
                        <a:pt x="339" y="272"/>
                      </a:lnTo>
                      <a:lnTo>
                        <a:pt x="357" y="290"/>
                      </a:lnTo>
                      <a:lnTo>
                        <a:pt x="362" y="268"/>
                      </a:lnTo>
                      <a:lnTo>
                        <a:pt x="384" y="268"/>
                      </a:lnTo>
                      <a:lnTo>
                        <a:pt x="384" y="263"/>
                      </a:lnTo>
                      <a:lnTo>
                        <a:pt x="371" y="246"/>
                      </a:lnTo>
                      <a:lnTo>
                        <a:pt x="375" y="237"/>
                      </a:lnTo>
                      <a:lnTo>
                        <a:pt x="393" y="237"/>
                      </a:lnTo>
                      <a:lnTo>
                        <a:pt x="398" y="241"/>
                      </a:lnTo>
                      <a:lnTo>
                        <a:pt x="402" y="237"/>
                      </a:lnTo>
                      <a:lnTo>
                        <a:pt x="411" y="228"/>
                      </a:lnTo>
                      <a:lnTo>
                        <a:pt x="415" y="223"/>
                      </a:lnTo>
                      <a:lnTo>
                        <a:pt x="420" y="232"/>
                      </a:lnTo>
                      <a:lnTo>
                        <a:pt x="429" y="214"/>
                      </a:lnTo>
                      <a:lnTo>
                        <a:pt x="424" y="210"/>
                      </a:lnTo>
                      <a:lnTo>
                        <a:pt x="433" y="201"/>
                      </a:lnTo>
                      <a:lnTo>
                        <a:pt x="433" y="205"/>
                      </a:lnTo>
                      <a:lnTo>
                        <a:pt x="442" y="196"/>
                      </a:lnTo>
                      <a:lnTo>
                        <a:pt x="438" y="196"/>
                      </a:lnTo>
                      <a:lnTo>
                        <a:pt x="438" y="183"/>
                      </a:lnTo>
                      <a:lnTo>
                        <a:pt x="433" y="179"/>
                      </a:lnTo>
                      <a:lnTo>
                        <a:pt x="415" y="179"/>
                      </a:lnTo>
                      <a:lnTo>
                        <a:pt x="398" y="183"/>
                      </a:lnTo>
                      <a:lnTo>
                        <a:pt x="384" y="192"/>
                      </a:lnTo>
                      <a:lnTo>
                        <a:pt x="389" y="192"/>
                      </a:lnTo>
                      <a:lnTo>
                        <a:pt x="384" y="210"/>
                      </a:lnTo>
                      <a:lnTo>
                        <a:pt x="375" y="219"/>
                      </a:lnTo>
                      <a:lnTo>
                        <a:pt x="380" y="223"/>
                      </a:lnTo>
                      <a:lnTo>
                        <a:pt x="366" y="223"/>
                      </a:lnTo>
                      <a:lnTo>
                        <a:pt x="366" y="219"/>
                      </a:lnTo>
                      <a:lnTo>
                        <a:pt x="339" y="228"/>
                      </a:lnTo>
                      <a:lnTo>
                        <a:pt x="326" y="232"/>
                      </a:lnTo>
                      <a:lnTo>
                        <a:pt x="322" y="228"/>
                      </a:lnTo>
                      <a:lnTo>
                        <a:pt x="308" y="219"/>
                      </a:lnTo>
                      <a:lnTo>
                        <a:pt x="299" y="205"/>
                      </a:lnTo>
                      <a:lnTo>
                        <a:pt x="290" y="196"/>
                      </a:lnTo>
                      <a:lnTo>
                        <a:pt x="286" y="187"/>
                      </a:lnTo>
                      <a:lnTo>
                        <a:pt x="286" y="179"/>
                      </a:lnTo>
                      <a:lnTo>
                        <a:pt x="281" y="174"/>
                      </a:lnTo>
                      <a:lnTo>
                        <a:pt x="281" y="156"/>
                      </a:lnTo>
                      <a:lnTo>
                        <a:pt x="286" y="143"/>
                      </a:lnTo>
                      <a:lnTo>
                        <a:pt x="281" y="138"/>
                      </a:lnTo>
                      <a:lnTo>
                        <a:pt x="281" y="138"/>
                      </a:lnTo>
                      <a:lnTo>
                        <a:pt x="281" y="134"/>
                      </a:lnTo>
                      <a:lnTo>
                        <a:pt x="281" y="134"/>
                      </a:lnTo>
                      <a:lnTo>
                        <a:pt x="286" y="125"/>
                      </a:lnTo>
                      <a:lnTo>
                        <a:pt x="290" y="111"/>
                      </a:lnTo>
                      <a:lnTo>
                        <a:pt x="286" y="111"/>
                      </a:lnTo>
                      <a:lnTo>
                        <a:pt x="264" y="103"/>
                      </a:lnTo>
                      <a:lnTo>
                        <a:pt x="255" y="85"/>
                      </a:lnTo>
                      <a:lnTo>
                        <a:pt x="228" y="53"/>
                      </a:lnTo>
                      <a:lnTo>
                        <a:pt x="214" y="49"/>
                      </a:lnTo>
                      <a:lnTo>
                        <a:pt x="201" y="67"/>
                      </a:lnTo>
                      <a:lnTo>
                        <a:pt x="183" y="53"/>
                      </a:lnTo>
                      <a:lnTo>
                        <a:pt x="179" y="31"/>
                      </a:lnTo>
                      <a:lnTo>
                        <a:pt x="156" y="18"/>
                      </a:lnTo>
                      <a:lnTo>
                        <a:pt x="130" y="18"/>
                      </a:lnTo>
                      <a:lnTo>
                        <a:pt x="134" y="27"/>
                      </a:lnTo>
                      <a:lnTo>
                        <a:pt x="89" y="27"/>
                      </a:lnTo>
                      <a:lnTo>
                        <a:pt x="36" y="0"/>
                      </a:lnTo>
                      <a:lnTo>
                        <a:pt x="0" y="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57" name="Freeform 90">
                  <a:extLst>
                    <a:ext uri="{FF2B5EF4-FFF2-40B4-BE49-F238E27FC236}">
                      <a16:creationId xmlns:a16="http://schemas.microsoft.com/office/drawing/2014/main" id="{9881E051-FD08-4D2F-A5CC-709D3840C3A2}"/>
                    </a:ext>
                  </a:extLst>
                </p:cNvPr>
                <p:cNvSpPr>
                  <a:spLocks noEditPoints="1"/>
                </p:cNvSpPr>
                <p:nvPr/>
              </p:nvSpPr>
              <p:spPr bwMode="gray">
                <a:xfrm>
                  <a:off x="1691" y="2596"/>
                  <a:ext cx="18" cy="9"/>
                </a:xfrm>
                <a:custGeom>
                  <a:avLst/>
                  <a:gdLst>
                    <a:gd name="T0" fmla="*/ 9 w 18"/>
                    <a:gd name="T1" fmla="*/ 9 h 9"/>
                    <a:gd name="T2" fmla="*/ 9 w 18"/>
                    <a:gd name="T3" fmla="*/ 9 h 9"/>
                    <a:gd name="T4" fmla="*/ 13 w 18"/>
                    <a:gd name="T5" fmla="*/ 5 h 9"/>
                    <a:gd name="T6" fmla="*/ 4 w 18"/>
                    <a:gd name="T7" fmla="*/ 0 h 9"/>
                    <a:gd name="T8" fmla="*/ 0 w 18"/>
                    <a:gd name="T9" fmla="*/ 5 h 9"/>
                    <a:gd name="T10" fmla="*/ 9 w 18"/>
                    <a:gd name="T11" fmla="*/ 9 h 9"/>
                    <a:gd name="T12" fmla="*/ 18 w 18"/>
                    <a:gd name="T13" fmla="*/ 9 h 9"/>
                    <a:gd name="T14" fmla="*/ 18 w 18"/>
                    <a:gd name="T15" fmla="*/ 5 h 9"/>
                    <a:gd name="T16" fmla="*/ 13 w 18"/>
                    <a:gd name="T17" fmla="*/ 5 h 9"/>
                    <a:gd name="T18" fmla="*/ 13 w 18"/>
                    <a:gd name="T19" fmla="*/ 5 h 9"/>
                    <a:gd name="T20" fmla="*/ 18 w 18"/>
                    <a:gd name="T21" fmla="*/ 5 h 9"/>
                    <a:gd name="T22" fmla="*/ 18 w 18"/>
                    <a:gd name="T23" fmla="*/ 9 h 9"/>
                    <a:gd name="T24" fmla="*/ 18 w 18"/>
                    <a:gd name="T25"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9">
                      <a:moveTo>
                        <a:pt x="9" y="9"/>
                      </a:moveTo>
                      <a:lnTo>
                        <a:pt x="9" y="9"/>
                      </a:lnTo>
                      <a:lnTo>
                        <a:pt x="13" y="5"/>
                      </a:lnTo>
                      <a:lnTo>
                        <a:pt x="4" y="0"/>
                      </a:lnTo>
                      <a:lnTo>
                        <a:pt x="0" y="5"/>
                      </a:lnTo>
                      <a:lnTo>
                        <a:pt x="9" y="9"/>
                      </a:lnTo>
                      <a:close/>
                      <a:moveTo>
                        <a:pt x="18" y="9"/>
                      </a:moveTo>
                      <a:lnTo>
                        <a:pt x="18" y="5"/>
                      </a:lnTo>
                      <a:lnTo>
                        <a:pt x="13" y="5"/>
                      </a:lnTo>
                      <a:lnTo>
                        <a:pt x="13" y="5"/>
                      </a:lnTo>
                      <a:lnTo>
                        <a:pt x="18" y="5"/>
                      </a:lnTo>
                      <a:lnTo>
                        <a:pt x="18" y="9"/>
                      </a:lnTo>
                      <a:lnTo>
                        <a:pt x="18" y="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58" name="Freeform 91">
                  <a:extLst>
                    <a:ext uri="{FF2B5EF4-FFF2-40B4-BE49-F238E27FC236}">
                      <a16:creationId xmlns:a16="http://schemas.microsoft.com/office/drawing/2014/main" id="{2DE766E7-8FEE-4812-8CFD-5C95A9DEF377}"/>
                    </a:ext>
                  </a:extLst>
                </p:cNvPr>
                <p:cNvSpPr>
                  <a:spLocks/>
                </p:cNvSpPr>
                <p:nvPr/>
              </p:nvSpPr>
              <p:spPr bwMode="gray">
                <a:xfrm>
                  <a:off x="1427" y="2560"/>
                  <a:ext cx="67" cy="63"/>
                </a:xfrm>
                <a:custGeom>
                  <a:avLst/>
                  <a:gdLst>
                    <a:gd name="T0" fmla="*/ 5 w 67"/>
                    <a:gd name="T1" fmla="*/ 32 h 63"/>
                    <a:gd name="T2" fmla="*/ 0 w 67"/>
                    <a:gd name="T3" fmla="*/ 36 h 63"/>
                    <a:gd name="T4" fmla="*/ 27 w 67"/>
                    <a:gd name="T5" fmla="*/ 58 h 63"/>
                    <a:gd name="T6" fmla="*/ 45 w 67"/>
                    <a:gd name="T7" fmla="*/ 58 h 63"/>
                    <a:gd name="T8" fmla="*/ 58 w 67"/>
                    <a:gd name="T9" fmla="*/ 63 h 63"/>
                    <a:gd name="T10" fmla="*/ 58 w 67"/>
                    <a:gd name="T11" fmla="*/ 63 h 63"/>
                    <a:gd name="T12" fmla="*/ 58 w 67"/>
                    <a:gd name="T13" fmla="*/ 54 h 63"/>
                    <a:gd name="T14" fmla="*/ 63 w 67"/>
                    <a:gd name="T15" fmla="*/ 54 h 63"/>
                    <a:gd name="T16" fmla="*/ 58 w 67"/>
                    <a:gd name="T17" fmla="*/ 41 h 63"/>
                    <a:gd name="T18" fmla="*/ 63 w 67"/>
                    <a:gd name="T19" fmla="*/ 36 h 63"/>
                    <a:gd name="T20" fmla="*/ 63 w 67"/>
                    <a:gd name="T21" fmla="*/ 27 h 63"/>
                    <a:gd name="T22" fmla="*/ 67 w 67"/>
                    <a:gd name="T23" fmla="*/ 9 h 63"/>
                    <a:gd name="T24" fmla="*/ 63 w 67"/>
                    <a:gd name="T25" fmla="*/ 5 h 63"/>
                    <a:gd name="T26" fmla="*/ 63 w 67"/>
                    <a:gd name="T27" fmla="*/ 0 h 63"/>
                    <a:gd name="T28" fmla="*/ 49 w 67"/>
                    <a:gd name="T29" fmla="*/ 9 h 63"/>
                    <a:gd name="T30" fmla="*/ 45 w 67"/>
                    <a:gd name="T31" fmla="*/ 9 h 63"/>
                    <a:gd name="T32" fmla="*/ 32 w 67"/>
                    <a:gd name="T33" fmla="*/ 18 h 63"/>
                    <a:gd name="T34" fmla="*/ 23 w 67"/>
                    <a:gd name="T35" fmla="*/ 18 h 63"/>
                    <a:gd name="T36" fmla="*/ 14 w 67"/>
                    <a:gd name="T37" fmla="*/ 23 h 63"/>
                    <a:gd name="T38" fmla="*/ 14 w 67"/>
                    <a:gd name="T39" fmla="*/ 27 h 63"/>
                    <a:gd name="T40" fmla="*/ 5 w 67"/>
                    <a:gd name="T41" fmla="*/ 3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7" h="63">
                      <a:moveTo>
                        <a:pt x="5" y="32"/>
                      </a:moveTo>
                      <a:lnTo>
                        <a:pt x="0" y="36"/>
                      </a:lnTo>
                      <a:lnTo>
                        <a:pt x="27" y="58"/>
                      </a:lnTo>
                      <a:lnTo>
                        <a:pt x="45" y="58"/>
                      </a:lnTo>
                      <a:lnTo>
                        <a:pt x="58" y="63"/>
                      </a:lnTo>
                      <a:lnTo>
                        <a:pt x="58" y="63"/>
                      </a:lnTo>
                      <a:lnTo>
                        <a:pt x="58" y="54"/>
                      </a:lnTo>
                      <a:lnTo>
                        <a:pt x="63" y="54"/>
                      </a:lnTo>
                      <a:lnTo>
                        <a:pt x="58" y="41"/>
                      </a:lnTo>
                      <a:lnTo>
                        <a:pt x="63" y="36"/>
                      </a:lnTo>
                      <a:lnTo>
                        <a:pt x="63" y="27"/>
                      </a:lnTo>
                      <a:lnTo>
                        <a:pt x="67" y="9"/>
                      </a:lnTo>
                      <a:lnTo>
                        <a:pt x="63" y="5"/>
                      </a:lnTo>
                      <a:lnTo>
                        <a:pt x="63" y="0"/>
                      </a:lnTo>
                      <a:lnTo>
                        <a:pt x="49" y="9"/>
                      </a:lnTo>
                      <a:lnTo>
                        <a:pt x="45" y="9"/>
                      </a:lnTo>
                      <a:lnTo>
                        <a:pt x="32" y="18"/>
                      </a:lnTo>
                      <a:lnTo>
                        <a:pt x="23" y="18"/>
                      </a:lnTo>
                      <a:lnTo>
                        <a:pt x="14" y="23"/>
                      </a:lnTo>
                      <a:lnTo>
                        <a:pt x="14" y="27"/>
                      </a:lnTo>
                      <a:lnTo>
                        <a:pt x="5" y="3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59" name="Freeform 92">
                  <a:extLst>
                    <a:ext uri="{FF2B5EF4-FFF2-40B4-BE49-F238E27FC236}">
                      <a16:creationId xmlns:a16="http://schemas.microsoft.com/office/drawing/2014/main" id="{F9123C97-9AAD-4721-87F0-35316F013144}"/>
                    </a:ext>
                  </a:extLst>
                </p:cNvPr>
                <p:cNvSpPr>
                  <a:spLocks/>
                </p:cNvSpPr>
                <p:nvPr/>
              </p:nvSpPr>
              <p:spPr bwMode="gray">
                <a:xfrm>
                  <a:off x="1494" y="2641"/>
                  <a:ext cx="81" cy="40"/>
                </a:xfrm>
                <a:custGeom>
                  <a:avLst/>
                  <a:gdLst>
                    <a:gd name="T0" fmla="*/ 0 w 81"/>
                    <a:gd name="T1" fmla="*/ 18 h 40"/>
                    <a:gd name="T2" fmla="*/ 0 w 81"/>
                    <a:gd name="T3" fmla="*/ 4 h 40"/>
                    <a:gd name="T4" fmla="*/ 9 w 81"/>
                    <a:gd name="T5" fmla="*/ 0 h 40"/>
                    <a:gd name="T6" fmla="*/ 14 w 81"/>
                    <a:gd name="T7" fmla="*/ 9 h 40"/>
                    <a:gd name="T8" fmla="*/ 18 w 81"/>
                    <a:gd name="T9" fmla="*/ 4 h 40"/>
                    <a:gd name="T10" fmla="*/ 27 w 81"/>
                    <a:gd name="T11" fmla="*/ 13 h 40"/>
                    <a:gd name="T12" fmla="*/ 49 w 81"/>
                    <a:gd name="T13" fmla="*/ 0 h 40"/>
                    <a:gd name="T14" fmla="*/ 58 w 81"/>
                    <a:gd name="T15" fmla="*/ 0 h 40"/>
                    <a:gd name="T16" fmla="*/ 72 w 81"/>
                    <a:gd name="T17" fmla="*/ 4 h 40"/>
                    <a:gd name="T18" fmla="*/ 81 w 81"/>
                    <a:gd name="T19" fmla="*/ 13 h 40"/>
                    <a:gd name="T20" fmla="*/ 81 w 81"/>
                    <a:gd name="T21" fmla="*/ 27 h 40"/>
                    <a:gd name="T22" fmla="*/ 72 w 81"/>
                    <a:gd name="T23" fmla="*/ 31 h 40"/>
                    <a:gd name="T24" fmla="*/ 72 w 81"/>
                    <a:gd name="T25" fmla="*/ 31 h 40"/>
                    <a:gd name="T26" fmla="*/ 67 w 81"/>
                    <a:gd name="T27" fmla="*/ 27 h 40"/>
                    <a:gd name="T28" fmla="*/ 72 w 81"/>
                    <a:gd name="T29" fmla="*/ 18 h 40"/>
                    <a:gd name="T30" fmla="*/ 58 w 81"/>
                    <a:gd name="T31" fmla="*/ 13 h 40"/>
                    <a:gd name="T32" fmla="*/ 49 w 81"/>
                    <a:gd name="T33" fmla="*/ 9 h 40"/>
                    <a:gd name="T34" fmla="*/ 45 w 81"/>
                    <a:gd name="T35" fmla="*/ 18 h 40"/>
                    <a:gd name="T36" fmla="*/ 41 w 81"/>
                    <a:gd name="T37" fmla="*/ 22 h 40"/>
                    <a:gd name="T38" fmla="*/ 45 w 81"/>
                    <a:gd name="T39" fmla="*/ 31 h 40"/>
                    <a:gd name="T40" fmla="*/ 32 w 81"/>
                    <a:gd name="T41" fmla="*/ 40 h 40"/>
                    <a:gd name="T42" fmla="*/ 27 w 81"/>
                    <a:gd name="T43" fmla="*/ 31 h 40"/>
                    <a:gd name="T44" fmla="*/ 18 w 81"/>
                    <a:gd name="T45" fmla="*/ 27 h 40"/>
                    <a:gd name="T46" fmla="*/ 9 w 81"/>
                    <a:gd name="T47" fmla="*/ 18 h 40"/>
                    <a:gd name="T48" fmla="*/ 5 w 81"/>
                    <a:gd name="T49" fmla="*/ 27 h 40"/>
                    <a:gd name="T50" fmla="*/ 0 w 81"/>
                    <a:gd name="T51" fmla="*/ 1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 h="40">
                      <a:moveTo>
                        <a:pt x="0" y="18"/>
                      </a:moveTo>
                      <a:lnTo>
                        <a:pt x="0" y="4"/>
                      </a:lnTo>
                      <a:lnTo>
                        <a:pt x="9" y="0"/>
                      </a:lnTo>
                      <a:lnTo>
                        <a:pt x="14" y="9"/>
                      </a:lnTo>
                      <a:lnTo>
                        <a:pt x="18" y="4"/>
                      </a:lnTo>
                      <a:lnTo>
                        <a:pt x="27" y="13"/>
                      </a:lnTo>
                      <a:lnTo>
                        <a:pt x="49" y="0"/>
                      </a:lnTo>
                      <a:lnTo>
                        <a:pt x="58" y="0"/>
                      </a:lnTo>
                      <a:lnTo>
                        <a:pt x="72" y="4"/>
                      </a:lnTo>
                      <a:lnTo>
                        <a:pt x="81" y="13"/>
                      </a:lnTo>
                      <a:lnTo>
                        <a:pt x="81" y="27"/>
                      </a:lnTo>
                      <a:lnTo>
                        <a:pt x="72" y="31"/>
                      </a:lnTo>
                      <a:lnTo>
                        <a:pt x="72" y="31"/>
                      </a:lnTo>
                      <a:lnTo>
                        <a:pt x="67" y="27"/>
                      </a:lnTo>
                      <a:lnTo>
                        <a:pt x="72" y="18"/>
                      </a:lnTo>
                      <a:lnTo>
                        <a:pt x="58" y="13"/>
                      </a:lnTo>
                      <a:lnTo>
                        <a:pt x="49" y="9"/>
                      </a:lnTo>
                      <a:lnTo>
                        <a:pt x="45" y="18"/>
                      </a:lnTo>
                      <a:lnTo>
                        <a:pt x="41" y="22"/>
                      </a:lnTo>
                      <a:lnTo>
                        <a:pt x="45" y="31"/>
                      </a:lnTo>
                      <a:lnTo>
                        <a:pt x="32" y="40"/>
                      </a:lnTo>
                      <a:lnTo>
                        <a:pt x="27" y="31"/>
                      </a:lnTo>
                      <a:lnTo>
                        <a:pt x="18" y="27"/>
                      </a:lnTo>
                      <a:lnTo>
                        <a:pt x="9" y="18"/>
                      </a:lnTo>
                      <a:lnTo>
                        <a:pt x="5" y="27"/>
                      </a:lnTo>
                      <a:lnTo>
                        <a:pt x="0" y="18"/>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60" name="Freeform 93">
                  <a:extLst>
                    <a:ext uri="{FF2B5EF4-FFF2-40B4-BE49-F238E27FC236}">
                      <a16:creationId xmlns:a16="http://schemas.microsoft.com/office/drawing/2014/main" id="{84FEA725-6674-4783-B766-35B81FEC3DD4}"/>
                    </a:ext>
                  </a:extLst>
                </p:cNvPr>
                <p:cNvSpPr>
                  <a:spLocks/>
                </p:cNvSpPr>
                <p:nvPr/>
              </p:nvSpPr>
              <p:spPr bwMode="gray">
                <a:xfrm>
                  <a:off x="1789" y="3070"/>
                  <a:ext cx="121" cy="129"/>
                </a:xfrm>
                <a:custGeom>
                  <a:avLst/>
                  <a:gdLst>
                    <a:gd name="T0" fmla="*/ 0 w 121"/>
                    <a:gd name="T1" fmla="*/ 44 h 129"/>
                    <a:gd name="T2" fmla="*/ 5 w 121"/>
                    <a:gd name="T3" fmla="*/ 31 h 129"/>
                    <a:gd name="T4" fmla="*/ 5 w 121"/>
                    <a:gd name="T5" fmla="*/ 18 h 129"/>
                    <a:gd name="T6" fmla="*/ 14 w 121"/>
                    <a:gd name="T7" fmla="*/ 9 h 129"/>
                    <a:gd name="T8" fmla="*/ 49 w 121"/>
                    <a:gd name="T9" fmla="*/ 0 h 129"/>
                    <a:gd name="T10" fmla="*/ 63 w 121"/>
                    <a:gd name="T11" fmla="*/ 4 h 129"/>
                    <a:gd name="T12" fmla="*/ 67 w 121"/>
                    <a:gd name="T13" fmla="*/ 18 h 129"/>
                    <a:gd name="T14" fmla="*/ 72 w 121"/>
                    <a:gd name="T15" fmla="*/ 13 h 129"/>
                    <a:gd name="T16" fmla="*/ 72 w 121"/>
                    <a:gd name="T17" fmla="*/ 27 h 129"/>
                    <a:gd name="T18" fmla="*/ 67 w 121"/>
                    <a:gd name="T19" fmla="*/ 44 h 129"/>
                    <a:gd name="T20" fmla="*/ 81 w 121"/>
                    <a:gd name="T21" fmla="*/ 44 h 129"/>
                    <a:gd name="T22" fmla="*/ 94 w 121"/>
                    <a:gd name="T23" fmla="*/ 40 h 129"/>
                    <a:gd name="T24" fmla="*/ 103 w 121"/>
                    <a:gd name="T25" fmla="*/ 49 h 129"/>
                    <a:gd name="T26" fmla="*/ 103 w 121"/>
                    <a:gd name="T27" fmla="*/ 76 h 129"/>
                    <a:gd name="T28" fmla="*/ 116 w 121"/>
                    <a:gd name="T29" fmla="*/ 71 h 129"/>
                    <a:gd name="T30" fmla="*/ 121 w 121"/>
                    <a:gd name="T31" fmla="*/ 76 h 129"/>
                    <a:gd name="T32" fmla="*/ 116 w 121"/>
                    <a:gd name="T33" fmla="*/ 94 h 129"/>
                    <a:gd name="T34" fmla="*/ 121 w 121"/>
                    <a:gd name="T35" fmla="*/ 98 h 129"/>
                    <a:gd name="T36" fmla="*/ 116 w 121"/>
                    <a:gd name="T37" fmla="*/ 116 h 129"/>
                    <a:gd name="T38" fmla="*/ 103 w 121"/>
                    <a:gd name="T39" fmla="*/ 129 h 129"/>
                    <a:gd name="T40" fmla="*/ 85 w 121"/>
                    <a:gd name="T41" fmla="*/ 129 h 129"/>
                    <a:gd name="T42" fmla="*/ 72 w 121"/>
                    <a:gd name="T43" fmla="*/ 125 h 129"/>
                    <a:gd name="T44" fmla="*/ 58 w 121"/>
                    <a:gd name="T45" fmla="*/ 125 h 129"/>
                    <a:gd name="T46" fmla="*/ 72 w 121"/>
                    <a:gd name="T47" fmla="*/ 98 h 129"/>
                    <a:gd name="T48" fmla="*/ 72 w 121"/>
                    <a:gd name="T49" fmla="*/ 89 h 129"/>
                    <a:gd name="T50" fmla="*/ 36 w 121"/>
                    <a:gd name="T51" fmla="*/ 71 h 129"/>
                    <a:gd name="T52" fmla="*/ 27 w 121"/>
                    <a:gd name="T53" fmla="*/ 71 h 129"/>
                    <a:gd name="T54" fmla="*/ 0 w 121"/>
                    <a:gd name="T55" fmla="*/ 4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1" h="129">
                      <a:moveTo>
                        <a:pt x="0" y="44"/>
                      </a:moveTo>
                      <a:lnTo>
                        <a:pt x="5" y="31"/>
                      </a:lnTo>
                      <a:lnTo>
                        <a:pt x="5" y="18"/>
                      </a:lnTo>
                      <a:lnTo>
                        <a:pt x="14" y="9"/>
                      </a:lnTo>
                      <a:lnTo>
                        <a:pt x="49" y="0"/>
                      </a:lnTo>
                      <a:lnTo>
                        <a:pt x="63" y="4"/>
                      </a:lnTo>
                      <a:lnTo>
                        <a:pt x="67" y="18"/>
                      </a:lnTo>
                      <a:lnTo>
                        <a:pt x="72" y="13"/>
                      </a:lnTo>
                      <a:lnTo>
                        <a:pt x="72" y="27"/>
                      </a:lnTo>
                      <a:lnTo>
                        <a:pt x="67" y="44"/>
                      </a:lnTo>
                      <a:lnTo>
                        <a:pt x="81" y="44"/>
                      </a:lnTo>
                      <a:lnTo>
                        <a:pt x="94" y="40"/>
                      </a:lnTo>
                      <a:lnTo>
                        <a:pt x="103" y="49"/>
                      </a:lnTo>
                      <a:lnTo>
                        <a:pt x="103" y="76"/>
                      </a:lnTo>
                      <a:lnTo>
                        <a:pt x="116" y="71"/>
                      </a:lnTo>
                      <a:lnTo>
                        <a:pt x="121" y="76"/>
                      </a:lnTo>
                      <a:lnTo>
                        <a:pt x="116" y="94"/>
                      </a:lnTo>
                      <a:lnTo>
                        <a:pt x="121" y="98"/>
                      </a:lnTo>
                      <a:lnTo>
                        <a:pt x="116" y="116"/>
                      </a:lnTo>
                      <a:lnTo>
                        <a:pt x="103" y="129"/>
                      </a:lnTo>
                      <a:lnTo>
                        <a:pt x="85" y="129"/>
                      </a:lnTo>
                      <a:lnTo>
                        <a:pt x="72" y="125"/>
                      </a:lnTo>
                      <a:lnTo>
                        <a:pt x="58" y="125"/>
                      </a:lnTo>
                      <a:lnTo>
                        <a:pt x="72" y="98"/>
                      </a:lnTo>
                      <a:lnTo>
                        <a:pt x="72" y="89"/>
                      </a:lnTo>
                      <a:lnTo>
                        <a:pt x="36" y="71"/>
                      </a:lnTo>
                      <a:lnTo>
                        <a:pt x="27" y="71"/>
                      </a:lnTo>
                      <a:lnTo>
                        <a:pt x="0" y="4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61" name="Freeform 94">
                  <a:extLst>
                    <a:ext uri="{FF2B5EF4-FFF2-40B4-BE49-F238E27FC236}">
                      <a16:creationId xmlns:a16="http://schemas.microsoft.com/office/drawing/2014/main" id="{0DBD1496-A787-4D63-8C99-22AE8157C25E}"/>
                    </a:ext>
                  </a:extLst>
                </p:cNvPr>
                <p:cNvSpPr>
                  <a:spLocks/>
                </p:cNvSpPr>
                <p:nvPr/>
              </p:nvSpPr>
              <p:spPr bwMode="gray">
                <a:xfrm>
                  <a:off x="1521" y="2784"/>
                  <a:ext cx="179" cy="268"/>
                </a:xfrm>
                <a:custGeom>
                  <a:avLst/>
                  <a:gdLst>
                    <a:gd name="T0" fmla="*/ 14 w 179"/>
                    <a:gd name="T1" fmla="*/ 49 h 268"/>
                    <a:gd name="T2" fmla="*/ 9 w 179"/>
                    <a:gd name="T3" fmla="*/ 49 h 268"/>
                    <a:gd name="T4" fmla="*/ 0 w 179"/>
                    <a:gd name="T5" fmla="*/ 58 h 268"/>
                    <a:gd name="T6" fmla="*/ 0 w 179"/>
                    <a:gd name="T7" fmla="*/ 71 h 268"/>
                    <a:gd name="T8" fmla="*/ 5 w 179"/>
                    <a:gd name="T9" fmla="*/ 80 h 268"/>
                    <a:gd name="T10" fmla="*/ 0 w 179"/>
                    <a:gd name="T11" fmla="*/ 85 h 268"/>
                    <a:gd name="T12" fmla="*/ 18 w 179"/>
                    <a:gd name="T13" fmla="*/ 98 h 268"/>
                    <a:gd name="T14" fmla="*/ 31 w 179"/>
                    <a:gd name="T15" fmla="*/ 116 h 268"/>
                    <a:gd name="T16" fmla="*/ 49 w 179"/>
                    <a:gd name="T17" fmla="*/ 156 h 268"/>
                    <a:gd name="T18" fmla="*/ 58 w 179"/>
                    <a:gd name="T19" fmla="*/ 174 h 268"/>
                    <a:gd name="T20" fmla="*/ 72 w 179"/>
                    <a:gd name="T21" fmla="*/ 196 h 268"/>
                    <a:gd name="T22" fmla="*/ 72 w 179"/>
                    <a:gd name="T23" fmla="*/ 201 h 268"/>
                    <a:gd name="T24" fmla="*/ 94 w 179"/>
                    <a:gd name="T25" fmla="*/ 228 h 268"/>
                    <a:gd name="T26" fmla="*/ 98 w 179"/>
                    <a:gd name="T27" fmla="*/ 223 h 268"/>
                    <a:gd name="T28" fmla="*/ 139 w 179"/>
                    <a:gd name="T29" fmla="*/ 250 h 268"/>
                    <a:gd name="T30" fmla="*/ 156 w 179"/>
                    <a:gd name="T31" fmla="*/ 268 h 268"/>
                    <a:gd name="T32" fmla="*/ 170 w 179"/>
                    <a:gd name="T33" fmla="*/ 259 h 268"/>
                    <a:gd name="T34" fmla="*/ 170 w 179"/>
                    <a:gd name="T35" fmla="*/ 250 h 268"/>
                    <a:gd name="T36" fmla="*/ 174 w 179"/>
                    <a:gd name="T37" fmla="*/ 237 h 268"/>
                    <a:gd name="T38" fmla="*/ 170 w 179"/>
                    <a:gd name="T39" fmla="*/ 232 h 268"/>
                    <a:gd name="T40" fmla="*/ 174 w 179"/>
                    <a:gd name="T41" fmla="*/ 210 h 268"/>
                    <a:gd name="T42" fmla="*/ 174 w 179"/>
                    <a:gd name="T43" fmla="*/ 187 h 268"/>
                    <a:gd name="T44" fmla="*/ 179 w 179"/>
                    <a:gd name="T45" fmla="*/ 178 h 268"/>
                    <a:gd name="T46" fmla="*/ 170 w 179"/>
                    <a:gd name="T47" fmla="*/ 161 h 268"/>
                    <a:gd name="T48" fmla="*/ 152 w 179"/>
                    <a:gd name="T49" fmla="*/ 161 h 268"/>
                    <a:gd name="T50" fmla="*/ 152 w 179"/>
                    <a:gd name="T51" fmla="*/ 134 h 268"/>
                    <a:gd name="T52" fmla="*/ 130 w 179"/>
                    <a:gd name="T53" fmla="*/ 147 h 268"/>
                    <a:gd name="T54" fmla="*/ 125 w 179"/>
                    <a:gd name="T55" fmla="*/ 138 h 268"/>
                    <a:gd name="T56" fmla="*/ 112 w 179"/>
                    <a:gd name="T57" fmla="*/ 138 h 268"/>
                    <a:gd name="T58" fmla="*/ 112 w 179"/>
                    <a:gd name="T59" fmla="*/ 125 h 268"/>
                    <a:gd name="T60" fmla="*/ 103 w 179"/>
                    <a:gd name="T61" fmla="*/ 107 h 268"/>
                    <a:gd name="T62" fmla="*/ 116 w 179"/>
                    <a:gd name="T63" fmla="*/ 89 h 268"/>
                    <a:gd name="T64" fmla="*/ 121 w 179"/>
                    <a:gd name="T65" fmla="*/ 76 h 268"/>
                    <a:gd name="T66" fmla="*/ 130 w 179"/>
                    <a:gd name="T67" fmla="*/ 67 h 268"/>
                    <a:gd name="T68" fmla="*/ 148 w 179"/>
                    <a:gd name="T69" fmla="*/ 62 h 268"/>
                    <a:gd name="T70" fmla="*/ 161 w 179"/>
                    <a:gd name="T71" fmla="*/ 62 h 268"/>
                    <a:gd name="T72" fmla="*/ 156 w 179"/>
                    <a:gd name="T73" fmla="*/ 58 h 268"/>
                    <a:gd name="T74" fmla="*/ 148 w 179"/>
                    <a:gd name="T75" fmla="*/ 53 h 268"/>
                    <a:gd name="T76" fmla="*/ 161 w 179"/>
                    <a:gd name="T77" fmla="*/ 31 h 268"/>
                    <a:gd name="T78" fmla="*/ 134 w 179"/>
                    <a:gd name="T79" fmla="*/ 22 h 268"/>
                    <a:gd name="T80" fmla="*/ 121 w 179"/>
                    <a:gd name="T81" fmla="*/ 27 h 268"/>
                    <a:gd name="T82" fmla="*/ 98 w 179"/>
                    <a:gd name="T83" fmla="*/ 4 h 268"/>
                    <a:gd name="T84" fmla="*/ 85 w 179"/>
                    <a:gd name="T85" fmla="*/ 0 h 268"/>
                    <a:gd name="T86" fmla="*/ 85 w 179"/>
                    <a:gd name="T87" fmla="*/ 9 h 268"/>
                    <a:gd name="T88" fmla="*/ 63 w 179"/>
                    <a:gd name="T89" fmla="*/ 35 h 268"/>
                    <a:gd name="T90" fmla="*/ 40 w 179"/>
                    <a:gd name="T91" fmla="*/ 44 h 268"/>
                    <a:gd name="T92" fmla="*/ 36 w 179"/>
                    <a:gd name="T93" fmla="*/ 67 h 268"/>
                    <a:gd name="T94" fmla="*/ 14 w 179"/>
                    <a:gd name="T95" fmla="*/ 67 h 268"/>
                    <a:gd name="T96" fmla="*/ 9 w 179"/>
                    <a:gd name="T97" fmla="*/ 58 h 268"/>
                    <a:gd name="T98" fmla="*/ 14 w 179"/>
                    <a:gd name="T99" fmla="*/ 53 h 268"/>
                    <a:gd name="T100" fmla="*/ 14 w 179"/>
                    <a:gd name="T101" fmla="*/ 49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9" h="268">
                      <a:moveTo>
                        <a:pt x="14" y="49"/>
                      </a:moveTo>
                      <a:lnTo>
                        <a:pt x="9" y="49"/>
                      </a:lnTo>
                      <a:lnTo>
                        <a:pt x="0" y="58"/>
                      </a:lnTo>
                      <a:lnTo>
                        <a:pt x="0" y="71"/>
                      </a:lnTo>
                      <a:lnTo>
                        <a:pt x="5" y="80"/>
                      </a:lnTo>
                      <a:lnTo>
                        <a:pt x="0" y="85"/>
                      </a:lnTo>
                      <a:lnTo>
                        <a:pt x="18" y="98"/>
                      </a:lnTo>
                      <a:lnTo>
                        <a:pt x="31" y="116"/>
                      </a:lnTo>
                      <a:lnTo>
                        <a:pt x="49" y="156"/>
                      </a:lnTo>
                      <a:lnTo>
                        <a:pt x="58" y="174"/>
                      </a:lnTo>
                      <a:lnTo>
                        <a:pt x="72" y="196"/>
                      </a:lnTo>
                      <a:lnTo>
                        <a:pt x="72" y="201"/>
                      </a:lnTo>
                      <a:lnTo>
                        <a:pt x="94" y="228"/>
                      </a:lnTo>
                      <a:lnTo>
                        <a:pt x="98" y="223"/>
                      </a:lnTo>
                      <a:lnTo>
                        <a:pt x="139" y="250"/>
                      </a:lnTo>
                      <a:lnTo>
                        <a:pt x="156" y="268"/>
                      </a:lnTo>
                      <a:lnTo>
                        <a:pt x="170" y="259"/>
                      </a:lnTo>
                      <a:lnTo>
                        <a:pt x="170" y="250"/>
                      </a:lnTo>
                      <a:lnTo>
                        <a:pt x="174" y="237"/>
                      </a:lnTo>
                      <a:lnTo>
                        <a:pt x="170" y="232"/>
                      </a:lnTo>
                      <a:lnTo>
                        <a:pt x="174" y="210"/>
                      </a:lnTo>
                      <a:lnTo>
                        <a:pt x="174" y="187"/>
                      </a:lnTo>
                      <a:lnTo>
                        <a:pt x="179" y="178"/>
                      </a:lnTo>
                      <a:lnTo>
                        <a:pt x="170" y="161"/>
                      </a:lnTo>
                      <a:lnTo>
                        <a:pt x="152" y="161"/>
                      </a:lnTo>
                      <a:lnTo>
                        <a:pt x="152" y="134"/>
                      </a:lnTo>
                      <a:lnTo>
                        <a:pt x="130" y="147"/>
                      </a:lnTo>
                      <a:lnTo>
                        <a:pt x="125" y="138"/>
                      </a:lnTo>
                      <a:lnTo>
                        <a:pt x="112" y="138"/>
                      </a:lnTo>
                      <a:lnTo>
                        <a:pt x="112" y="125"/>
                      </a:lnTo>
                      <a:lnTo>
                        <a:pt x="103" y="107"/>
                      </a:lnTo>
                      <a:lnTo>
                        <a:pt x="116" y="89"/>
                      </a:lnTo>
                      <a:lnTo>
                        <a:pt x="121" y="76"/>
                      </a:lnTo>
                      <a:lnTo>
                        <a:pt x="130" y="67"/>
                      </a:lnTo>
                      <a:lnTo>
                        <a:pt x="148" y="62"/>
                      </a:lnTo>
                      <a:lnTo>
                        <a:pt x="161" y="62"/>
                      </a:lnTo>
                      <a:lnTo>
                        <a:pt x="156" y="58"/>
                      </a:lnTo>
                      <a:lnTo>
                        <a:pt x="148" y="53"/>
                      </a:lnTo>
                      <a:lnTo>
                        <a:pt x="161" y="31"/>
                      </a:lnTo>
                      <a:lnTo>
                        <a:pt x="134" y="22"/>
                      </a:lnTo>
                      <a:lnTo>
                        <a:pt x="121" y="27"/>
                      </a:lnTo>
                      <a:lnTo>
                        <a:pt x="98" y="4"/>
                      </a:lnTo>
                      <a:lnTo>
                        <a:pt x="85" y="0"/>
                      </a:lnTo>
                      <a:lnTo>
                        <a:pt x="85" y="9"/>
                      </a:lnTo>
                      <a:lnTo>
                        <a:pt x="63" y="35"/>
                      </a:lnTo>
                      <a:lnTo>
                        <a:pt x="40" y="44"/>
                      </a:lnTo>
                      <a:lnTo>
                        <a:pt x="36" y="67"/>
                      </a:lnTo>
                      <a:lnTo>
                        <a:pt x="14" y="67"/>
                      </a:lnTo>
                      <a:lnTo>
                        <a:pt x="9" y="58"/>
                      </a:lnTo>
                      <a:lnTo>
                        <a:pt x="14" y="53"/>
                      </a:lnTo>
                      <a:lnTo>
                        <a:pt x="14" y="4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62" name="Freeform 95">
                  <a:extLst>
                    <a:ext uri="{FF2B5EF4-FFF2-40B4-BE49-F238E27FC236}">
                      <a16:creationId xmlns:a16="http://schemas.microsoft.com/office/drawing/2014/main" id="{3EB01C79-666A-46BC-B467-0977B0FF7EBB}"/>
                    </a:ext>
                  </a:extLst>
                </p:cNvPr>
                <p:cNvSpPr>
                  <a:spLocks/>
                </p:cNvSpPr>
                <p:nvPr/>
              </p:nvSpPr>
              <p:spPr bwMode="gray">
                <a:xfrm>
                  <a:off x="1727" y="2502"/>
                  <a:ext cx="22" cy="14"/>
                </a:xfrm>
                <a:custGeom>
                  <a:avLst/>
                  <a:gdLst>
                    <a:gd name="T0" fmla="*/ 0 w 22"/>
                    <a:gd name="T1" fmla="*/ 14 h 14"/>
                    <a:gd name="T2" fmla="*/ 13 w 22"/>
                    <a:gd name="T3" fmla="*/ 9 h 14"/>
                    <a:gd name="T4" fmla="*/ 17 w 22"/>
                    <a:gd name="T5" fmla="*/ 14 h 14"/>
                    <a:gd name="T6" fmla="*/ 22 w 22"/>
                    <a:gd name="T7" fmla="*/ 9 h 14"/>
                    <a:gd name="T8" fmla="*/ 22 w 22"/>
                    <a:gd name="T9" fmla="*/ 0 h 14"/>
                    <a:gd name="T10" fmla="*/ 13 w 22"/>
                    <a:gd name="T11" fmla="*/ 5 h 14"/>
                    <a:gd name="T12" fmla="*/ 0 w 22"/>
                    <a:gd name="T13" fmla="*/ 0 h 14"/>
                    <a:gd name="T14" fmla="*/ 0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0" y="14"/>
                      </a:moveTo>
                      <a:lnTo>
                        <a:pt x="13" y="9"/>
                      </a:lnTo>
                      <a:lnTo>
                        <a:pt x="17" y="14"/>
                      </a:lnTo>
                      <a:lnTo>
                        <a:pt x="22" y="9"/>
                      </a:lnTo>
                      <a:lnTo>
                        <a:pt x="22" y="0"/>
                      </a:lnTo>
                      <a:lnTo>
                        <a:pt x="13" y="5"/>
                      </a:lnTo>
                      <a:lnTo>
                        <a:pt x="0" y="0"/>
                      </a:lnTo>
                      <a:lnTo>
                        <a:pt x="0" y="1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63" name="Freeform 96">
                  <a:extLst>
                    <a:ext uri="{FF2B5EF4-FFF2-40B4-BE49-F238E27FC236}">
                      <a16:creationId xmlns:a16="http://schemas.microsoft.com/office/drawing/2014/main" id="{D4A6D867-60B4-4CCB-9503-68EE3B19A12F}"/>
                    </a:ext>
                  </a:extLst>
                </p:cNvPr>
                <p:cNvSpPr>
                  <a:spLocks/>
                </p:cNvSpPr>
                <p:nvPr/>
              </p:nvSpPr>
              <p:spPr bwMode="gray">
                <a:xfrm>
                  <a:off x="1816" y="2574"/>
                  <a:ext cx="1" cy="9"/>
                </a:xfrm>
                <a:custGeom>
                  <a:avLst/>
                  <a:gdLst>
                    <a:gd name="T0" fmla="*/ 0 h 9"/>
                    <a:gd name="T1" fmla="*/ 9 h 9"/>
                    <a:gd name="T2" fmla="*/ 4 h 9"/>
                    <a:gd name="T3" fmla="*/ 0 h 9"/>
                    <a:gd name="T4" fmla="*/ 0 h 9"/>
                  </a:gdLst>
                  <a:ahLst/>
                  <a:cxnLst>
                    <a:cxn ang="0">
                      <a:pos x="0" y="T0"/>
                    </a:cxn>
                    <a:cxn ang="0">
                      <a:pos x="0" y="T1"/>
                    </a:cxn>
                    <a:cxn ang="0">
                      <a:pos x="0" y="T2"/>
                    </a:cxn>
                    <a:cxn ang="0">
                      <a:pos x="0" y="T3"/>
                    </a:cxn>
                    <a:cxn ang="0">
                      <a:pos x="0" y="T4"/>
                    </a:cxn>
                  </a:cxnLst>
                  <a:rect l="0" t="0" r="r" b="b"/>
                  <a:pathLst>
                    <a:path h="9">
                      <a:moveTo>
                        <a:pt x="0" y="0"/>
                      </a:moveTo>
                      <a:lnTo>
                        <a:pt x="0" y="9"/>
                      </a:lnTo>
                      <a:lnTo>
                        <a:pt x="0" y="4"/>
                      </a:lnTo>
                      <a:lnTo>
                        <a:pt x="0" y="0"/>
                      </a:lnTo>
                      <a:lnTo>
                        <a:pt x="0"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64" name="Freeform 97">
                  <a:extLst>
                    <a:ext uri="{FF2B5EF4-FFF2-40B4-BE49-F238E27FC236}">
                      <a16:creationId xmlns:a16="http://schemas.microsoft.com/office/drawing/2014/main" id="{49CF6CD0-1C9C-4C48-B32A-DF881C58BC87}"/>
                    </a:ext>
                  </a:extLst>
                </p:cNvPr>
                <p:cNvSpPr>
                  <a:spLocks/>
                </p:cNvSpPr>
                <p:nvPr/>
              </p:nvSpPr>
              <p:spPr bwMode="gray">
                <a:xfrm>
                  <a:off x="1811" y="2583"/>
                  <a:ext cx="5" cy="9"/>
                </a:xfrm>
                <a:custGeom>
                  <a:avLst/>
                  <a:gdLst>
                    <a:gd name="T0" fmla="*/ 5 w 5"/>
                    <a:gd name="T1" fmla="*/ 0 h 9"/>
                    <a:gd name="T2" fmla="*/ 0 w 5"/>
                    <a:gd name="T3" fmla="*/ 4 h 9"/>
                    <a:gd name="T4" fmla="*/ 5 w 5"/>
                    <a:gd name="T5" fmla="*/ 9 h 9"/>
                    <a:gd name="T6" fmla="*/ 5 w 5"/>
                    <a:gd name="T7" fmla="*/ 4 h 9"/>
                    <a:gd name="T8" fmla="*/ 5 w 5"/>
                    <a:gd name="T9" fmla="*/ 0 h 9"/>
                  </a:gdLst>
                  <a:ahLst/>
                  <a:cxnLst>
                    <a:cxn ang="0">
                      <a:pos x="T0" y="T1"/>
                    </a:cxn>
                    <a:cxn ang="0">
                      <a:pos x="T2" y="T3"/>
                    </a:cxn>
                    <a:cxn ang="0">
                      <a:pos x="T4" y="T5"/>
                    </a:cxn>
                    <a:cxn ang="0">
                      <a:pos x="T6" y="T7"/>
                    </a:cxn>
                    <a:cxn ang="0">
                      <a:pos x="T8" y="T9"/>
                    </a:cxn>
                  </a:cxnLst>
                  <a:rect l="0" t="0" r="r" b="b"/>
                  <a:pathLst>
                    <a:path w="5" h="9">
                      <a:moveTo>
                        <a:pt x="5" y="0"/>
                      </a:moveTo>
                      <a:lnTo>
                        <a:pt x="0" y="4"/>
                      </a:lnTo>
                      <a:lnTo>
                        <a:pt x="5" y="9"/>
                      </a:lnTo>
                      <a:lnTo>
                        <a:pt x="5" y="4"/>
                      </a:lnTo>
                      <a:lnTo>
                        <a:pt x="5"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65" name="Freeform 98">
                  <a:extLst>
                    <a:ext uri="{FF2B5EF4-FFF2-40B4-BE49-F238E27FC236}">
                      <a16:creationId xmlns:a16="http://schemas.microsoft.com/office/drawing/2014/main" id="{E84177B0-C824-4AD4-AA35-0D3A0864F14B}"/>
                    </a:ext>
                  </a:extLst>
                </p:cNvPr>
                <p:cNvSpPr>
                  <a:spLocks/>
                </p:cNvSpPr>
                <p:nvPr/>
              </p:nvSpPr>
              <p:spPr bwMode="gray">
                <a:xfrm>
                  <a:off x="1852" y="2690"/>
                  <a:ext cx="62" cy="67"/>
                </a:xfrm>
                <a:custGeom>
                  <a:avLst/>
                  <a:gdLst>
                    <a:gd name="T0" fmla="*/ 26 w 62"/>
                    <a:gd name="T1" fmla="*/ 62 h 67"/>
                    <a:gd name="T2" fmla="*/ 22 w 62"/>
                    <a:gd name="T3" fmla="*/ 54 h 67"/>
                    <a:gd name="T4" fmla="*/ 18 w 62"/>
                    <a:gd name="T5" fmla="*/ 40 h 67"/>
                    <a:gd name="T6" fmla="*/ 9 w 62"/>
                    <a:gd name="T7" fmla="*/ 40 h 67"/>
                    <a:gd name="T8" fmla="*/ 0 w 62"/>
                    <a:gd name="T9" fmla="*/ 31 h 67"/>
                    <a:gd name="T10" fmla="*/ 4 w 62"/>
                    <a:gd name="T11" fmla="*/ 22 h 67"/>
                    <a:gd name="T12" fmla="*/ 13 w 62"/>
                    <a:gd name="T13" fmla="*/ 18 h 67"/>
                    <a:gd name="T14" fmla="*/ 18 w 62"/>
                    <a:gd name="T15" fmla="*/ 4 h 67"/>
                    <a:gd name="T16" fmla="*/ 22 w 62"/>
                    <a:gd name="T17" fmla="*/ 0 h 67"/>
                    <a:gd name="T18" fmla="*/ 35 w 62"/>
                    <a:gd name="T19" fmla="*/ 4 h 67"/>
                    <a:gd name="T20" fmla="*/ 58 w 62"/>
                    <a:gd name="T21" fmla="*/ 4 h 67"/>
                    <a:gd name="T22" fmla="*/ 58 w 62"/>
                    <a:gd name="T23" fmla="*/ 13 h 67"/>
                    <a:gd name="T24" fmla="*/ 53 w 62"/>
                    <a:gd name="T25" fmla="*/ 22 h 67"/>
                    <a:gd name="T26" fmla="*/ 62 w 62"/>
                    <a:gd name="T27" fmla="*/ 40 h 67"/>
                    <a:gd name="T28" fmla="*/ 49 w 62"/>
                    <a:gd name="T29" fmla="*/ 54 h 67"/>
                    <a:gd name="T30" fmla="*/ 31 w 62"/>
                    <a:gd name="T31" fmla="*/ 54 h 67"/>
                    <a:gd name="T32" fmla="*/ 31 w 62"/>
                    <a:gd name="T33" fmla="*/ 67 h 67"/>
                    <a:gd name="T34" fmla="*/ 26 w 62"/>
                    <a:gd name="T35" fmla="*/ 6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26" y="62"/>
                      </a:moveTo>
                      <a:lnTo>
                        <a:pt x="22" y="54"/>
                      </a:lnTo>
                      <a:lnTo>
                        <a:pt x="18" y="40"/>
                      </a:lnTo>
                      <a:lnTo>
                        <a:pt x="9" y="40"/>
                      </a:lnTo>
                      <a:lnTo>
                        <a:pt x="0" y="31"/>
                      </a:lnTo>
                      <a:lnTo>
                        <a:pt x="4" y="22"/>
                      </a:lnTo>
                      <a:lnTo>
                        <a:pt x="13" y="18"/>
                      </a:lnTo>
                      <a:lnTo>
                        <a:pt x="18" y="4"/>
                      </a:lnTo>
                      <a:lnTo>
                        <a:pt x="22" y="0"/>
                      </a:lnTo>
                      <a:lnTo>
                        <a:pt x="35" y="4"/>
                      </a:lnTo>
                      <a:lnTo>
                        <a:pt x="58" y="4"/>
                      </a:lnTo>
                      <a:lnTo>
                        <a:pt x="58" y="13"/>
                      </a:lnTo>
                      <a:lnTo>
                        <a:pt x="53" y="22"/>
                      </a:lnTo>
                      <a:lnTo>
                        <a:pt x="62" y="40"/>
                      </a:lnTo>
                      <a:lnTo>
                        <a:pt x="49" y="54"/>
                      </a:lnTo>
                      <a:lnTo>
                        <a:pt x="31" y="54"/>
                      </a:lnTo>
                      <a:lnTo>
                        <a:pt x="31" y="67"/>
                      </a:lnTo>
                      <a:lnTo>
                        <a:pt x="26" y="6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66" name="Freeform 99">
                  <a:extLst>
                    <a:ext uri="{FF2B5EF4-FFF2-40B4-BE49-F238E27FC236}">
                      <a16:creationId xmlns:a16="http://schemas.microsoft.com/office/drawing/2014/main" id="{D533A6B7-3621-4EF4-B524-52911C97B03F}"/>
                    </a:ext>
                  </a:extLst>
                </p:cNvPr>
                <p:cNvSpPr>
                  <a:spLocks noEditPoints="1"/>
                </p:cNvSpPr>
                <p:nvPr/>
              </p:nvSpPr>
              <p:spPr bwMode="gray">
                <a:xfrm>
                  <a:off x="1803" y="2614"/>
                  <a:ext cx="22" cy="22"/>
                </a:xfrm>
                <a:custGeom>
                  <a:avLst/>
                  <a:gdLst>
                    <a:gd name="T0" fmla="*/ 13 w 22"/>
                    <a:gd name="T1" fmla="*/ 0 h 22"/>
                    <a:gd name="T2" fmla="*/ 13 w 22"/>
                    <a:gd name="T3" fmla="*/ 4 h 22"/>
                    <a:gd name="T4" fmla="*/ 22 w 22"/>
                    <a:gd name="T5" fmla="*/ 0 h 22"/>
                    <a:gd name="T6" fmla="*/ 17 w 22"/>
                    <a:gd name="T7" fmla="*/ 0 h 22"/>
                    <a:gd name="T8" fmla="*/ 13 w 22"/>
                    <a:gd name="T9" fmla="*/ 0 h 22"/>
                    <a:gd name="T10" fmla="*/ 13 w 22"/>
                    <a:gd name="T11" fmla="*/ 9 h 22"/>
                    <a:gd name="T12" fmla="*/ 4 w 22"/>
                    <a:gd name="T13" fmla="*/ 9 h 22"/>
                    <a:gd name="T14" fmla="*/ 0 w 22"/>
                    <a:gd name="T15" fmla="*/ 18 h 22"/>
                    <a:gd name="T16" fmla="*/ 0 w 22"/>
                    <a:gd name="T17" fmla="*/ 22 h 22"/>
                    <a:gd name="T18" fmla="*/ 4 w 22"/>
                    <a:gd name="T19" fmla="*/ 22 h 22"/>
                    <a:gd name="T20" fmla="*/ 13 w 22"/>
                    <a:gd name="T21" fmla="*/ 22 h 22"/>
                    <a:gd name="T22" fmla="*/ 13 w 22"/>
                    <a:gd name="T23"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2">
                      <a:moveTo>
                        <a:pt x="13" y="0"/>
                      </a:moveTo>
                      <a:lnTo>
                        <a:pt x="13" y="4"/>
                      </a:lnTo>
                      <a:lnTo>
                        <a:pt x="22" y="0"/>
                      </a:lnTo>
                      <a:lnTo>
                        <a:pt x="17" y="0"/>
                      </a:lnTo>
                      <a:lnTo>
                        <a:pt x="13" y="0"/>
                      </a:lnTo>
                      <a:close/>
                      <a:moveTo>
                        <a:pt x="13" y="9"/>
                      </a:moveTo>
                      <a:lnTo>
                        <a:pt x="4" y="9"/>
                      </a:lnTo>
                      <a:lnTo>
                        <a:pt x="0" y="18"/>
                      </a:lnTo>
                      <a:lnTo>
                        <a:pt x="0" y="22"/>
                      </a:lnTo>
                      <a:lnTo>
                        <a:pt x="4" y="22"/>
                      </a:lnTo>
                      <a:lnTo>
                        <a:pt x="13" y="22"/>
                      </a:lnTo>
                      <a:lnTo>
                        <a:pt x="13" y="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67" name="Freeform 100">
                  <a:extLst>
                    <a:ext uri="{FF2B5EF4-FFF2-40B4-BE49-F238E27FC236}">
                      <a16:creationId xmlns:a16="http://schemas.microsoft.com/office/drawing/2014/main" id="{72ABC87D-B650-45DF-BC69-5C10FEC55278}"/>
                    </a:ext>
                  </a:extLst>
                </p:cNvPr>
                <p:cNvSpPr>
                  <a:spLocks noEditPoints="1"/>
                </p:cNvSpPr>
                <p:nvPr/>
              </p:nvSpPr>
              <p:spPr bwMode="gray">
                <a:xfrm>
                  <a:off x="253" y="1242"/>
                  <a:ext cx="1474" cy="1256"/>
                </a:xfrm>
                <a:custGeom>
                  <a:avLst/>
                  <a:gdLst>
                    <a:gd name="T0" fmla="*/ 26 w 1474"/>
                    <a:gd name="T1" fmla="*/ 425 h 1256"/>
                    <a:gd name="T2" fmla="*/ 35 w 1474"/>
                    <a:gd name="T3" fmla="*/ 594 h 1256"/>
                    <a:gd name="T4" fmla="*/ 58 w 1474"/>
                    <a:gd name="T5" fmla="*/ 590 h 1256"/>
                    <a:gd name="T6" fmla="*/ 107 w 1474"/>
                    <a:gd name="T7" fmla="*/ 232 h 1256"/>
                    <a:gd name="T8" fmla="*/ 44 w 1474"/>
                    <a:gd name="T9" fmla="*/ 232 h 1256"/>
                    <a:gd name="T10" fmla="*/ 120 w 1474"/>
                    <a:gd name="T11" fmla="*/ 282 h 1256"/>
                    <a:gd name="T12" fmla="*/ 67 w 1474"/>
                    <a:gd name="T13" fmla="*/ 353 h 1256"/>
                    <a:gd name="T14" fmla="*/ 75 w 1474"/>
                    <a:gd name="T15" fmla="*/ 442 h 1256"/>
                    <a:gd name="T16" fmla="*/ 134 w 1474"/>
                    <a:gd name="T17" fmla="*/ 465 h 1256"/>
                    <a:gd name="T18" fmla="*/ 174 w 1474"/>
                    <a:gd name="T19" fmla="*/ 509 h 1256"/>
                    <a:gd name="T20" fmla="*/ 98 w 1474"/>
                    <a:gd name="T21" fmla="*/ 554 h 1256"/>
                    <a:gd name="T22" fmla="*/ 138 w 1474"/>
                    <a:gd name="T23" fmla="*/ 550 h 1256"/>
                    <a:gd name="T24" fmla="*/ 227 w 1474"/>
                    <a:gd name="T25" fmla="*/ 447 h 1256"/>
                    <a:gd name="T26" fmla="*/ 250 w 1474"/>
                    <a:gd name="T27" fmla="*/ 438 h 1256"/>
                    <a:gd name="T28" fmla="*/ 321 w 1474"/>
                    <a:gd name="T29" fmla="*/ 429 h 1256"/>
                    <a:gd name="T30" fmla="*/ 352 w 1474"/>
                    <a:gd name="T31" fmla="*/ 429 h 1256"/>
                    <a:gd name="T32" fmla="*/ 455 w 1474"/>
                    <a:gd name="T33" fmla="*/ 469 h 1256"/>
                    <a:gd name="T34" fmla="*/ 495 w 1474"/>
                    <a:gd name="T35" fmla="*/ 460 h 1256"/>
                    <a:gd name="T36" fmla="*/ 518 w 1474"/>
                    <a:gd name="T37" fmla="*/ 496 h 1256"/>
                    <a:gd name="T38" fmla="*/ 567 w 1474"/>
                    <a:gd name="T39" fmla="*/ 572 h 1256"/>
                    <a:gd name="T40" fmla="*/ 477 w 1474"/>
                    <a:gd name="T41" fmla="*/ 447 h 1256"/>
                    <a:gd name="T42" fmla="*/ 406 w 1474"/>
                    <a:gd name="T43" fmla="*/ 433 h 1256"/>
                    <a:gd name="T44" fmla="*/ 268 w 1474"/>
                    <a:gd name="T45" fmla="*/ 67 h 1256"/>
                    <a:gd name="T46" fmla="*/ 209 w 1474"/>
                    <a:gd name="T47" fmla="*/ 9 h 1256"/>
                    <a:gd name="T48" fmla="*/ 116 w 1474"/>
                    <a:gd name="T49" fmla="*/ 58 h 1256"/>
                    <a:gd name="T50" fmla="*/ 40 w 1474"/>
                    <a:gd name="T51" fmla="*/ 152 h 1256"/>
                    <a:gd name="T52" fmla="*/ 134 w 1474"/>
                    <a:gd name="T53" fmla="*/ 228 h 1256"/>
                    <a:gd name="T54" fmla="*/ 160 w 1474"/>
                    <a:gd name="T55" fmla="*/ 1229 h 1256"/>
                    <a:gd name="T56" fmla="*/ 201 w 1474"/>
                    <a:gd name="T57" fmla="*/ 1251 h 1256"/>
                    <a:gd name="T58" fmla="*/ 491 w 1474"/>
                    <a:gd name="T59" fmla="*/ 527 h 1256"/>
                    <a:gd name="T60" fmla="*/ 513 w 1474"/>
                    <a:gd name="T61" fmla="*/ 523 h 1256"/>
                    <a:gd name="T62" fmla="*/ 536 w 1474"/>
                    <a:gd name="T63" fmla="*/ 563 h 1256"/>
                    <a:gd name="T64" fmla="*/ 531 w 1474"/>
                    <a:gd name="T65" fmla="*/ 572 h 1256"/>
                    <a:gd name="T66" fmla="*/ 652 w 1474"/>
                    <a:gd name="T67" fmla="*/ 742 h 1256"/>
                    <a:gd name="T68" fmla="*/ 647 w 1474"/>
                    <a:gd name="T69" fmla="*/ 885 h 1256"/>
                    <a:gd name="T70" fmla="*/ 679 w 1474"/>
                    <a:gd name="T71" fmla="*/ 947 h 1256"/>
                    <a:gd name="T72" fmla="*/ 746 w 1474"/>
                    <a:gd name="T73" fmla="*/ 1023 h 1256"/>
                    <a:gd name="T74" fmla="*/ 951 w 1474"/>
                    <a:gd name="T75" fmla="*/ 1104 h 1256"/>
                    <a:gd name="T76" fmla="*/ 1094 w 1474"/>
                    <a:gd name="T77" fmla="*/ 1086 h 1256"/>
                    <a:gd name="T78" fmla="*/ 1139 w 1474"/>
                    <a:gd name="T79" fmla="*/ 1081 h 1256"/>
                    <a:gd name="T80" fmla="*/ 1246 w 1474"/>
                    <a:gd name="T81" fmla="*/ 1104 h 1256"/>
                    <a:gd name="T82" fmla="*/ 1286 w 1474"/>
                    <a:gd name="T83" fmla="*/ 1135 h 1256"/>
                    <a:gd name="T84" fmla="*/ 1304 w 1474"/>
                    <a:gd name="T85" fmla="*/ 1014 h 1256"/>
                    <a:gd name="T86" fmla="*/ 1344 w 1474"/>
                    <a:gd name="T87" fmla="*/ 983 h 1256"/>
                    <a:gd name="T88" fmla="*/ 1335 w 1474"/>
                    <a:gd name="T89" fmla="*/ 912 h 1256"/>
                    <a:gd name="T90" fmla="*/ 1353 w 1474"/>
                    <a:gd name="T91" fmla="*/ 930 h 1256"/>
                    <a:gd name="T92" fmla="*/ 1371 w 1474"/>
                    <a:gd name="T93" fmla="*/ 885 h 1256"/>
                    <a:gd name="T94" fmla="*/ 1420 w 1474"/>
                    <a:gd name="T95" fmla="*/ 858 h 1256"/>
                    <a:gd name="T96" fmla="*/ 1469 w 1474"/>
                    <a:gd name="T97" fmla="*/ 800 h 1256"/>
                    <a:gd name="T98" fmla="*/ 1357 w 1474"/>
                    <a:gd name="T99" fmla="*/ 804 h 1256"/>
                    <a:gd name="T100" fmla="*/ 1299 w 1474"/>
                    <a:gd name="T101" fmla="*/ 849 h 1256"/>
                    <a:gd name="T102" fmla="*/ 1246 w 1474"/>
                    <a:gd name="T103" fmla="*/ 818 h 1256"/>
                    <a:gd name="T104" fmla="*/ 1206 w 1474"/>
                    <a:gd name="T105" fmla="*/ 800 h 1256"/>
                    <a:gd name="T106" fmla="*/ 1188 w 1474"/>
                    <a:gd name="T107" fmla="*/ 795 h 1256"/>
                    <a:gd name="T108" fmla="*/ 1170 w 1474"/>
                    <a:gd name="T109" fmla="*/ 755 h 1256"/>
                    <a:gd name="T110" fmla="*/ 1116 w 1474"/>
                    <a:gd name="T111" fmla="*/ 737 h 1256"/>
                    <a:gd name="T112" fmla="*/ 1389 w 1474"/>
                    <a:gd name="T113" fmla="*/ 885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4" h="1256">
                      <a:moveTo>
                        <a:pt x="13" y="603"/>
                      </a:moveTo>
                      <a:lnTo>
                        <a:pt x="8" y="608"/>
                      </a:lnTo>
                      <a:lnTo>
                        <a:pt x="8" y="612"/>
                      </a:lnTo>
                      <a:lnTo>
                        <a:pt x="4" y="617"/>
                      </a:lnTo>
                      <a:lnTo>
                        <a:pt x="0" y="626"/>
                      </a:lnTo>
                      <a:lnTo>
                        <a:pt x="8" y="621"/>
                      </a:lnTo>
                      <a:lnTo>
                        <a:pt x="22" y="608"/>
                      </a:lnTo>
                      <a:lnTo>
                        <a:pt x="13" y="603"/>
                      </a:lnTo>
                      <a:close/>
                      <a:moveTo>
                        <a:pt x="26" y="425"/>
                      </a:moveTo>
                      <a:lnTo>
                        <a:pt x="26" y="429"/>
                      </a:lnTo>
                      <a:lnTo>
                        <a:pt x="40" y="442"/>
                      </a:lnTo>
                      <a:lnTo>
                        <a:pt x="49" y="438"/>
                      </a:lnTo>
                      <a:lnTo>
                        <a:pt x="49" y="429"/>
                      </a:lnTo>
                      <a:lnTo>
                        <a:pt x="44" y="420"/>
                      </a:lnTo>
                      <a:lnTo>
                        <a:pt x="40" y="420"/>
                      </a:lnTo>
                      <a:lnTo>
                        <a:pt x="35" y="425"/>
                      </a:lnTo>
                      <a:lnTo>
                        <a:pt x="26" y="425"/>
                      </a:lnTo>
                      <a:close/>
                      <a:moveTo>
                        <a:pt x="35" y="594"/>
                      </a:moveTo>
                      <a:lnTo>
                        <a:pt x="31" y="599"/>
                      </a:lnTo>
                      <a:lnTo>
                        <a:pt x="35" y="603"/>
                      </a:lnTo>
                      <a:lnTo>
                        <a:pt x="17" y="612"/>
                      </a:lnTo>
                      <a:lnTo>
                        <a:pt x="22" y="617"/>
                      </a:lnTo>
                      <a:lnTo>
                        <a:pt x="40" y="608"/>
                      </a:lnTo>
                      <a:lnTo>
                        <a:pt x="49" y="603"/>
                      </a:lnTo>
                      <a:lnTo>
                        <a:pt x="49" y="599"/>
                      </a:lnTo>
                      <a:lnTo>
                        <a:pt x="58" y="590"/>
                      </a:lnTo>
                      <a:lnTo>
                        <a:pt x="58" y="590"/>
                      </a:lnTo>
                      <a:lnTo>
                        <a:pt x="49" y="590"/>
                      </a:lnTo>
                      <a:lnTo>
                        <a:pt x="44" y="594"/>
                      </a:lnTo>
                      <a:lnTo>
                        <a:pt x="35" y="594"/>
                      </a:lnTo>
                      <a:close/>
                      <a:moveTo>
                        <a:pt x="129" y="232"/>
                      </a:moveTo>
                      <a:lnTo>
                        <a:pt x="116" y="223"/>
                      </a:lnTo>
                      <a:lnTo>
                        <a:pt x="111" y="223"/>
                      </a:lnTo>
                      <a:lnTo>
                        <a:pt x="98" y="201"/>
                      </a:lnTo>
                      <a:lnTo>
                        <a:pt x="93" y="206"/>
                      </a:lnTo>
                      <a:lnTo>
                        <a:pt x="107" y="232"/>
                      </a:lnTo>
                      <a:lnTo>
                        <a:pt x="111" y="228"/>
                      </a:lnTo>
                      <a:lnTo>
                        <a:pt x="120" y="241"/>
                      </a:lnTo>
                      <a:lnTo>
                        <a:pt x="84" y="241"/>
                      </a:lnTo>
                      <a:lnTo>
                        <a:pt x="80" y="223"/>
                      </a:lnTo>
                      <a:lnTo>
                        <a:pt x="62" y="223"/>
                      </a:lnTo>
                      <a:lnTo>
                        <a:pt x="49" y="232"/>
                      </a:lnTo>
                      <a:lnTo>
                        <a:pt x="53" y="237"/>
                      </a:lnTo>
                      <a:lnTo>
                        <a:pt x="40" y="241"/>
                      </a:lnTo>
                      <a:lnTo>
                        <a:pt x="44" y="232"/>
                      </a:lnTo>
                      <a:lnTo>
                        <a:pt x="40" y="232"/>
                      </a:lnTo>
                      <a:lnTo>
                        <a:pt x="13" y="255"/>
                      </a:lnTo>
                      <a:lnTo>
                        <a:pt x="22" y="264"/>
                      </a:lnTo>
                      <a:lnTo>
                        <a:pt x="49" y="268"/>
                      </a:lnTo>
                      <a:lnTo>
                        <a:pt x="35" y="277"/>
                      </a:lnTo>
                      <a:lnTo>
                        <a:pt x="49" y="299"/>
                      </a:lnTo>
                      <a:lnTo>
                        <a:pt x="93" y="304"/>
                      </a:lnTo>
                      <a:lnTo>
                        <a:pt x="98" y="295"/>
                      </a:lnTo>
                      <a:lnTo>
                        <a:pt x="120" y="282"/>
                      </a:lnTo>
                      <a:lnTo>
                        <a:pt x="125" y="290"/>
                      </a:lnTo>
                      <a:lnTo>
                        <a:pt x="116" y="295"/>
                      </a:lnTo>
                      <a:lnTo>
                        <a:pt x="125" y="322"/>
                      </a:lnTo>
                      <a:lnTo>
                        <a:pt x="111" y="331"/>
                      </a:lnTo>
                      <a:lnTo>
                        <a:pt x="107" y="331"/>
                      </a:lnTo>
                      <a:lnTo>
                        <a:pt x="93" y="340"/>
                      </a:lnTo>
                      <a:lnTo>
                        <a:pt x="84" y="331"/>
                      </a:lnTo>
                      <a:lnTo>
                        <a:pt x="75" y="335"/>
                      </a:lnTo>
                      <a:lnTo>
                        <a:pt x="67" y="353"/>
                      </a:lnTo>
                      <a:lnTo>
                        <a:pt x="49" y="375"/>
                      </a:lnTo>
                      <a:lnTo>
                        <a:pt x="58" y="393"/>
                      </a:lnTo>
                      <a:lnTo>
                        <a:pt x="62" y="389"/>
                      </a:lnTo>
                      <a:lnTo>
                        <a:pt x="62" y="402"/>
                      </a:lnTo>
                      <a:lnTo>
                        <a:pt x="67" y="402"/>
                      </a:lnTo>
                      <a:lnTo>
                        <a:pt x="58" y="416"/>
                      </a:lnTo>
                      <a:lnTo>
                        <a:pt x="62" y="425"/>
                      </a:lnTo>
                      <a:lnTo>
                        <a:pt x="67" y="420"/>
                      </a:lnTo>
                      <a:lnTo>
                        <a:pt x="75" y="442"/>
                      </a:lnTo>
                      <a:lnTo>
                        <a:pt x="98" y="438"/>
                      </a:lnTo>
                      <a:lnTo>
                        <a:pt x="102" y="429"/>
                      </a:lnTo>
                      <a:lnTo>
                        <a:pt x="111" y="442"/>
                      </a:lnTo>
                      <a:lnTo>
                        <a:pt x="107" y="451"/>
                      </a:lnTo>
                      <a:lnTo>
                        <a:pt x="107" y="469"/>
                      </a:lnTo>
                      <a:lnTo>
                        <a:pt x="98" y="478"/>
                      </a:lnTo>
                      <a:lnTo>
                        <a:pt x="111" y="478"/>
                      </a:lnTo>
                      <a:lnTo>
                        <a:pt x="120" y="469"/>
                      </a:lnTo>
                      <a:lnTo>
                        <a:pt x="134" y="465"/>
                      </a:lnTo>
                      <a:lnTo>
                        <a:pt x="142" y="469"/>
                      </a:lnTo>
                      <a:lnTo>
                        <a:pt x="156" y="492"/>
                      </a:lnTo>
                      <a:lnTo>
                        <a:pt x="160" y="492"/>
                      </a:lnTo>
                      <a:lnTo>
                        <a:pt x="160" y="478"/>
                      </a:lnTo>
                      <a:lnTo>
                        <a:pt x="169" y="483"/>
                      </a:lnTo>
                      <a:lnTo>
                        <a:pt x="187" y="460"/>
                      </a:lnTo>
                      <a:lnTo>
                        <a:pt x="183" y="474"/>
                      </a:lnTo>
                      <a:lnTo>
                        <a:pt x="183" y="496"/>
                      </a:lnTo>
                      <a:lnTo>
                        <a:pt x="174" y="509"/>
                      </a:lnTo>
                      <a:lnTo>
                        <a:pt x="156" y="518"/>
                      </a:lnTo>
                      <a:lnTo>
                        <a:pt x="156" y="527"/>
                      </a:lnTo>
                      <a:lnTo>
                        <a:pt x="142" y="527"/>
                      </a:lnTo>
                      <a:lnTo>
                        <a:pt x="125" y="536"/>
                      </a:lnTo>
                      <a:lnTo>
                        <a:pt x="129" y="550"/>
                      </a:lnTo>
                      <a:lnTo>
                        <a:pt x="120" y="554"/>
                      </a:lnTo>
                      <a:lnTo>
                        <a:pt x="116" y="541"/>
                      </a:lnTo>
                      <a:lnTo>
                        <a:pt x="107" y="541"/>
                      </a:lnTo>
                      <a:lnTo>
                        <a:pt x="98" y="554"/>
                      </a:lnTo>
                      <a:lnTo>
                        <a:pt x="84" y="572"/>
                      </a:lnTo>
                      <a:lnTo>
                        <a:pt x="75" y="572"/>
                      </a:lnTo>
                      <a:lnTo>
                        <a:pt x="67" y="585"/>
                      </a:lnTo>
                      <a:lnTo>
                        <a:pt x="67" y="594"/>
                      </a:lnTo>
                      <a:lnTo>
                        <a:pt x="93" y="581"/>
                      </a:lnTo>
                      <a:lnTo>
                        <a:pt x="89" y="572"/>
                      </a:lnTo>
                      <a:lnTo>
                        <a:pt x="98" y="572"/>
                      </a:lnTo>
                      <a:lnTo>
                        <a:pt x="107" y="576"/>
                      </a:lnTo>
                      <a:lnTo>
                        <a:pt x="138" y="550"/>
                      </a:lnTo>
                      <a:lnTo>
                        <a:pt x="138" y="559"/>
                      </a:lnTo>
                      <a:lnTo>
                        <a:pt x="142" y="545"/>
                      </a:lnTo>
                      <a:lnTo>
                        <a:pt x="147" y="550"/>
                      </a:lnTo>
                      <a:lnTo>
                        <a:pt x="174" y="527"/>
                      </a:lnTo>
                      <a:lnTo>
                        <a:pt x="192" y="527"/>
                      </a:lnTo>
                      <a:lnTo>
                        <a:pt x="205" y="505"/>
                      </a:lnTo>
                      <a:lnTo>
                        <a:pt x="236" y="465"/>
                      </a:lnTo>
                      <a:lnTo>
                        <a:pt x="223" y="460"/>
                      </a:lnTo>
                      <a:lnTo>
                        <a:pt x="227" y="447"/>
                      </a:lnTo>
                      <a:lnTo>
                        <a:pt x="236" y="442"/>
                      </a:lnTo>
                      <a:lnTo>
                        <a:pt x="259" y="402"/>
                      </a:lnTo>
                      <a:lnTo>
                        <a:pt x="268" y="393"/>
                      </a:lnTo>
                      <a:lnTo>
                        <a:pt x="285" y="398"/>
                      </a:lnTo>
                      <a:lnTo>
                        <a:pt x="290" y="407"/>
                      </a:lnTo>
                      <a:lnTo>
                        <a:pt x="272" y="402"/>
                      </a:lnTo>
                      <a:lnTo>
                        <a:pt x="259" y="416"/>
                      </a:lnTo>
                      <a:lnTo>
                        <a:pt x="259" y="420"/>
                      </a:lnTo>
                      <a:lnTo>
                        <a:pt x="250" y="438"/>
                      </a:lnTo>
                      <a:lnTo>
                        <a:pt x="250" y="447"/>
                      </a:lnTo>
                      <a:lnTo>
                        <a:pt x="259" y="451"/>
                      </a:lnTo>
                      <a:lnTo>
                        <a:pt x="250" y="460"/>
                      </a:lnTo>
                      <a:lnTo>
                        <a:pt x="259" y="465"/>
                      </a:lnTo>
                      <a:lnTo>
                        <a:pt x="272" y="451"/>
                      </a:lnTo>
                      <a:lnTo>
                        <a:pt x="276" y="456"/>
                      </a:lnTo>
                      <a:lnTo>
                        <a:pt x="290" y="442"/>
                      </a:lnTo>
                      <a:lnTo>
                        <a:pt x="321" y="442"/>
                      </a:lnTo>
                      <a:lnTo>
                        <a:pt x="321" y="429"/>
                      </a:lnTo>
                      <a:lnTo>
                        <a:pt x="317" y="425"/>
                      </a:lnTo>
                      <a:lnTo>
                        <a:pt x="312" y="420"/>
                      </a:lnTo>
                      <a:lnTo>
                        <a:pt x="308" y="425"/>
                      </a:lnTo>
                      <a:lnTo>
                        <a:pt x="303" y="411"/>
                      </a:lnTo>
                      <a:lnTo>
                        <a:pt x="308" y="407"/>
                      </a:lnTo>
                      <a:lnTo>
                        <a:pt x="312" y="416"/>
                      </a:lnTo>
                      <a:lnTo>
                        <a:pt x="326" y="411"/>
                      </a:lnTo>
                      <a:lnTo>
                        <a:pt x="339" y="429"/>
                      </a:lnTo>
                      <a:lnTo>
                        <a:pt x="352" y="429"/>
                      </a:lnTo>
                      <a:lnTo>
                        <a:pt x="357" y="420"/>
                      </a:lnTo>
                      <a:lnTo>
                        <a:pt x="357" y="429"/>
                      </a:lnTo>
                      <a:lnTo>
                        <a:pt x="366" y="438"/>
                      </a:lnTo>
                      <a:lnTo>
                        <a:pt x="384" y="433"/>
                      </a:lnTo>
                      <a:lnTo>
                        <a:pt x="402" y="442"/>
                      </a:lnTo>
                      <a:lnTo>
                        <a:pt x="419" y="447"/>
                      </a:lnTo>
                      <a:lnTo>
                        <a:pt x="433" y="438"/>
                      </a:lnTo>
                      <a:lnTo>
                        <a:pt x="428" y="456"/>
                      </a:lnTo>
                      <a:lnTo>
                        <a:pt x="455" y="469"/>
                      </a:lnTo>
                      <a:lnTo>
                        <a:pt x="473" y="483"/>
                      </a:lnTo>
                      <a:lnTo>
                        <a:pt x="477" y="478"/>
                      </a:lnTo>
                      <a:lnTo>
                        <a:pt x="469" y="465"/>
                      </a:lnTo>
                      <a:lnTo>
                        <a:pt x="473" y="465"/>
                      </a:lnTo>
                      <a:lnTo>
                        <a:pt x="486" y="474"/>
                      </a:lnTo>
                      <a:lnTo>
                        <a:pt x="482" y="483"/>
                      </a:lnTo>
                      <a:lnTo>
                        <a:pt x="491" y="487"/>
                      </a:lnTo>
                      <a:lnTo>
                        <a:pt x="495" y="474"/>
                      </a:lnTo>
                      <a:lnTo>
                        <a:pt x="495" y="460"/>
                      </a:lnTo>
                      <a:lnTo>
                        <a:pt x="495" y="460"/>
                      </a:lnTo>
                      <a:lnTo>
                        <a:pt x="500" y="478"/>
                      </a:lnTo>
                      <a:lnTo>
                        <a:pt x="495" y="487"/>
                      </a:lnTo>
                      <a:lnTo>
                        <a:pt x="504" y="496"/>
                      </a:lnTo>
                      <a:lnTo>
                        <a:pt x="504" y="518"/>
                      </a:lnTo>
                      <a:lnTo>
                        <a:pt x="513" y="505"/>
                      </a:lnTo>
                      <a:lnTo>
                        <a:pt x="509" y="487"/>
                      </a:lnTo>
                      <a:lnTo>
                        <a:pt x="513" y="487"/>
                      </a:lnTo>
                      <a:lnTo>
                        <a:pt x="518" y="496"/>
                      </a:lnTo>
                      <a:lnTo>
                        <a:pt x="522" y="518"/>
                      </a:lnTo>
                      <a:lnTo>
                        <a:pt x="536" y="527"/>
                      </a:lnTo>
                      <a:lnTo>
                        <a:pt x="531" y="541"/>
                      </a:lnTo>
                      <a:lnTo>
                        <a:pt x="540" y="550"/>
                      </a:lnTo>
                      <a:lnTo>
                        <a:pt x="540" y="559"/>
                      </a:lnTo>
                      <a:lnTo>
                        <a:pt x="549" y="572"/>
                      </a:lnTo>
                      <a:lnTo>
                        <a:pt x="558" y="568"/>
                      </a:lnTo>
                      <a:lnTo>
                        <a:pt x="562" y="581"/>
                      </a:lnTo>
                      <a:lnTo>
                        <a:pt x="567" y="572"/>
                      </a:lnTo>
                      <a:lnTo>
                        <a:pt x="567" y="554"/>
                      </a:lnTo>
                      <a:lnTo>
                        <a:pt x="567" y="550"/>
                      </a:lnTo>
                      <a:lnTo>
                        <a:pt x="567" y="541"/>
                      </a:lnTo>
                      <a:lnTo>
                        <a:pt x="558" y="541"/>
                      </a:lnTo>
                      <a:lnTo>
                        <a:pt x="540" y="523"/>
                      </a:lnTo>
                      <a:lnTo>
                        <a:pt x="527" y="496"/>
                      </a:lnTo>
                      <a:lnTo>
                        <a:pt x="509" y="460"/>
                      </a:lnTo>
                      <a:lnTo>
                        <a:pt x="491" y="447"/>
                      </a:lnTo>
                      <a:lnTo>
                        <a:pt x="477" y="447"/>
                      </a:lnTo>
                      <a:lnTo>
                        <a:pt x="469" y="460"/>
                      </a:lnTo>
                      <a:lnTo>
                        <a:pt x="455" y="465"/>
                      </a:lnTo>
                      <a:lnTo>
                        <a:pt x="451" y="456"/>
                      </a:lnTo>
                      <a:lnTo>
                        <a:pt x="437" y="438"/>
                      </a:lnTo>
                      <a:lnTo>
                        <a:pt x="433" y="433"/>
                      </a:lnTo>
                      <a:lnTo>
                        <a:pt x="428" y="429"/>
                      </a:lnTo>
                      <a:lnTo>
                        <a:pt x="419" y="438"/>
                      </a:lnTo>
                      <a:lnTo>
                        <a:pt x="410" y="438"/>
                      </a:lnTo>
                      <a:lnTo>
                        <a:pt x="406" y="433"/>
                      </a:lnTo>
                      <a:lnTo>
                        <a:pt x="406" y="98"/>
                      </a:lnTo>
                      <a:lnTo>
                        <a:pt x="388" y="89"/>
                      </a:lnTo>
                      <a:lnTo>
                        <a:pt x="361" y="76"/>
                      </a:lnTo>
                      <a:lnTo>
                        <a:pt x="348" y="85"/>
                      </a:lnTo>
                      <a:lnTo>
                        <a:pt x="330" y="76"/>
                      </a:lnTo>
                      <a:lnTo>
                        <a:pt x="317" y="76"/>
                      </a:lnTo>
                      <a:lnTo>
                        <a:pt x="299" y="67"/>
                      </a:lnTo>
                      <a:lnTo>
                        <a:pt x="281" y="63"/>
                      </a:lnTo>
                      <a:lnTo>
                        <a:pt x="268" y="67"/>
                      </a:lnTo>
                      <a:lnTo>
                        <a:pt x="259" y="72"/>
                      </a:lnTo>
                      <a:lnTo>
                        <a:pt x="259" y="63"/>
                      </a:lnTo>
                      <a:lnTo>
                        <a:pt x="245" y="58"/>
                      </a:lnTo>
                      <a:lnTo>
                        <a:pt x="250" y="45"/>
                      </a:lnTo>
                      <a:lnTo>
                        <a:pt x="236" y="49"/>
                      </a:lnTo>
                      <a:lnTo>
                        <a:pt x="236" y="36"/>
                      </a:lnTo>
                      <a:lnTo>
                        <a:pt x="214" y="31"/>
                      </a:lnTo>
                      <a:lnTo>
                        <a:pt x="214" y="9"/>
                      </a:lnTo>
                      <a:lnTo>
                        <a:pt x="209" y="9"/>
                      </a:lnTo>
                      <a:lnTo>
                        <a:pt x="205" y="27"/>
                      </a:lnTo>
                      <a:lnTo>
                        <a:pt x="205" y="31"/>
                      </a:lnTo>
                      <a:lnTo>
                        <a:pt x="192" y="36"/>
                      </a:lnTo>
                      <a:lnTo>
                        <a:pt x="201" y="9"/>
                      </a:lnTo>
                      <a:lnTo>
                        <a:pt x="187" y="0"/>
                      </a:lnTo>
                      <a:lnTo>
                        <a:pt x="169" y="31"/>
                      </a:lnTo>
                      <a:lnTo>
                        <a:pt x="151" y="36"/>
                      </a:lnTo>
                      <a:lnTo>
                        <a:pt x="142" y="36"/>
                      </a:lnTo>
                      <a:lnTo>
                        <a:pt x="116" y="58"/>
                      </a:lnTo>
                      <a:lnTo>
                        <a:pt x="111" y="67"/>
                      </a:lnTo>
                      <a:lnTo>
                        <a:pt x="107" y="58"/>
                      </a:lnTo>
                      <a:lnTo>
                        <a:pt x="98" y="76"/>
                      </a:lnTo>
                      <a:lnTo>
                        <a:pt x="93" y="80"/>
                      </a:lnTo>
                      <a:lnTo>
                        <a:pt x="84" y="94"/>
                      </a:lnTo>
                      <a:lnTo>
                        <a:pt x="84" y="112"/>
                      </a:lnTo>
                      <a:lnTo>
                        <a:pt x="53" y="130"/>
                      </a:lnTo>
                      <a:lnTo>
                        <a:pt x="44" y="130"/>
                      </a:lnTo>
                      <a:lnTo>
                        <a:pt x="40" y="152"/>
                      </a:lnTo>
                      <a:lnTo>
                        <a:pt x="53" y="156"/>
                      </a:lnTo>
                      <a:lnTo>
                        <a:pt x="75" y="170"/>
                      </a:lnTo>
                      <a:lnTo>
                        <a:pt x="80" y="183"/>
                      </a:lnTo>
                      <a:lnTo>
                        <a:pt x="80" y="197"/>
                      </a:lnTo>
                      <a:lnTo>
                        <a:pt x="111" y="201"/>
                      </a:lnTo>
                      <a:lnTo>
                        <a:pt x="111" y="210"/>
                      </a:lnTo>
                      <a:lnTo>
                        <a:pt x="116" y="219"/>
                      </a:lnTo>
                      <a:lnTo>
                        <a:pt x="129" y="219"/>
                      </a:lnTo>
                      <a:lnTo>
                        <a:pt x="134" y="228"/>
                      </a:lnTo>
                      <a:lnTo>
                        <a:pt x="129" y="232"/>
                      </a:lnTo>
                      <a:close/>
                      <a:moveTo>
                        <a:pt x="138" y="1211"/>
                      </a:moveTo>
                      <a:lnTo>
                        <a:pt x="142" y="1216"/>
                      </a:lnTo>
                      <a:lnTo>
                        <a:pt x="147" y="1216"/>
                      </a:lnTo>
                      <a:lnTo>
                        <a:pt x="147" y="1207"/>
                      </a:lnTo>
                      <a:lnTo>
                        <a:pt x="138" y="1211"/>
                      </a:lnTo>
                      <a:close/>
                      <a:moveTo>
                        <a:pt x="165" y="1216"/>
                      </a:moveTo>
                      <a:lnTo>
                        <a:pt x="156" y="1220"/>
                      </a:lnTo>
                      <a:lnTo>
                        <a:pt x="160" y="1229"/>
                      </a:lnTo>
                      <a:lnTo>
                        <a:pt x="169" y="1229"/>
                      </a:lnTo>
                      <a:lnTo>
                        <a:pt x="169" y="1220"/>
                      </a:lnTo>
                      <a:lnTo>
                        <a:pt x="165" y="1216"/>
                      </a:lnTo>
                      <a:close/>
                      <a:moveTo>
                        <a:pt x="205" y="1256"/>
                      </a:moveTo>
                      <a:lnTo>
                        <a:pt x="209" y="1247"/>
                      </a:lnTo>
                      <a:lnTo>
                        <a:pt x="205" y="1242"/>
                      </a:lnTo>
                      <a:lnTo>
                        <a:pt x="196" y="1238"/>
                      </a:lnTo>
                      <a:lnTo>
                        <a:pt x="192" y="1242"/>
                      </a:lnTo>
                      <a:lnTo>
                        <a:pt x="201" y="1251"/>
                      </a:lnTo>
                      <a:lnTo>
                        <a:pt x="205" y="1256"/>
                      </a:lnTo>
                      <a:close/>
                      <a:moveTo>
                        <a:pt x="477" y="487"/>
                      </a:moveTo>
                      <a:lnTo>
                        <a:pt x="477" y="492"/>
                      </a:lnTo>
                      <a:lnTo>
                        <a:pt x="486" y="509"/>
                      </a:lnTo>
                      <a:lnTo>
                        <a:pt x="482" y="518"/>
                      </a:lnTo>
                      <a:lnTo>
                        <a:pt x="486" y="518"/>
                      </a:lnTo>
                      <a:lnTo>
                        <a:pt x="491" y="514"/>
                      </a:lnTo>
                      <a:lnTo>
                        <a:pt x="495" y="523"/>
                      </a:lnTo>
                      <a:lnTo>
                        <a:pt x="491" y="527"/>
                      </a:lnTo>
                      <a:lnTo>
                        <a:pt x="500" y="541"/>
                      </a:lnTo>
                      <a:lnTo>
                        <a:pt x="504" y="527"/>
                      </a:lnTo>
                      <a:lnTo>
                        <a:pt x="500" y="518"/>
                      </a:lnTo>
                      <a:lnTo>
                        <a:pt x="500" y="492"/>
                      </a:lnTo>
                      <a:lnTo>
                        <a:pt x="486" y="487"/>
                      </a:lnTo>
                      <a:lnTo>
                        <a:pt x="477" y="487"/>
                      </a:lnTo>
                      <a:close/>
                      <a:moveTo>
                        <a:pt x="504" y="545"/>
                      </a:moveTo>
                      <a:lnTo>
                        <a:pt x="509" y="541"/>
                      </a:lnTo>
                      <a:lnTo>
                        <a:pt x="513" y="523"/>
                      </a:lnTo>
                      <a:lnTo>
                        <a:pt x="518" y="532"/>
                      </a:lnTo>
                      <a:lnTo>
                        <a:pt x="527" y="532"/>
                      </a:lnTo>
                      <a:lnTo>
                        <a:pt x="531" y="527"/>
                      </a:lnTo>
                      <a:lnTo>
                        <a:pt x="513" y="514"/>
                      </a:lnTo>
                      <a:lnTo>
                        <a:pt x="509" y="523"/>
                      </a:lnTo>
                      <a:lnTo>
                        <a:pt x="509" y="532"/>
                      </a:lnTo>
                      <a:lnTo>
                        <a:pt x="504" y="545"/>
                      </a:lnTo>
                      <a:close/>
                      <a:moveTo>
                        <a:pt x="540" y="572"/>
                      </a:moveTo>
                      <a:lnTo>
                        <a:pt x="536" y="563"/>
                      </a:lnTo>
                      <a:lnTo>
                        <a:pt x="536" y="559"/>
                      </a:lnTo>
                      <a:lnTo>
                        <a:pt x="522" y="541"/>
                      </a:lnTo>
                      <a:lnTo>
                        <a:pt x="518" y="536"/>
                      </a:lnTo>
                      <a:lnTo>
                        <a:pt x="513" y="550"/>
                      </a:lnTo>
                      <a:lnTo>
                        <a:pt x="518" y="550"/>
                      </a:lnTo>
                      <a:lnTo>
                        <a:pt x="527" y="568"/>
                      </a:lnTo>
                      <a:lnTo>
                        <a:pt x="522" y="568"/>
                      </a:lnTo>
                      <a:lnTo>
                        <a:pt x="527" y="581"/>
                      </a:lnTo>
                      <a:lnTo>
                        <a:pt x="531" y="572"/>
                      </a:lnTo>
                      <a:lnTo>
                        <a:pt x="540" y="581"/>
                      </a:lnTo>
                      <a:lnTo>
                        <a:pt x="540" y="572"/>
                      </a:lnTo>
                      <a:close/>
                      <a:moveTo>
                        <a:pt x="674" y="719"/>
                      </a:moveTo>
                      <a:lnTo>
                        <a:pt x="670" y="724"/>
                      </a:lnTo>
                      <a:lnTo>
                        <a:pt x="674" y="733"/>
                      </a:lnTo>
                      <a:lnTo>
                        <a:pt x="656" y="728"/>
                      </a:lnTo>
                      <a:lnTo>
                        <a:pt x="647" y="728"/>
                      </a:lnTo>
                      <a:lnTo>
                        <a:pt x="647" y="737"/>
                      </a:lnTo>
                      <a:lnTo>
                        <a:pt x="652" y="742"/>
                      </a:lnTo>
                      <a:lnTo>
                        <a:pt x="652" y="773"/>
                      </a:lnTo>
                      <a:lnTo>
                        <a:pt x="665" y="778"/>
                      </a:lnTo>
                      <a:lnTo>
                        <a:pt x="656" y="782"/>
                      </a:lnTo>
                      <a:lnTo>
                        <a:pt x="656" y="791"/>
                      </a:lnTo>
                      <a:lnTo>
                        <a:pt x="656" y="818"/>
                      </a:lnTo>
                      <a:lnTo>
                        <a:pt x="652" y="831"/>
                      </a:lnTo>
                      <a:lnTo>
                        <a:pt x="647" y="836"/>
                      </a:lnTo>
                      <a:lnTo>
                        <a:pt x="652" y="885"/>
                      </a:lnTo>
                      <a:lnTo>
                        <a:pt x="647" y="885"/>
                      </a:lnTo>
                      <a:lnTo>
                        <a:pt x="652" y="894"/>
                      </a:lnTo>
                      <a:lnTo>
                        <a:pt x="656" y="903"/>
                      </a:lnTo>
                      <a:lnTo>
                        <a:pt x="656" y="921"/>
                      </a:lnTo>
                      <a:lnTo>
                        <a:pt x="670" y="934"/>
                      </a:lnTo>
                      <a:lnTo>
                        <a:pt x="670" y="938"/>
                      </a:lnTo>
                      <a:lnTo>
                        <a:pt x="674" y="943"/>
                      </a:lnTo>
                      <a:lnTo>
                        <a:pt x="683" y="934"/>
                      </a:lnTo>
                      <a:lnTo>
                        <a:pt x="683" y="938"/>
                      </a:lnTo>
                      <a:lnTo>
                        <a:pt x="679" y="947"/>
                      </a:lnTo>
                      <a:lnTo>
                        <a:pt x="679" y="965"/>
                      </a:lnTo>
                      <a:lnTo>
                        <a:pt x="687" y="974"/>
                      </a:lnTo>
                      <a:lnTo>
                        <a:pt x="701" y="988"/>
                      </a:lnTo>
                      <a:lnTo>
                        <a:pt x="701" y="992"/>
                      </a:lnTo>
                      <a:lnTo>
                        <a:pt x="705" y="992"/>
                      </a:lnTo>
                      <a:lnTo>
                        <a:pt x="705" y="1005"/>
                      </a:lnTo>
                      <a:lnTo>
                        <a:pt x="719" y="1005"/>
                      </a:lnTo>
                      <a:lnTo>
                        <a:pt x="732" y="1014"/>
                      </a:lnTo>
                      <a:lnTo>
                        <a:pt x="746" y="1023"/>
                      </a:lnTo>
                      <a:lnTo>
                        <a:pt x="750" y="1041"/>
                      </a:lnTo>
                      <a:lnTo>
                        <a:pt x="786" y="1037"/>
                      </a:lnTo>
                      <a:lnTo>
                        <a:pt x="839" y="1064"/>
                      </a:lnTo>
                      <a:lnTo>
                        <a:pt x="884" y="1064"/>
                      </a:lnTo>
                      <a:lnTo>
                        <a:pt x="880" y="1055"/>
                      </a:lnTo>
                      <a:lnTo>
                        <a:pt x="906" y="1055"/>
                      </a:lnTo>
                      <a:lnTo>
                        <a:pt x="929" y="1068"/>
                      </a:lnTo>
                      <a:lnTo>
                        <a:pt x="933" y="1090"/>
                      </a:lnTo>
                      <a:lnTo>
                        <a:pt x="951" y="1104"/>
                      </a:lnTo>
                      <a:lnTo>
                        <a:pt x="964" y="1086"/>
                      </a:lnTo>
                      <a:lnTo>
                        <a:pt x="978" y="1090"/>
                      </a:lnTo>
                      <a:lnTo>
                        <a:pt x="1005" y="1122"/>
                      </a:lnTo>
                      <a:lnTo>
                        <a:pt x="1014" y="1140"/>
                      </a:lnTo>
                      <a:lnTo>
                        <a:pt x="1036" y="1148"/>
                      </a:lnTo>
                      <a:lnTo>
                        <a:pt x="1045" y="1144"/>
                      </a:lnTo>
                      <a:lnTo>
                        <a:pt x="1040" y="1126"/>
                      </a:lnTo>
                      <a:lnTo>
                        <a:pt x="1049" y="1113"/>
                      </a:lnTo>
                      <a:lnTo>
                        <a:pt x="1094" y="1086"/>
                      </a:lnTo>
                      <a:lnTo>
                        <a:pt x="1125" y="1095"/>
                      </a:lnTo>
                      <a:lnTo>
                        <a:pt x="1139" y="1099"/>
                      </a:lnTo>
                      <a:lnTo>
                        <a:pt x="1143" y="1095"/>
                      </a:lnTo>
                      <a:lnTo>
                        <a:pt x="1152" y="1099"/>
                      </a:lnTo>
                      <a:lnTo>
                        <a:pt x="1156" y="1095"/>
                      </a:lnTo>
                      <a:lnTo>
                        <a:pt x="1148" y="1090"/>
                      </a:lnTo>
                      <a:lnTo>
                        <a:pt x="1152" y="1086"/>
                      </a:lnTo>
                      <a:lnTo>
                        <a:pt x="1148" y="1077"/>
                      </a:lnTo>
                      <a:lnTo>
                        <a:pt x="1139" y="1081"/>
                      </a:lnTo>
                      <a:lnTo>
                        <a:pt x="1139" y="1073"/>
                      </a:lnTo>
                      <a:lnTo>
                        <a:pt x="1170" y="1077"/>
                      </a:lnTo>
                      <a:lnTo>
                        <a:pt x="1179" y="1077"/>
                      </a:lnTo>
                      <a:lnTo>
                        <a:pt x="1183" y="1077"/>
                      </a:lnTo>
                      <a:lnTo>
                        <a:pt x="1192" y="1073"/>
                      </a:lnTo>
                      <a:lnTo>
                        <a:pt x="1201" y="1077"/>
                      </a:lnTo>
                      <a:lnTo>
                        <a:pt x="1210" y="1090"/>
                      </a:lnTo>
                      <a:lnTo>
                        <a:pt x="1228" y="1077"/>
                      </a:lnTo>
                      <a:lnTo>
                        <a:pt x="1246" y="1104"/>
                      </a:lnTo>
                      <a:lnTo>
                        <a:pt x="1237" y="1117"/>
                      </a:lnTo>
                      <a:lnTo>
                        <a:pt x="1246" y="1117"/>
                      </a:lnTo>
                      <a:lnTo>
                        <a:pt x="1246" y="1122"/>
                      </a:lnTo>
                      <a:lnTo>
                        <a:pt x="1259" y="1148"/>
                      </a:lnTo>
                      <a:lnTo>
                        <a:pt x="1264" y="1148"/>
                      </a:lnTo>
                      <a:lnTo>
                        <a:pt x="1268" y="1157"/>
                      </a:lnTo>
                      <a:lnTo>
                        <a:pt x="1268" y="1162"/>
                      </a:lnTo>
                      <a:lnTo>
                        <a:pt x="1282" y="1157"/>
                      </a:lnTo>
                      <a:lnTo>
                        <a:pt x="1286" y="1135"/>
                      </a:lnTo>
                      <a:lnTo>
                        <a:pt x="1277" y="1122"/>
                      </a:lnTo>
                      <a:lnTo>
                        <a:pt x="1277" y="1108"/>
                      </a:lnTo>
                      <a:lnTo>
                        <a:pt x="1268" y="1095"/>
                      </a:lnTo>
                      <a:lnTo>
                        <a:pt x="1268" y="1081"/>
                      </a:lnTo>
                      <a:lnTo>
                        <a:pt x="1264" y="1068"/>
                      </a:lnTo>
                      <a:lnTo>
                        <a:pt x="1273" y="1046"/>
                      </a:lnTo>
                      <a:lnTo>
                        <a:pt x="1277" y="1046"/>
                      </a:lnTo>
                      <a:lnTo>
                        <a:pt x="1295" y="1028"/>
                      </a:lnTo>
                      <a:lnTo>
                        <a:pt x="1304" y="1014"/>
                      </a:lnTo>
                      <a:lnTo>
                        <a:pt x="1317" y="1010"/>
                      </a:lnTo>
                      <a:lnTo>
                        <a:pt x="1322" y="1001"/>
                      </a:lnTo>
                      <a:lnTo>
                        <a:pt x="1326" y="1005"/>
                      </a:lnTo>
                      <a:lnTo>
                        <a:pt x="1331" y="997"/>
                      </a:lnTo>
                      <a:lnTo>
                        <a:pt x="1335" y="997"/>
                      </a:lnTo>
                      <a:lnTo>
                        <a:pt x="1344" y="992"/>
                      </a:lnTo>
                      <a:lnTo>
                        <a:pt x="1331" y="992"/>
                      </a:lnTo>
                      <a:lnTo>
                        <a:pt x="1335" y="983"/>
                      </a:lnTo>
                      <a:lnTo>
                        <a:pt x="1344" y="983"/>
                      </a:lnTo>
                      <a:lnTo>
                        <a:pt x="1344" y="974"/>
                      </a:lnTo>
                      <a:lnTo>
                        <a:pt x="1335" y="970"/>
                      </a:lnTo>
                      <a:lnTo>
                        <a:pt x="1335" y="970"/>
                      </a:lnTo>
                      <a:lnTo>
                        <a:pt x="1349" y="970"/>
                      </a:lnTo>
                      <a:lnTo>
                        <a:pt x="1340" y="956"/>
                      </a:lnTo>
                      <a:lnTo>
                        <a:pt x="1335" y="956"/>
                      </a:lnTo>
                      <a:lnTo>
                        <a:pt x="1335" y="947"/>
                      </a:lnTo>
                      <a:lnTo>
                        <a:pt x="1335" y="938"/>
                      </a:lnTo>
                      <a:lnTo>
                        <a:pt x="1335" y="912"/>
                      </a:lnTo>
                      <a:lnTo>
                        <a:pt x="1340" y="907"/>
                      </a:lnTo>
                      <a:lnTo>
                        <a:pt x="1340" y="934"/>
                      </a:lnTo>
                      <a:lnTo>
                        <a:pt x="1344" y="938"/>
                      </a:lnTo>
                      <a:lnTo>
                        <a:pt x="1344" y="952"/>
                      </a:lnTo>
                      <a:lnTo>
                        <a:pt x="1344" y="956"/>
                      </a:lnTo>
                      <a:lnTo>
                        <a:pt x="1349" y="943"/>
                      </a:lnTo>
                      <a:lnTo>
                        <a:pt x="1353" y="943"/>
                      </a:lnTo>
                      <a:lnTo>
                        <a:pt x="1357" y="934"/>
                      </a:lnTo>
                      <a:lnTo>
                        <a:pt x="1353" y="930"/>
                      </a:lnTo>
                      <a:lnTo>
                        <a:pt x="1353" y="921"/>
                      </a:lnTo>
                      <a:lnTo>
                        <a:pt x="1353" y="916"/>
                      </a:lnTo>
                      <a:lnTo>
                        <a:pt x="1357" y="916"/>
                      </a:lnTo>
                      <a:lnTo>
                        <a:pt x="1357" y="925"/>
                      </a:lnTo>
                      <a:lnTo>
                        <a:pt x="1366" y="912"/>
                      </a:lnTo>
                      <a:lnTo>
                        <a:pt x="1375" y="912"/>
                      </a:lnTo>
                      <a:lnTo>
                        <a:pt x="1375" y="889"/>
                      </a:lnTo>
                      <a:lnTo>
                        <a:pt x="1371" y="889"/>
                      </a:lnTo>
                      <a:lnTo>
                        <a:pt x="1371" y="885"/>
                      </a:lnTo>
                      <a:lnTo>
                        <a:pt x="1402" y="871"/>
                      </a:lnTo>
                      <a:lnTo>
                        <a:pt x="1411" y="871"/>
                      </a:lnTo>
                      <a:lnTo>
                        <a:pt x="1420" y="867"/>
                      </a:lnTo>
                      <a:lnTo>
                        <a:pt x="1429" y="867"/>
                      </a:lnTo>
                      <a:lnTo>
                        <a:pt x="1433" y="862"/>
                      </a:lnTo>
                      <a:lnTo>
                        <a:pt x="1429" y="854"/>
                      </a:lnTo>
                      <a:lnTo>
                        <a:pt x="1424" y="854"/>
                      </a:lnTo>
                      <a:lnTo>
                        <a:pt x="1424" y="858"/>
                      </a:lnTo>
                      <a:lnTo>
                        <a:pt x="1420" y="858"/>
                      </a:lnTo>
                      <a:lnTo>
                        <a:pt x="1420" y="849"/>
                      </a:lnTo>
                      <a:lnTo>
                        <a:pt x="1424" y="831"/>
                      </a:lnTo>
                      <a:lnTo>
                        <a:pt x="1429" y="822"/>
                      </a:lnTo>
                      <a:lnTo>
                        <a:pt x="1442" y="822"/>
                      </a:lnTo>
                      <a:lnTo>
                        <a:pt x="1447" y="813"/>
                      </a:lnTo>
                      <a:lnTo>
                        <a:pt x="1456" y="822"/>
                      </a:lnTo>
                      <a:lnTo>
                        <a:pt x="1474" y="809"/>
                      </a:lnTo>
                      <a:lnTo>
                        <a:pt x="1474" y="800"/>
                      </a:lnTo>
                      <a:lnTo>
                        <a:pt x="1469" y="800"/>
                      </a:lnTo>
                      <a:lnTo>
                        <a:pt x="1469" y="795"/>
                      </a:lnTo>
                      <a:lnTo>
                        <a:pt x="1460" y="791"/>
                      </a:lnTo>
                      <a:lnTo>
                        <a:pt x="1451" y="751"/>
                      </a:lnTo>
                      <a:lnTo>
                        <a:pt x="1442" y="755"/>
                      </a:lnTo>
                      <a:lnTo>
                        <a:pt x="1438" y="751"/>
                      </a:lnTo>
                      <a:lnTo>
                        <a:pt x="1420" y="778"/>
                      </a:lnTo>
                      <a:lnTo>
                        <a:pt x="1407" y="800"/>
                      </a:lnTo>
                      <a:lnTo>
                        <a:pt x="1362" y="804"/>
                      </a:lnTo>
                      <a:lnTo>
                        <a:pt x="1357" y="804"/>
                      </a:lnTo>
                      <a:lnTo>
                        <a:pt x="1340" y="818"/>
                      </a:lnTo>
                      <a:lnTo>
                        <a:pt x="1344" y="822"/>
                      </a:lnTo>
                      <a:lnTo>
                        <a:pt x="1340" y="831"/>
                      </a:lnTo>
                      <a:lnTo>
                        <a:pt x="1326" y="836"/>
                      </a:lnTo>
                      <a:lnTo>
                        <a:pt x="1304" y="831"/>
                      </a:lnTo>
                      <a:lnTo>
                        <a:pt x="1304" y="836"/>
                      </a:lnTo>
                      <a:lnTo>
                        <a:pt x="1299" y="845"/>
                      </a:lnTo>
                      <a:lnTo>
                        <a:pt x="1304" y="845"/>
                      </a:lnTo>
                      <a:lnTo>
                        <a:pt x="1299" y="849"/>
                      </a:lnTo>
                      <a:lnTo>
                        <a:pt x="1282" y="858"/>
                      </a:lnTo>
                      <a:lnTo>
                        <a:pt x="1268" y="867"/>
                      </a:lnTo>
                      <a:lnTo>
                        <a:pt x="1250" y="871"/>
                      </a:lnTo>
                      <a:lnTo>
                        <a:pt x="1237" y="862"/>
                      </a:lnTo>
                      <a:lnTo>
                        <a:pt x="1241" y="854"/>
                      </a:lnTo>
                      <a:lnTo>
                        <a:pt x="1241" y="845"/>
                      </a:lnTo>
                      <a:lnTo>
                        <a:pt x="1246" y="845"/>
                      </a:lnTo>
                      <a:lnTo>
                        <a:pt x="1246" y="831"/>
                      </a:lnTo>
                      <a:lnTo>
                        <a:pt x="1246" y="818"/>
                      </a:lnTo>
                      <a:lnTo>
                        <a:pt x="1237" y="818"/>
                      </a:lnTo>
                      <a:lnTo>
                        <a:pt x="1232" y="822"/>
                      </a:lnTo>
                      <a:lnTo>
                        <a:pt x="1232" y="818"/>
                      </a:lnTo>
                      <a:lnTo>
                        <a:pt x="1237" y="809"/>
                      </a:lnTo>
                      <a:lnTo>
                        <a:pt x="1241" y="795"/>
                      </a:lnTo>
                      <a:lnTo>
                        <a:pt x="1232" y="791"/>
                      </a:lnTo>
                      <a:lnTo>
                        <a:pt x="1219" y="787"/>
                      </a:lnTo>
                      <a:lnTo>
                        <a:pt x="1215" y="787"/>
                      </a:lnTo>
                      <a:lnTo>
                        <a:pt x="1206" y="800"/>
                      </a:lnTo>
                      <a:lnTo>
                        <a:pt x="1201" y="800"/>
                      </a:lnTo>
                      <a:lnTo>
                        <a:pt x="1197" y="804"/>
                      </a:lnTo>
                      <a:lnTo>
                        <a:pt x="1192" y="827"/>
                      </a:lnTo>
                      <a:lnTo>
                        <a:pt x="1192" y="849"/>
                      </a:lnTo>
                      <a:lnTo>
                        <a:pt x="1183" y="862"/>
                      </a:lnTo>
                      <a:lnTo>
                        <a:pt x="1174" y="854"/>
                      </a:lnTo>
                      <a:lnTo>
                        <a:pt x="1174" y="840"/>
                      </a:lnTo>
                      <a:lnTo>
                        <a:pt x="1179" y="809"/>
                      </a:lnTo>
                      <a:lnTo>
                        <a:pt x="1188" y="795"/>
                      </a:lnTo>
                      <a:lnTo>
                        <a:pt x="1170" y="804"/>
                      </a:lnTo>
                      <a:lnTo>
                        <a:pt x="1188" y="787"/>
                      </a:lnTo>
                      <a:lnTo>
                        <a:pt x="1223" y="778"/>
                      </a:lnTo>
                      <a:lnTo>
                        <a:pt x="1219" y="769"/>
                      </a:lnTo>
                      <a:lnTo>
                        <a:pt x="1215" y="764"/>
                      </a:lnTo>
                      <a:lnTo>
                        <a:pt x="1215" y="760"/>
                      </a:lnTo>
                      <a:lnTo>
                        <a:pt x="1197" y="764"/>
                      </a:lnTo>
                      <a:lnTo>
                        <a:pt x="1188" y="769"/>
                      </a:lnTo>
                      <a:lnTo>
                        <a:pt x="1170" y="755"/>
                      </a:lnTo>
                      <a:lnTo>
                        <a:pt x="1161" y="755"/>
                      </a:lnTo>
                      <a:lnTo>
                        <a:pt x="1170" y="746"/>
                      </a:lnTo>
                      <a:lnTo>
                        <a:pt x="1134" y="760"/>
                      </a:lnTo>
                      <a:lnTo>
                        <a:pt x="1125" y="760"/>
                      </a:lnTo>
                      <a:lnTo>
                        <a:pt x="1112" y="760"/>
                      </a:lnTo>
                      <a:lnTo>
                        <a:pt x="1125" y="751"/>
                      </a:lnTo>
                      <a:lnTo>
                        <a:pt x="1139" y="737"/>
                      </a:lnTo>
                      <a:lnTo>
                        <a:pt x="1130" y="733"/>
                      </a:lnTo>
                      <a:lnTo>
                        <a:pt x="1116" y="737"/>
                      </a:lnTo>
                      <a:lnTo>
                        <a:pt x="1107" y="728"/>
                      </a:lnTo>
                      <a:lnTo>
                        <a:pt x="1098" y="724"/>
                      </a:lnTo>
                      <a:lnTo>
                        <a:pt x="1076" y="724"/>
                      </a:lnTo>
                      <a:lnTo>
                        <a:pt x="1072" y="715"/>
                      </a:lnTo>
                      <a:lnTo>
                        <a:pt x="1063" y="719"/>
                      </a:lnTo>
                      <a:lnTo>
                        <a:pt x="674" y="719"/>
                      </a:lnTo>
                      <a:close/>
                      <a:moveTo>
                        <a:pt x="1375" y="885"/>
                      </a:moveTo>
                      <a:lnTo>
                        <a:pt x="1380" y="889"/>
                      </a:lnTo>
                      <a:lnTo>
                        <a:pt x="1389" y="885"/>
                      </a:lnTo>
                      <a:lnTo>
                        <a:pt x="1402" y="876"/>
                      </a:lnTo>
                      <a:lnTo>
                        <a:pt x="1402" y="876"/>
                      </a:lnTo>
                      <a:lnTo>
                        <a:pt x="1384" y="880"/>
                      </a:lnTo>
                      <a:lnTo>
                        <a:pt x="1375" y="88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68" name="Freeform 101">
                  <a:extLst>
                    <a:ext uri="{FF2B5EF4-FFF2-40B4-BE49-F238E27FC236}">
                      <a16:creationId xmlns:a16="http://schemas.microsoft.com/office/drawing/2014/main" id="{C2415E4D-93CC-4F6C-855E-8D6CAEDB88F7}"/>
                    </a:ext>
                  </a:extLst>
                </p:cNvPr>
                <p:cNvSpPr>
                  <a:spLocks noEditPoints="1"/>
                </p:cNvSpPr>
                <p:nvPr/>
              </p:nvSpPr>
              <p:spPr bwMode="gray">
                <a:xfrm>
                  <a:off x="1753" y="2507"/>
                  <a:ext cx="14" cy="13"/>
                </a:xfrm>
                <a:custGeom>
                  <a:avLst/>
                  <a:gdLst>
                    <a:gd name="T0" fmla="*/ 5 w 14"/>
                    <a:gd name="T1" fmla="*/ 4 h 13"/>
                    <a:gd name="T2" fmla="*/ 9 w 14"/>
                    <a:gd name="T3" fmla="*/ 4 h 13"/>
                    <a:gd name="T4" fmla="*/ 5 w 14"/>
                    <a:gd name="T5" fmla="*/ 0 h 13"/>
                    <a:gd name="T6" fmla="*/ 5 w 14"/>
                    <a:gd name="T7" fmla="*/ 0 h 13"/>
                    <a:gd name="T8" fmla="*/ 5 w 14"/>
                    <a:gd name="T9" fmla="*/ 4 h 13"/>
                    <a:gd name="T10" fmla="*/ 5 w 14"/>
                    <a:gd name="T11" fmla="*/ 13 h 13"/>
                    <a:gd name="T12" fmla="*/ 9 w 14"/>
                    <a:gd name="T13" fmla="*/ 9 h 13"/>
                    <a:gd name="T14" fmla="*/ 0 w 14"/>
                    <a:gd name="T15" fmla="*/ 13 h 13"/>
                    <a:gd name="T16" fmla="*/ 0 w 14"/>
                    <a:gd name="T17" fmla="*/ 13 h 13"/>
                    <a:gd name="T18" fmla="*/ 5 w 14"/>
                    <a:gd name="T19" fmla="*/ 13 h 13"/>
                    <a:gd name="T20" fmla="*/ 9 w 14"/>
                    <a:gd name="T21" fmla="*/ 0 h 13"/>
                    <a:gd name="T22" fmla="*/ 9 w 14"/>
                    <a:gd name="T23" fmla="*/ 0 h 13"/>
                    <a:gd name="T24" fmla="*/ 9 w 14"/>
                    <a:gd name="T25" fmla="*/ 0 h 13"/>
                    <a:gd name="T26" fmla="*/ 14 w 14"/>
                    <a:gd name="T27" fmla="*/ 0 h 13"/>
                    <a:gd name="T28" fmla="*/ 9 w 14"/>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3">
                      <a:moveTo>
                        <a:pt x="5" y="4"/>
                      </a:moveTo>
                      <a:lnTo>
                        <a:pt x="9" y="4"/>
                      </a:lnTo>
                      <a:lnTo>
                        <a:pt x="5" y="0"/>
                      </a:lnTo>
                      <a:lnTo>
                        <a:pt x="5" y="0"/>
                      </a:lnTo>
                      <a:lnTo>
                        <a:pt x="5" y="4"/>
                      </a:lnTo>
                      <a:close/>
                      <a:moveTo>
                        <a:pt x="5" y="13"/>
                      </a:moveTo>
                      <a:lnTo>
                        <a:pt x="9" y="9"/>
                      </a:lnTo>
                      <a:lnTo>
                        <a:pt x="0" y="13"/>
                      </a:lnTo>
                      <a:lnTo>
                        <a:pt x="0" y="13"/>
                      </a:lnTo>
                      <a:lnTo>
                        <a:pt x="5" y="13"/>
                      </a:lnTo>
                      <a:close/>
                      <a:moveTo>
                        <a:pt x="9" y="0"/>
                      </a:moveTo>
                      <a:lnTo>
                        <a:pt x="9" y="0"/>
                      </a:lnTo>
                      <a:lnTo>
                        <a:pt x="9" y="0"/>
                      </a:lnTo>
                      <a:lnTo>
                        <a:pt x="14" y="0"/>
                      </a:lnTo>
                      <a:lnTo>
                        <a:pt x="9"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69" name="Freeform 102">
                  <a:extLst>
                    <a:ext uri="{FF2B5EF4-FFF2-40B4-BE49-F238E27FC236}">
                      <a16:creationId xmlns:a16="http://schemas.microsoft.com/office/drawing/2014/main" id="{AEF411F2-6F44-4E7E-ADFD-57A59C83111A}"/>
                    </a:ext>
                  </a:extLst>
                </p:cNvPr>
                <p:cNvSpPr>
                  <a:spLocks/>
                </p:cNvSpPr>
                <p:nvPr/>
              </p:nvSpPr>
              <p:spPr bwMode="gray">
                <a:xfrm>
                  <a:off x="1852" y="3244"/>
                  <a:ext cx="71" cy="85"/>
                </a:xfrm>
                <a:custGeom>
                  <a:avLst/>
                  <a:gdLst>
                    <a:gd name="T0" fmla="*/ 0 w 71"/>
                    <a:gd name="T1" fmla="*/ 54 h 85"/>
                    <a:gd name="T2" fmla="*/ 4 w 71"/>
                    <a:gd name="T3" fmla="*/ 49 h 85"/>
                    <a:gd name="T4" fmla="*/ 0 w 71"/>
                    <a:gd name="T5" fmla="*/ 31 h 85"/>
                    <a:gd name="T6" fmla="*/ 9 w 71"/>
                    <a:gd name="T7" fmla="*/ 4 h 85"/>
                    <a:gd name="T8" fmla="*/ 13 w 71"/>
                    <a:gd name="T9" fmla="*/ 0 h 85"/>
                    <a:gd name="T10" fmla="*/ 22 w 71"/>
                    <a:gd name="T11" fmla="*/ 0 h 85"/>
                    <a:gd name="T12" fmla="*/ 31 w 71"/>
                    <a:gd name="T13" fmla="*/ 13 h 85"/>
                    <a:gd name="T14" fmla="*/ 40 w 71"/>
                    <a:gd name="T15" fmla="*/ 9 h 85"/>
                    <a:gd name="T16" fmla="*/ 49 w 71"/>
                    <a:gd name="T17" fmla="*/ 22 h 85"/>
                    <a:gd name="T18" fmla="*/ 62 w 71"/>
                    <a:gd name="T19" fmla="*/ 27 h 85"/>
                    <a:gd name="T20" fmla="*/ 71 w 71"/>
                    <a:gd name="T21" fmla="*/ 45 h 85"/>
                    <a:gd name="T22" fmla="*/ 67 w 71"/>
                    <a:gd name="T23" fmla="*/ 54 h 85"/>
                    <a:gd name="T24" fmla="*/ 67 w 71"/>
                    <a:gd name="T25" fmla="*/ 67 h 85"/>
                    <a:gd name="T26" fmla="*/ 49 w 71"/>
                    <a:gd name="T27" fmla="*/ 85 h 85"/>
                    <a:gd name="T28" fmla="*/ 31 w 71"/>
                    <a:gd name="T29" fmla="*/ 85 h 85"/>
                    <a:gd name="T30" fmla="*/ 13 w 71"/>
                    <a:gd name="T31" fmla="*/ 80 h 85"/>
                    <a:gd name="T32" fmla="*/ 4 w 71"/>
                    <a:gd name="T33" fmla="*/ 80 h 85"/>
                    <a:gd name="T34" fmla="*/ 0 w 71"/>
                    <a:gd name="T35" fmla="*/ 67 h 85"/>
                    <a:gd name="T36" fmla="*/ 0 w 71"/>
                    <a:gd name="T37" fmla="*/ 54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 h="85">
                      <a:moveTo>
                        <a:pt x="0" y="54"/>
                      </a:moveTo>
                      <a:lnTo>
                        <a:pt x="4" y="49"/>
                      </a:lnTo>
                      <a:lnTo>
                        <a:pt x="0" y="31"/>
                      </a:lnTo>
                      <a:lnTo>
                        <a:pt x="9" y="4"/>
                      </a:lnTo>
                      <a:lnTo>
                        <a:pt x="13" y="0"/>
                      </a:lnTo>
                      <a:lnTo>
                        <a:pt x="22" y="0"/>
                      </a:lnTo>
                      <a:lnTo>
                        <a:pt x="31" y="13"/>
                      </a:lnTo>
                      <a:lnTo>
                        <a:pt x="40" y="9"/>
                      </a:lnTo>
                      <a:lnTo>
                        <a:pt x="49" y="22"/>
                      </a:lnTo>
                      <a:lnTo>
                        <a:pt x="62" y="27"/>
                      </a:lnTo>
                      <a:lnTo>
                        <a:pt x="71" y="45"/>
                      </a:lnTo>
                      <a:lnTo>
                        <a:pt x="67" y="54"/>
                      </a:lnTo>
                      <a:lnTo>
                        <a:pt x="67" y="67"/>
                      </a:lnTo>
                      <a:lnTo>
                        <a:pt x="49" y="85"/>
                      </a:lnTo>
                      <a:lnTo>
                        <a:pt x="31" y="85"/>
                      </a:lnTo>
                      <a:lnTo>
                        <a:pt x="13" y="80"/>
                      </a:lnTo>
                      <a:lnTo>
                        <a:pt x="4" y="80"/>
                      </a:lnTo>
                      <a:lnTo>
                        <a:pt x="0" y="67"/>
                      </a:lnTo>
                      <a:lnTo>
                        <a:pt x="0" y="5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70" name="Freeform 103">
                  <a:extLst>
                    <a:ext uri="{FF2B5EF4-FFF2-40B4-BE49-F238E27FC236}">
                      <a16:creationId xmlns:a16="http://schemas.microsoft.com/office/drawing/2014/main" id="{599D2E26-9032-4219-A79F-F723083A636A}"/>
                    </a:ext>
                  </a:extLst>
                </p:cNvPr>
                <p:cNvSpPr>
                  <a:spLocks/>
                </p:cNvSpPr>
                <p:nvPr/>
              </p:nvSpPr>
              <p:spPr bwMode="gray">
                <a:xfrm>
                  <a:off x="1633" y="2601"/>
                  <a:ext cx="196" cy="165"/>
                </a:xfrm>
                <a:custGeom>
                  <a:avLst/>
                  <a:gdLst>
                    <a:gd name="T0" fmla="*/ 89 w 196"/>
                    <a:gd name="T1" fmla="*/ 138 h 165"/>
                    <a:gd name="T2" fmla="*/ 85 w 196"/>
                    <a:gd name="T3" fmla="*/ 129 h 165"/>
                    <a:gd name="T4" fmla="*/ 80 w 196"/>
                    <a:gd name="T5" fmla="*/ 107 h 165"/>
                    <a:gd name="T6" fmla="*/ 58 w 196"/>
                    <a:gd name="T7" fmla="*/ 89 h 165"/>
                    <a:gd name="T8" fmla="*/ 22 w 196"/>
                    <a:gd name="T9" fmla="*/ 80 h 165"/>
                    <a:gd name="T10" fmla="*/ 13 w 196"/>
                    <a:gd name="T11" fmla="*/ 58 h 165"/>
                    <a:gd name="T12" fmla="*/ 0 w 196"/>
                    <a:gd name="T13" fmla="*/ 49 h 165"/>
                    <a:gd name="T14" fmla="*/ 4 w 196"/>
                    <a:gd name="T15" fmla="*/ 26 h 165"/>
                    <a:gd name="T16" fmla="*/ 22 w 196"/>
                    <a:gd name="T17" fmla="*/ 4 h 165"/>
                    <a:gd name="T18" fmla="*/ 18 w 196"/>
                    <a:gd name="T19" fmla="*/ 13 h 165"/>
                    <a:gd name="T20" fmla="*/ 13 w 196"/>
                    <a:gd name="T21" fmla="*/ 35 h 165"/>
                    <a:gd name="T22" fmla="*/ 31 w 196"/>
                    <a:gd name="T23" fmla="*/ 44 h 165"/>
                    <a:gd name="T24" fmla="*/ 22 w 196"/>
                    <a:gd name="T25" fmla="*/ 26 h 165"/>
                    <a:gd name="T26" fmla="*/ 49 w 196"/>
                    <a:gd name="T27" fmla="*/ 17 h 165"/>
                    <a:gd name="T28" fmla="*/ 44 w 196"/>
                    <a:gd name="T29" fmla="*/ 13 h 165"/>
                    <a:gd name="T30" fmla="*/ 49 w 196"/>
                    <a:gd name="T31" fmla="*/ 0 h 165"/>
                    <a:gd name="T32" fmla="*/ 62 w 196"/>
                    <a:gd name="T33" fmla="*/ 13 h 165"/>
                    <a:gd name="T34" fmla="*/ 71 w 196"/>
                    <a:gd name="T35" fmla="*/ 26 h 165"/>
                    <a:gd name="T36" fmla="*/ 120 w 196"/>
                    <a:gd name="T37" fmla="*/ 35 h 165"/>
                    <a:gd name="T38" fmla="*/ 129 w 196"/>
                    <a:gd name="T39" fmla="*/ 17 h 165"/>
                    <a:gd name="T40" fmla="*/ 143 w 196"/>
                    <a:gd name="T41" fmla="*/ 17 h 165"/>
                    <a:gd name="T42" fmla="*/ 170 w 196"/>
                    <a:gd name="T43" fmla="*/ 26 h 165"/>
                    <a:gd name="T44" fmla="*/ 161 w 196"/>
                    <a:gd name="T45" fmla="*/ 40 h 165"/>
                    <a:gd name="T46" fmla="*/ 183 w 196"/>
                    <a:gd name="T47" fmla="*/ 44 h 165"/>
                    <a:gd name="T48" fmla="*/ 192 w 196"/>
                    <a:gd name="T49" fmla="*/ 53 h 165"/>
                    <a:gd name="T50" fmla="*/ 183 w 196"/>
                    <a:gd name="T51" fmla="*/ 71 h 165"/>
                    <a:gd name="T52" fmla="*/ 178 w 196"/>
                    <a:gd name="T53" fmla="*/ 84 h 165"/>
                    <a:gd name="T54" fmla="*/ 183 w 196"/>
                    <a:gd name="T55" fmla="*/ 102 h 165"/>
                    <a:gd name="T56" fmla="*/ 152 w 196"/>
                    <a:gd name="T57" fmla="*/ 120 h 165"/>
                    <a:gd name="T58" fmla="*/ 125 w 196"/>
                    <a:gd name="T59" fmla="*/ 111 h 165"/>
                    <a:gd name="T60" fmla="*/ 125 w 196"/>
                    <a:gd name="T61" fmla="*/ 125 h 165"/>
                    <a:gd name="T62" fmla="*/ 143 w 196"/>
                    <a:gd name="T63" fmla="*/ 147 h 165"/>
                    <a:gd name="T64" fmla="*/ 125 w 196"/>
                    <a:gd name="T65" fmla="*/ 156 h 165"/>
                    <a:gd name="T66" fmla="*/ 94 w 196"/>
                    <a:gd name="T67" fmla="*/ 16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6" h="165">
                      <a:moveTo>
                        <a:pt x="94" y="160"/>
                      </a:moveTo>
                      <a:lnTo>
                        <a:pt x="89" y="138"/>
                      </a:lnTo>
                      <a:lnTo>
                        <a:pt x="76" y="143"/>
                      </a:lnTo>
                      <a:lnTo>
                        <a:pt x="85" y="129"/>
                      </a:lnTo>
                      <a:lnTo>
                        <a:pt x="80" y="125"/>
                      </a:lnTo>
                      <a:lnTo>
                        <a:pt x="80" y="107"/>
                      </a:lnTo>
                      <a:lnTo>
                        <a:pt x="85" y="84"/>
                      </a:lnTo>
                      <a:lnTo>
                        <a:pt x="58" y="89"/>
                      </a:lnTo>
                      <a:lnTo>
                        <a:pt x="49" y="75"/>
                      </a:lnTo>
                      <a:lnTo>
                        <a:pt x="22" y="80"/>
                      </a:lnTo>
                      <a:lnTo>
                        <a:pt x="9" y="67"/>
                      </a:lnTo>
                      <a:lnTo>
                        <a:pt x="13" y="58"/>
                      </a:lnTo>
                      <a:lnTo>
                        <a:pt x="4" y="49"/>
                      </a:lnTo>
                      <a:lnTo>
                        <a:pt x="0" y="49"/>
                      </a:lnTo>
                      <a:lnTo>
                        <a:pt x="4" y="44"/>
                      </a:lnTo>
                      <a:lnTo>
                        <a:pt x="4" y="26"/>
                      </a:lnTo>
                      <a:lnTo>
                        <a:pt x="13" y="13"/>
                      </a:lnTo>
                      <a:lnTo>
                        <a:pt x="22" y="4"/>
                      </a:lnTo>
                      <a:lnTo>
                        <a:pt x="31" y="4"/>
                      </a:lnTo>
                      <a:lnTo>
                        <a:pt x="18" y="13"/>
                      </a:lnTo>
                      <a:lnTo>
                        <a:pt x="22" y="22"/>
                      </a:lnTo>
                      <a:lnTo>
                        <a:pt x="13" y="35"/>
                      </a:lnTo>
                      <a:lnTo>
                        <a:pt x="22" y="49"/>
                      </a:lnTo>
                      <a:lnTo>
                        <a:pt x="31" y="44"/>
                      </a:lnTo>
                      <a:lnTo>
                        <a:pt x="31" y="35"/>
                      </a:lnTo>
                      <a:lnTo>
                        <a:pt x="22" y="26"/>
                      </a:lnTo>
                      <a:lnTo>
                        <a:pt x="27" y="22"/>
                      </a:lnTo>
                      <a:lnTo>
                        <a:pt x="49" y="17"/>
                      </a:lnTo>
                      <a:lnTo>
                        <a:pt x="49" y="8"/>
                      </a:lnTo>
                      <a:lnTo>
                        <a:pt x="44" y="13"/>
                      </a:lnTo>
                      <a:lnTo>
                        <a:pt x="44" y="4"/>
                      </a:lnTo>
                      <a:lnTo>
                        <a:pt x="49" y="0"/>
                      </a:lnTo>
                      <a:lnTo>
                        <a:pt x="53" y="13"/>
                      </a:lnTo>
                      <a:lnTo>
                        <a:pt x="62" y="13"/>
                      </a:lnTo>
                      <a:lnTo>
                        <a:pt x="71" y="17"/>
                      </a:lnTo>
                      <a:lnTo>
                        <a:pt x="71" y="26"/>
                      </a:lnTo>
                      <a:lnTo>
                        <a:pt x="103" y="26"/>
                      </a:lnTo>
                      <a:lnTo>
                        <a:pt x="120" y="35"/>
                      </a:lnTo>
                      <a:lnTo>
                        <a:pt x="134" y="26"/>
                      </a:lnTo>
                      <a:lnTo>
                        <a:pt x="129" y="17"/>
                      </a:lnTo>
                      <a:lnTo>
                        <a:pt x="143" y="13"/>
                      </a:lnTo>
                      <a:lnTo>
                        <a:pt x="143" y="17"/>
                      </a:lnTo>
                      <a:lnTo>
                        <a:pt x="138" y="22"/>
                      </a:lnTo>
                      <a:lnTo>
                        <a:pt x="170" y="26"/>
                      </a:lnTo>
                      <a:lnTo>
                        <a:pt x="152" y="31"/>
                      </a:lnTo>
                      <a:lnTo>
                        <a:pt x="161" y="40"/>
                      </a:lnTo>
                      <a:lnTo>
                        <a:pt x="178" y="40"/>
                      </a:lnTo>
                      <a:lnTo>
                        <a:pt x="183" y="44"/>
                      </a:lnTo>
                      <a:lnTo>
                        <a:pt x="183" y="53"/>
                      </a:lnTo>
                      <a:lnTo>
                        <a:pt x="192" y="53"/>
                      </a:lnTo>
                      <a:lnTo>
                        <a:pt x="196" y="67"/>
                      </a:lnTo>
                      <a:lnTo>
                        <a:pt x="183" y="71"/>
                      </a:lnTo>
                      <a:lnTo>
                        <a:pt x="187" y="80"/>
                      </a:lnTo>
                      <a:lnTo>
                        <a:pt x="178" y="84"/>
                      </a:lnTo>
                      <a:lnTo>
                        <a:pt x="174" y="93"/>
                      </a:lnTo>
                      <a:lnTo>
                        <a:pt x="183" y="102"/>
                      </a:lnTo>
                      <a:lnTo>
                        <a:pt x="183" y="116"/>
                      </a:lnTo>
                      <a:lnTo>
                        <a:pt x="152" y="120"/>
                      </a:lnTo>
                      <a:lnTo>
                        <a:pt x="138" y="120"/>
                      </a:lnTo>
                      <a:lnTo>
                        <a:pt x="125" y="111"/>
                      </a:lnTo>
                      <a:lnTo>
                        <a:pt x="120" y="120"/>
                      </a:lnTo>
                      <a:lnTo>
                        <a:pt x="125" y="125"/>
                      </a:lnTo>
                      <a:lnTo>
                        <a:pt x="129" y="143"/>
                      </a:lnTo>
                      <a:lnTo>
                        <a:pt x="143" y="147"/>
                      </a:lnTo>
                      <a:lnTo>
                        <a:pt x="134" y="147"/>
                      </a:lnTo>
                      <a:lnTo>
                        <a:pt x="125" y="156"/>
                      </a:lnTo>
                      <a:lnTo>
                        <a:pt x="103" y="165"/>
                      </a:lnTo>
                      <a:lnTo>
                        <a:pt x="94" y="16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grpSp>
          <p:grpSp>
            <p:nvGrpSpPr>
              <p:cNvPr id="26" name="Group 104">
                <a:extLst>
                  <a:ext uri="{FF2B5EF4-FFF2-40B4-BE49-F238E27FC236}">
                    <a16:creationId xmlns:a16="http://schemas.microsoft.com/office/drawing/2014/main" id="{ED9E9C8E-5376-4ED3-B9E0-3B121BC1B1D6}"/>
                  </a:ext>
                </a:extLst>
              </p:cNvPr>
              <p:cNvGrpSpPr>
                <a:grpSpLocks/>
              </p:cNvGrpSpPr>
              <p:nvPr/>
            </p:nvGrpSpPr>
            <p:grpSpPr bwMode="gray">
              <a:xfrm>
                <a:off x="4658089" y="1428949"/>
                <a:ext cx="3713530" cy="3348816"/>
                <a:chOff x="2959" y="911"/>
                <a:chExt cx="2448" cy="2208"/>
              </a:xfrm>
              <a:grpFill/>
            </p:grpSpPr>
            <p:sp>
              <p:nvSpPr>
                <p:cNvPr id="73" name="Freeform 105">
                  <a:extLst>
                    <a:ext uri="{FF2B5EF4-FFF2-40B4-BE49-F238E27FC236}">
                      <a16:creationId xmlns:a16="http://schemas.microsoft.com/office/drawing/2014/main" id="{AD15810C-A35A-4D53-8C2A-882AF70A3493}"/>
                    </a:ext>
                  </a:extLst>
                </p:cNvPr>
                <p:cNvSpPr>
                  <a:spLocks noEditPoints="1"/>
                </p:cNvSpPr>
                <p:nvPr/>
              </p:nvSpPr>
              <p:spPr bwMode="gray">
                <a:xfrm>
                  <a:off x="4702" y="2811"/>
                  <a:ext cx="214" cy="134"/>
                </a:xfrm>
                <a:custGeom>
                  <a:avLst/>
                  <a:gdLst>
                    <a:gd name="T0" fmla="*/ 0 w 214"/>
                    <a:gd name="T1" fmla="*/ 13 h 134"/>
                    <a:gd name="T2" fmla="*/ 26 w 214"/>
                    <a:gd name="T3" fmla="*/ 26 h 134"/>
                    <a:gd name="T4" fmla="*/ 67 w 214"/>
                    <a:gd name="T5" fmla="*/ 40 h 134"/>
                    <a:gd name="T6" fmla="*/ 93 w 214"/>
                    <a:gd name="T7" fmla="*/ 58 h 134"/>
                    <a:gd name="T8" fmla="*/ 93 w 214"/>
                    <a:gd name="T9" fmla="*/ 71 h 134"/>
                    <a:gd name="T10" fmla="*/ 102 w 214"/>
                    <a:gd name="T11" fmla="*/ 98 h 134"/>
                    <a:gd name="T12" fmla="*/ 120 w 214"/>
                    <a:gd name="T13" fmla="*/ 107 h 134"/>
                    <a:gd name="T14" fmla="*/ 129 w 214"/>
                    <a:gd name="T15" fmla="*/ 116 h 134"/>
                    <a:gd name="T16" fmla="*/ 143 w 214"/>
                    <a:gd name="T17" fmla="*/ 125 h 134"/>
                    <a:gd name="T18" fmla="*/ 129 w 214"/>
                    <a:gd name="T19" fmla="*/ 134 h 134"/>
                    <a:gd name="T20" fmla="*/ 102 w 214"/>
                    <a:gd name="T21" fmla="*/ 125 h 134"/>
                    <a:gd name="T22" fmla="*/ 76 w 214"/>
                    <a:gd name="T23" fmla="*/ 102 h 134"/>
                    <a:gd name="T24" fmla="*/ 58 w 214"/>
                    <a:gd name="T25" fmla="*/ 84 h 134"/>
                    <a:gd name="T26" fmla="*/ 26 w 214"/>
                    <a:gd name="T27" fmla="*/ 93 h 134"/>
                    <a:gd name="T28" fmla="*/ 22 w 214"/>
                    <a:gd name="T29" fmla="*/ 107 h 134"/>
                    <a:gd name="T30" fmla="*/ 4 w 214"/>
                    <a:gd name="T31" fmla="*/ 107 h 134"/>
                    <a:gd name="T32" fmla="*/ 76 w 214"/>
                    <a:gd name="T33" fmla="*/ 0 h 134"/>
                    <a:gd name="T34" fmla="*/ 80 w 214"/>
                    <a:gd name="T35" fmla="*/ 8 h 134"/>
                    <a:gd name="T36" fmla="*/ 89 w 214"/>
                    <a:gd name="T37" fmla="*/ 0 h 134"/>
                    <a:gd name="T38" fmla="*/ 76 w 214"/>
                    <a:gd name="T39" fmla="*/ 0 h 134"/>
                    <a:gd name="T40" fmla="*/ 102 w 214"/>
                    <a:gd name="T41" fmla="*/ 58 h 134"/>
                    <a:gd name="T42" fmla="*/ 116 w 214"/>
                    <a:gd name="T43" fmla="*/ 67 h 134"/>
                    <a:gd name="T44" fmla="*/ 129 w 214"/>
                    <a:gd name="T45" fmla="*/ 71 h 134"/>
                    <a:gd name="T46" fmla="*/ 151 w 214"/>
                    <a:gd name="T47" fmla="*/ 58 h 134"/>
                    <a:gd name="T48" fmla="*/ 165 w 214"/>
                    <a:gd name="T49" fmla="*/ 40 h 134"/>
                    <a:gd name="T50" fmla="*/ 151 w 214"/>
                    <a:gd name="T51" fmla="*/ 35 h 134"/>
                    <a:gd name="T52" fmla="*/ 143 w 214"/>
                    <a:gd name="T53" fmla="*/ 53 h 134"/>
                    <a:gd name="T54" fmla="*/ 129 w 214"/>
                    <a:gd name="T55" fmla="*/ 49 h 134"/>
                    <a:gd name="T56" fmla="*/ 102 w 214"/>
                    <a:gd name="T57" fmla="*/ 53 h 134"/>
                    <a:gd name="T58" fmla="*/ 165 w 214"/>
                    <a:gd name="T59" fmla="*/ 26 h 134"/>
                    <a:gd name="T60" fmla="*/ 134 w 214"/>
                    <a:gd name="T61" fmla="*/ 4 h 134"/>
                    <a:gd name="T62" fmla="*/ 143 w 214"/>
                    <a:gd name="T63" fmla="*/ 13 h 134"/>
                    <a:gd name="T64" fmla="*/ 165 w 214"/>
                    <a:gd name="T65" fmla="*/ 35 h 134"/>
                    <a:gd name="T66" fmla="*/ 174 w 214"/>
                    <a:gd name="T67" fmla="*/ 35 h 134"/>
                    <a:gd name="T68" fmla="*/ 196 w 214"/>
                    <a:gd name="T69" fmla="*/ 62 h 134"/>
                    <a:gd name="T70" fmla="*/ 210 w 214"/>
                    <a:gd name="T71" fmla="*/ 71 h 134"/>
                    <a:gd name="T72" fmla="*/ 201 w 214"/>
                    <a:gd name="T73" fmla="*/ 5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4" h="134">
                      <a:moveTo>
                        <a:pt x="0" y="102"/>
                      </a:moveTo>
                      <a:lnTo>
                        <a:pt x="0" y="13"/>
                      </a:lnTo>
                      <a:lnTo>
                        <a:pt x="13" y="13"/>
                      </a:lnTo>
                      <a:lnTo>
                        <a:pt x="26" y="26"/>
                      </a:lnTo>
                      <a:lnTo>
                        <a:pt x="49" y="26"/>
                      </a:lnTo>
                      <a:lnTo>
                        <a:pt x="67" y="40"/>
                      </a:lnTo>
                      <a:lnTo>
                        <a:pt x="67" y="53"/>
                      </a:lnTo>
                      <a:lnTo>
                        <a:pt x="93" y="58"/>
                      </a:lnTo>
                      <a:lnTo>
                        <a:pt x="98" y="71"/>
                      </a:lnTo>
                      <a:lnTo>
                        <a:pt x="93" y="71"/>
                      </a:lnTo>
                      <a:lnTo>
                        <a:pt x="84" y="71"/>
                      </a:lnTo>
                      <a:lnTo>
                        <a:pt x="102" y="98"/>
                      </a:lnTo>
                      <a:lnTo>
                        <a:pt x="111" y="107"/>
                      </a:lnTo>
                      <a:lnTo>
                        <a:pt x="120" y="107"/>
                      </a:lnTo>
                      <a:lnTo>
                        <a:pt x="120" y="111"/>
                      </a:lnTo>
                      <a:lnTo>
                        <a:pt x="129" y="116"/>
                      </a:lnTo>
                      <a:lnTo>
                        <a:pt x="129" y="120"/>
                      </a:lnTo>
                      <a:lnTo>
                        <a:pt x="143" y="125"/>
                      </a:lnTo>
                      <a:lnTo>
                        <a:pt x="134" y="134"/>
                      </a:lnTo>
                      <a:lnTo>
                        <a:pt x="129" y="134"/>
                      </a:lnTo>
                      <a:lnTo>
                        <a:pt x="129" y="125"/>
                      </a:lnTo>
                      <a:lnTo>
                        <a:pt x="102" y="125"/>
                      </a:lnTo>
                      <a:lnTo>
                        <a:pt x="89" y="120"/>
                      </a:lnTo>
                      <a:lnTo>
                        <a:pt x="76" y="102"/>
                      </a:lnTo>
                      <a:lnTo>
                        <a:pt x="67" y="89"/>
                      </a:lnTo>
                      <a:lnTo>
                        <a:pt x="58" y="84"/>
                      </a:lnTo>
                      <a:lnTo>
                        <a:pt x="40" y="80"/>
                      </a:lnTo>
                      <a:lnTo>
                        <a:pt x="26" y="93"/>
                      </a:lnTo>
                      <a:lnTo>
                        <a:pt x="31" y="102"/>
                      </a:lnTo>
                      <a:lnTo>
                        <a:pt x="22" y="107"/>
                      </a:lnTo>
                      <a:lnTo>
                        <a:pt x="4" y="102"/>
                      </a:lnTo>
                      <a:lnTo>
                        <a:pt x="4" y="107"/>
                      </a:lnTo>
                      <a:lnTo>
                        <a:pt x="0" y="102"/>
                      </a:lnTo>
                      <a:close/>
                      <a:moveTo>
                        <a:pt x="76" y="0"/>
                      </a:moveTo>
                      <a:lnTo>
                        <a:pt x="76" y="8"/>
                      </a:lnTo>
                      <a:lnTo>
                        <a:pt x="80" y="8"/>
                      </a:lnTo>
                      <a:lnTo>
                        <a:pt x="89" y="4"/>
                      </a:lnTo>
                      <a:lnTo>
                        <a:pt x="89" y="0"/>
                      </a:lnTo>
                      <a:lnTo>
                        <a:pt x="80" y="0"/>
                      </a:lnTo>
                      <a:lnTo>
                        <a:pt x="76" y="0"/>
                      </a:lnTo>
                      <a:close/>
                      <a:moveTo>
                        <a:pt x="102" y="53"/>
                      </a:moveTo>
                      <a:lnTo>
                        <a:pt x="102" y="58"/>
                      </a:lnTo>
                      <a:lnTo>
                        <a:pt x="111" y="62"/>
                      </a:lnTo>
                      <a:lnTo>
                        <a:pt x="116" y="67"/>
                      </a:lnTo>
                      <a:lnTo>
                        <a:pt x="125" y="62"/>
                      </a:lnTo>
                      <a:lnTo>
                        <a:pt x="129" y="71"/>
                      </a:lnTo>
                      <a:lnTo>
                        <a:pt x="147" y="67"/>
                      </a:lnTo>
                      <a:lnTo>
                        <a:pt x="151" y="58"/>
                      </a:lnTo>
                      <a:lnTo>
                        <a:pt x="160" y="58"/>
                      </a:lnTo>
                      <a:lnTo>
                        <a:pt x="165" y="40"/>
                      </a:lnTo>
                      <a:lnTo>
                        <a:pt x="160" y="35"/>
                      </a:lnTo>
                      <a:lnTo>
                        <a:pt x="151" y="35"/>
                      </a:lnTo>
                      <a:lnTo>
                        <a:pt x="151" y="49"/>
                      </a:lnTo>
                      <a:lnTo>
                        <a:pt x="143" y="53"/>
                      </a:lnTo>
                      <a:lnTo>
                        <a:pt x="134" y="53"/>
                      </a:lnTo>
                      <a:lnTo>
                        <a:pt x="129" y="49"/>
                      </a:lnTo>
                      <a:lnTo>
                        <a:pt x="125" y="53"/>
                      </a:lnTo>
                      <a:lnTo>
                        <a:pt x="102" y="53"/>
                      </a:lnTo>
                      <a:close/>
                      <a:moveTo>
                        <a:pt x="174" y="35"/>
                      </a:moveTo>
                      <a:lnTo>
                        <a:pt x="165" y="26"/>
                      </a:lnTo>
                      <a:lnTo>
                        <a:pt x="143" y="8"/>
                      </a:lnTo>
                      <a:lnTo>
                        <a:pt x="134" y="4"/>
                      </a:lnTo>
                      <a:lnTo>
                        <a:pt x="129" y="8"/>
                      </a:lnTo>
                      <a:lnTo>
                        <a:pt x="143" y="13"/>
                      </a:lnTo>
                      <a:lnTo>
                        <a:pt x="160" y="31"/>
                      </a:lnTo>
                      <a:lnTo>
                        <a:pt x="165" y="35"/>
                      </a:lnTo>
                      <a:lnTo>
                        <a:pt x="169" y="44"/>
                      </a:lnTo>
                      <a:lnTo>
                        <a:pt x="174" y="35"/>
                      </a:lnTo>
                      <a:close/>
                      <a:moveTo>
                        <a:pt x="196" y="53"/>
                      </a:moveTo>
                      <a:lnTo>
                        <a:pt x="196" y="62"/>
                      </a:lnTo>
                      <a:lnTo>
                        <a:pt x="201" y="76"/>
                      </a:lnTo>
                      <a:lnTo>
                        <a:pt x="210" y="71"/>
                      </a:lnTo>
                      <a:lnTo>
                        <a:pt x="214" y="67"/>
                      </a:lnTo>
                      <a:lnTo>
                        <a:pt x="201" y="53"/>
                      </a:lnTo>
                      <a:lnTo>
                        <a:pt x="196" y="53"/>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grpSp>
              <p:nvGrpSpPr>
                <p:cNvPr id="74" name="Group 106">
                  <a:extLst>
                    <a:ext uri="{FF2B5EF4-FFF2-40B4-BE49-F238E27FC236}">
                      <a16:creationId xmlns:a16="http://schemas.microsoft.com/office/drawing/2014/main" id="{8C2C612A-04AC-4B06-88B4-1A301BF2E501}"/>
                    </a:ext>
                  </a:extLst>
                </p:cNvPr>
                <p:cNvGrpSpPr>
                  <a:grpSpLocks/>
                </p:cNvGrpSpPr>
                <p:nvPr/>
              </p:nvGrpSpPr>
              <p:grpSpPr bwMode="gray">
                <a:xfrm>
                  <a:off x="2959" y="911"/>
                  <a:ext cx="2448" cy="2208"/>
                  <a:chOff x="2959" y="911"/>
                  <a:chExt cx="2448" cy="2208"/>
                </a:xfrm>
                <a:grpFill/>
              </p:grpSpPr>
              <p:sp>
                <p:nvSpPr>
                  <p:cNvPr id="75" name="Freeform 107">
                    <a:extLst>
                      <a:ext uri="{FF2B5EF4-FFF2-40B4-BE49-F238E27FC236}">
                        <a16:creationId xmlns:a16="http://schemas.microsoft.com/office/drawing/2014/main" id="{588167DE-EF3F-422D-896C-C7693E19A509}"/>
                      </a:ext>
                    </a:extLst>
                  </p:cNvPr>
                  <p:cNvSpPr>
                    <a:spLocks/>
                  </p:cNvSpPr>
                  <p:nvPr/>
                </p:nvSpPr>
                <p:spPr bwMode="gray">
                  <a:xfrm>
                    <a:off x="3549" y="2172"/>
                    <a:ext cx="206" cy="165"/>
                  </a:xfrm>
                  <a:custGeom>
                    <a:avLst/>
                    <a:gdLst>
                      <a:gd name="T0" fmla="*/ 5 w 206"/>
                      <a:gd name="T1" fmla="*/ 156 h 165"/>
                      <a:gd name="T2" fmla="*/ 14 w 206"/>
                      <a:gd name="T3" fmla="*/ 160 h 165"/>
                      <a:gd name="T4" fmla="*/ 27 w 206"/>
                      <a:gd name="T5" fmla="*/ 165 h 165"/>
                      <a:gd name="T6" fmla="*/ 81 w 206"/>
                      <a:gd name="T7" fmla="*/ 160 h 165"/>
                      <a:gd name="T8" fmla="*/ 85 w 206"/>
                      <a:gd name="T9" fmla="*/ 138 h 165"/>
                      <a:gd name="T10" fmla="*/ 89 w 206"/>
                      <a:gd name="T11" fmla="*/ 129 h 165"/>
                      <a:gd name="T12" fmla="*/ 103 w 206"/>
                      <a:gd name="T13" fmla="*/ 129 h 165"/>
                      <a:gd name="T14" fmla="*/ 112 w 206"/>
                      <a:gd name="T15" fmla="*/ 120 h 165"/>
                      <a:gd name="T16" fmla="*/ 121 w 206"/>
                      <a:gd name="T17" fmla="*/ 125 h 165"/>
                      <a:gd name="T18" fmla="*/ 125 w 206"/>
                      <a:gd name="T19" fmla="*/ 120 h 165"/>
                      <a:gd name="T20" fmla="*/ 125 w 206"/>
                      <a:gd name="T21" fmla="*/ 107 h 165"/>
                      <a:gd name="T22" fmla="*/ 125 w 206"/>
                      <a:gd name="T23" fmla="*/ 102 h 165"/>
                      <a:gd name="T24" fmla="*/ 139 w 206"/>
                      <a:gd name="T25" fmla="*/ 93 h 165"/>
                      <a:gd name="T26" fmla="*/ 134 w 206"/>
                      <a:gd name="T27" fmla="*/ 84 h 165"/>
                      <a:gd name="T28" fmla="*/ 148 w 206"/>
                      <a:gd name="T29" fmla="*/ 80 h 165"/>
                      <a:gd name="T30" fmla="*/ 156 w 206"/>
                      <a:gd name="T31" fmla="*/ 62 h 165"/>
                      <a:gd name="T32" fmla="*/ 152 w 206"/>
                      <a:gd name="T33" fmla="*/ 53 h 165"/>
                      <a:gd name="T34" fmla="*/ 156 w 206"/>
                      <a:gd name="T35" fmla="*/ 44 h 165"/>
                      <a:gd name="T36" fmla="*/ 174 w 206"/>
                      <a:gd name="T37" fmla="*/ 35 h 165"/>
                      <a:gd name="T38" fmla="*/ 197 w 206"/>
                      <a:gd name="T39" fmla="*/ 31 h 165"/>
                      <a:gd name="T40" fmla="*/ 201 w 206"/>
                      <a:gd name="T41" fmla="*/ 31 h 165"/>
                      <a:gd name="T42" fmla="*/ 206 w 206"/>
                      <a:gd name="T43" fmla="*/ 26 h 165"/>
                      <a:gd name="T44" fmla="*/ 179 w 206"/>
                      <a:gd name="T45" fmla="*/ 22 h 165"/>
                      <a:gd name="T46" fmla="*/ 156 w 206"/>
                      <a:gd name="T47" fmla="*/ 35 h 165"/>
                      <a:gd name="T48" fmla="*/ 161 w 206"/>
                      <a:gd name="T49" fmla="*/ 17 h 165"/>
                      <a:gd name="T50" fmla="*/ 156 w 206"/>
                      <a:gd name="T51" fmla="*/ 4 h 165"/>
                      <a:gd name="T52" fmla="*/ 152 w 206"/>
                      <a:gd name="T53" fmla="*/ 0 h 165"/>
                      <a:gd name="T54" fmla="*/ 139 w 206"/>
                      <a:gd name="T55" fmla="*/ 17 h 165"/>
                      <a:gd name="T56" fmla="*/ 134 w 206"/>
                      <a:gd name="T57" fmla="*/ 17 h 165"/>
                      <a:gd name="T58" fmla="*/ 121 w 206"/>
                      <a:gd name="T59" fmla="*/ 22 h 165"/>
                      <a:gd name="T60" fmla="*/ 107 w 206"/>
                      <a:gd name="T61" fmla="*/ 26 h 165"/>
                      <a:gd name="T62" fmla="*/ 103 w 206"/>
                      <a:gd name="T63" fmla="*/ 26 h 165"/>
                      <a:gd name="T64" fmla="*/ 85 w 206"/>
                      <a:gd name="T65" fmla="*/ 26 h 165"/>
                      <a:gd name="T66" fmla="*/ 76 w 206"/>
                      <a:gd name="T67" fmla="*/ 22 h 165"/>
                      <a:gd name="T68" fmla="*/ 67 w 206"/>
                      <a:gd name="T69" fmla="*/ 26 h 165"/>
                      <a:gd name="T70" fmla="*/ 58 w 206"/>
                      <a:gd name="T71" fmla="*/ 44 h 165"/>
                      <a:gd name="T72" fmla="*/ 40 w 206"/>
                      <a:gd name="T73" fmla="*/ 49 h 165"/>
                      <a:gd name="T74" fmla="*/ 27 w 206"/>
                      <a:gd name="T75" fmla="*/ 62 h 165"/>
                      <a:gd name="T76" fmla="*/ 22 w 206"/>
                      <a:gd name="T77" fmla="*/ 53 h 165"/>
                      <a:gd name="T78" fmla="*/ 9 w 206"/>
                      <a:gd name="T79" fmla="*/ 53 h 165"/>
                      <a:gd name="T80" fmla="*/ 0 w 206"/>
                      <a:gd name="T81" fmla="*/ 80 h 165"/>
                      <a:gd name="T82" fmla="*/ 5 w 206"/>
                      <a:gd name="T83" fmla="*/ 89 h 165"/>
                      <a:gd name="T84" fmla="*/ 5 w 206"/>
                      <a:gd name="T85" fmla="*/ 125 h 165"/>
                      <a:gd name="T86" fmla="*/ 14 w 206"/>
                      <a:gd name="T87" fmla="*/ 125 h 165"/>
                      <a:gd name="T88" fmla="*/ 18 w 206"/>
                      <a:gd name="T89" fmla="*/ 138 h 165"/>
                      <a:gd name="T90" fmla="*/ 9 w 206"/>
                      <a:gd name="T91" fmla="*/ 143 h 165"/>
                      <a:gd name="T92" fmla="*/ 5 w 206"/>
                      <a:gd name="T93" fmla="*/ 156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6" h="165">
                        <a:moveTo>
                          <a:pt x="5" y="156"/>
                        </a:moveTo>
                        <a:lnTo>
                          <a:pt x="14" y="160"/>
                        </a:lnTo>
                        <a:lnTo>
                          <a:pt x="27" y="165"/>
                        </a:lnTo>
                        <a:lnTo>
                          <a:pt x="81" y="160"/>
                        </a:lnTo>
                        <a:lnTo>
                          <a:pt x="85" y="138"/>
                        </a:lnTo>
                        <a:lnTo>
                          <a:pt x="89" y="129"/>
                        </a:lnTo>
                        <a:lnTo>
                          <a:pt x="103" y="129"/>
                        </a:lnTo>
                        <a:lnTo>
                          <a:pt x="112" y="120"/>
                        </a:lnTo>
                        <a:lnTo>
                          <a:pt x="121" y="125"/>
                        </a:lnTo>
                        <a:lnTo>
                          <a:pt x="125" y="120"/>
                        </a:lnTo>
                        <a:lnTo>
                          <a:pt x="125" y="107"/>
                        </a:lnTo>
                        <a:lnTo>
                          <a:pt x="125" y="102"/>
                        </a:lnTo>
                        <a:lnTo>
                          <a:pt x="139" y="93"/>
                        </a:lnTo>
                        <a:lnTo>
                          <a:pt x="134" y="84"/>
                        </a:lnTo>
                        <a:lnTo>
                          <a:pt x="148" y="80"/>
                        </a:lnTo>
                        <a:lnTo>
                          <a:pt x="156" y="62"/>
                        </a:lnTo>
                        <a:lnTo>
                          <a:pt x="152" y="53"/>
                        </a:lnTo>
                        <a:lnTo>
                          <a:pt x="156" y="44"/>
                        </a:lnTo>
                        <a:lnTo>
                          <a:pt x="174" y="35"/>
                        </a:lnTo>
                        <a:lnTo>
                          <a:pt x="197" y="31"/>
                        </a:lnTo>
                        <a:lnTo>
                          <a:pt x="201" y="31"/>
                        </a:lnTo>
                        <a:lnTo>
                          <a:pt x="206" y="26"/>
                        </a:lnTo>
                        <a:lnTo>
                          <a:pt x="179" y="22"/>
                        </a:lnTo>
                        <a:lnTo>
                          <a:pt x="156" y="35"/>
                        </a:lnTo>
                        <a:lnTo>
                          <a:pt x="161" y="17"/>
                        </a:lnTo>
                        <a:lnTo>
                          <a:pt x="156" y="4"/>
                        </a:lnTo>
                        <a:lnTo>
                          <a:pt x="152" y="0"/>
                        </a:lnTo>
                        <a:lnTo>
                          <a:pt x="139" y="17"/>
                        </a:lnTo>
                        <a:lnTo>
                          <a:pt x="134" y="17"/>
                        </a:lnTo>
                        <a:lnTo>
                          <a:pt x="121" y="22"/>
                        </a:lnTo>
                        <a:lnTo>
                          <a:pt x="107" y="26"/>
                        </a:lnTo>
                        <a:lnTo>
                          <a:pt x="103" y="26"/>
                        </a:lnTo>
                        <a:lnTo>
                          <a:pt x="85" y="26"/>
                        </a:lnTo>
                        <a:lnTo>
                          <a:pt x="76" y="22"/>
                        </a:lnTo>
                        <a:lnTo>
                          <a:pt x="67" y="26"/>
                        </a:lnTo>
                        <a:lnTo>
                          <a:pt x="58" y="44"/>
                        </a:lnTo>
                        <a:lnTo>
                          <a:pt x="40" y="49"/>
                        </a:lnTo>
                        <a:lnTo>
                          <a:pt x="27" y="62"/>
                        </a:lnTo>
                        <a:lnTo>
                          <a:pt x="22" y="53"/>
                        </a:lnTo>
                        <a:lnTo>
                          <a:pt x="9" y="53"/>
                        </a:lnTo>
                        <a:lnTo>
                          <a:pt x="0" y="80"/>
                        </a:lnTo>
                        <a:lnTo>
                          <a:pt x="5" y="89"/>
                        </a:lnTo>
                        <a:lnTo>
                          <a:pt x="5" y="125"/>
                        </a:lnTo>
                        <a:lnTo>
                          <a:pt x="14" y="125"/>
                        </a:lnTo>
                        <a:lnTo>
                          <a:pt x="18" y="138"/>
                        </a:lnTo>
                        <a:lnTo>
                          <a:pt x="9" y="143"/>
                        </a:lnTo>
                        <a:lnTo>
                          <a:pt x="5" y="156"/>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76" name="Freeform 108">
                    <a:extLst>
                      <a:ext uri="{FF2B5EF4-FFF2-40B4-BE49-F238E27FC236}">
                        <a16:creationId xmlns:a16="http://schemas.microsoft.com/office/drawing/2014/main" id="{DCF6D20B-66ED-4BFD-B32B-13FD7A4C847F}"/>
                      </a:ext>
                    </a:extLst>
                  </p:cNvPr>
                  <p:cNvSpPr>
                    <a:spLocks noEditPoints="1"/>
                  </p:cNvSpPr>
                  <p:nvPr/>
                </p:nvSpPr>
                <p:spPr bwMode="gray">
                  <a:xfrm>
                    <a:off x="3321" y="2104"/>
                    <a:ext cx="85" cy="76"/>
                  </a:xfrm>
                  <a:custGeom>
                    <a:avLst/>
                    <a:gdLst>
                      <a:gd name="T0" fmla="*/ 0 w 85"/>
                      <a:gd name="T1" fmla="*/ 50 h 76"/>
                      <a:gd name="T2" fmla="*/ 18 w 85"/>
                      <a:gd name="T3" fmla="*/ 63 h 76"/>
                      <a:gd name="T4" fmla="*/ 23 w 85"/>
                      <a:gd name="T5" fmla="*/ 68 h 76"/>
                      <a:gd name="T6" fmla="*/ 23 w 85"/>
                      <a:gd name="T7" fmla="*/ 54 h 76"/>
                      <a:gd name="T8" fmla="*/ 18 w 85"/>
                      <a:gd name="T9" fmla="*/ 54 h 76"/>
                      <a:gd name="T10" fmla="*/ 14 w 85"/>
                      <a:gd name="T11" fmla="*/ 54 h 76"/>
                      <a:gd name="T12" fmla="*/ 5 w 85"/>
                      <a:gd name="T13" fmla="*/ 50 h 76"/>
                      <a:gd name="T14" fmla="*/ 0 w 85"/>
                      <a:gd name="T15" fmla="*/ 50 h 76"/>
                      <a:gd name="T16" fmla="*/ 5 w 85"/>
                      <a:gd name="T17" fmla="*/ 23 h 76"/>
                      <a:gd name="T18" fmla="*/ 9 w 85"/>
                      <a:gd name="T19" fmla="*/ 23 h 76"/>
                      <a:gd name="T20" fmla="*/ 5 w 85"/>
                      <a:gd name="T21" fmla="*/ 23 h 76"/>
                      <a:gd name="T22" fmla="*/ 9 w 85"/>
                      <a:gd name="T23" fmla="*/ 27 h 76"/>
                      <a:gd name="T24" fmla="*/ 14 w 85"/>
                      <a:gd name="T25" fmla="*/ 23 h 76"/>
                      <a:gd name="T26" fmla="*/ 14 w 85"/>
                      <a:gd name="T27" fmla="*/ 27 h 76"/>
                      <a:gd name="T28" fmla="*/ 14 w 85"/>
                      <a:gd name="T29" fmla="*/ 32 h 76"/>
                      <a:gd name="T30" fmla="*/ 9 w 85"/>
                      <a:gd name="T31" fmla="*/ 32 h 76"/>
                      <a:gd name="T32" fmla="*/ 23 w 85"/>
                      <a:gd name="T33" fmla="*/ 41 h 76"/>
                      <a:gd name="T34" fmla="*/ 18 w 85"/>
                      <a:gd name="T35" fmla="*/ 45 h 76"/>
                      <a:gd name="T36" fmla="*/ 27 w 85"/>
                      <a:gd name="T37" fmla="*/ 50 h 76"/>
                      <a:gd name="T38" fmla="*/ 27 w 85"/>
                      <a:gd name="T39" fmla="*/ 54 h 76"/>
                      <a:gd name="T40" fmla="*/ 32 w 85"/>
                      <a:gd name="T41" fmla="*/ 54 h 76"/>
                      <a:gd name="T42" fmla="*/ 32 w 85"/>
                      <a:gd name="T43" fmla="*/ 59 h 76"/>
                      <a:gd name="T44" fmla="*/ 27 w 85"/>
                      <a:gd name="T45" fmla="*/ 59 h 76"/>
                      <a:gd name="T46" fmla="*/ 27 w 85"/>
                      <a:gd name="T47" fmla="*/ 63 h 76"/>
                      <a:gd name="T48" fmla="*/ 49 w 85"/>
                      <a:gd name="T49" fmla="*/ 50 h 76"/>
                      <a:gd name="T50" fmla="*/ 54 w 85"/>
                      <a:gd name="T51" fmla="*/ 54 h 76"/>
                      <a:gd name="T52" fmla="*/ 54 w 85"/>
                      <a:gd name="T53" fmla="*/ 68 h 76"/>
                      <a:gd name="T54" fmla="*/ 67 w 85"/>
                      <a:gd name="T55" fmla="*/ 76 h 76"/>
                      <a:gd name="T56" fmla="*/ 67 w 85"/>
                      <a:gd name="T57" fmla="*/ 63 h 76"/>
                      <a:gd name="T58" fmla="*/ 63 w 85"/>
                      <a:gd name="T59" fmla="*/ 54 h 76"/>
                      <a:gd name="T60" fmla="*/ 67 w 85"/>
                      <a:gd name="T61" fmla="*/ 54 h 76"/>
                      <a:gd name="T62" fmla="*/ 72 w 85"/>
                      <a:gd name="T63" fmla="*/ 59 h 76"/>
                      <a:gd name="T64" fmla="*/ 76 w 85"/>
                      <a:gd name="T65" fmla="*/ 41 h 76"/>
                      <a:gd name="T66" fmla="*/ 85 w 85"/>
                      <a:gd name="T67" fmla="*/ 36 h 76"/>
                      <a:gd name="T68" fmla="*/ 81 w 85"/>
                      <a:gd name="T69" fmla="*/ 27 h 76"/>
                      <a:gd name="T70" fmla="*/ 76 w 85"/>
                      <a:gd name="T71" fmla="*/ 32 h 76"/>
                      <a:gd name="T72" fmla="*/ 67 w 85"/>
                      <a:gd name="T73" fmla="*/ 23 h 76"/>
                      <a:gd name="T74" fmla="*/ 63 w 85"/>
                      <a:gd name="T75" fmla="*/ 9 h 76"/>
                      <a:gd name="T76" fmla="*/ 54 w 85"/>
                      <a:gd name="T77" fmla="*/ 14 h 76"/>
                      <a:gd name="T78" fmla="*/ 54 w 85"/>
                      <a:gd name="T79" fmla="*/ 14 h 76"/>
                      <a:gd name="T80" fmla="*/ 49 w 85"/>
                      <a:gd name="T81" fmla="*/ 18 h 76"/>
                      <a:gd name="T82" fmla="*/ 45 w 85"/>
                      <a:gd name="T83" fmla="*/ 18 h 76"/>
                      <a:gd name="T84" fmla="*/ 36 w 85"/>
                      <a:gd name="T85" fmla="*/ 5 h 76"/>
                      <a:gd name="T86" fmla="*/ 32 w 85"/>
                      <a:gd name="T87" fmla="*/ 5 h 76"/>
                      <a:gd name="T88" fmla="*/ 27 w 85"/>
                      <a:gd name="T89" fmla="*/ 0 h 76"/>
                      <a:gd name="T90" fmla="*/ 23 w 85"/>
                      <a:gd name="T91" fmla="*/ 9 h 76"/>
                      <a:gd name="T92" fmla="*/ 27 w 85"/>
                      <a:gd name="T93" fmla="*/ 14 h 76"/>
                      <a:gd name="T94" fmla="*/ 36 w 85"/>
                      <a:gd name="T95" fmla="*/ 18 h 76"/>
                      <a:gd name="T96" fmla="*/ 32 w 85"/>
                      <a:gd name="T97" fmla="*/ 23 h 76"/>
                      <a:gd name="T98" fmla="*/ 27 w 85"/>
                      <a:gd name="T99" fmla="*/ 18 h 76"/>
                      <a:gd name="T100" fmla="*/ 18 w 85"/>
                      <a:gd name="T101" fmla="*/ 23 h 76"/>
                      <a:gd name="T102" fmla="*/ 9 w 85"/>
                      <a:gd name="T103" fmla="*/ 18 h 76"/>
                      <a:gd name="T104" fmla="*/ 5 w 85"/>
                      <a:gd name="T105" fmla="*/ 2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 h="76">
                        <a:moveTo>
                          <a:pt x="0" y="50"/>
                        </a:moveTo>
                        <a:lnTo>
                          <a:pt x="18" y="63"/>
                        </a:lnTo>
                        <a:lnTo>
                          <a:pt x="23" y="68"/>
                        </a:lnTo>
                        <a:lnTo>
                          <a:pt x="23" y="54"/>
                        </a:lnTo>
                        <a:lnTo>
                          <a:pt x="18" y="54"/>
                        </a:lnTo>
                        <a:lnTo>
                          <a:pt x="14" y="54"/>
                        </a:lnTo>
                        <a:lnTo>
                          <a:pt x="5" y="50"/>
                        </a:lnTo>
                        <a:lnTo>
                          <a:pt x="0" y="50"/>
                        </a:lnTo>
                        <a:close/>
                        <a:moveTo>
                          <a:pt x="5" y="23"/>
                        </a:moveTo>
                        <a:lnTo>
                          <a:pt x="9" y="23"/>
                        </a:lnTo>
                        <a:lnTo>
                          <a:pt x="5" y="23"/>
                        </a:lnTo>
                        <a:lnTo>
                          <a:pt x="9" y="27"/>
                        </a:lnTo>
                        <a:lnTo>
                          <a:pt x="14" y="23"/>
                        </a:lnTo>
                        <a:lnTo>
                          <a:pt x="14" y="27"/>
                        </a:lnTo>
                        <a:lnTo>
                          <a:pt x="14" y="32"/>
                        </a:lnTo>
                        <a:lnTo>
                          <a:pt x="9" y="32"/>
                        </a:lnTo>
                        <a:lnTo>
                          <a:pt x="23" y="41"/>
                        </a:lnTo>
                        <a:lnTo>
                          <a:pt x="18" y="45"/>
                        </a:lnTo>
                        <a:lnTo>
                          <a:pt x="27" y="50"/>
                        </a:lnTo>
                        <a:lnTo>
                          <a:pt x="27" y="54"/>
                        </a:lnTo>
                        <a:lnTo>
                          <a:pt x="32" y="54"/>
                        </a:lnTo>
                        <a:lnTo>
                          <a:pt x="32" y="59"/>
                        </a:lnTo>
                        <a:lnTo>
                          <a:pt x="27" y="59"/>
                        </a:lnTo>
                        <a:lnTo>
                          <a:pt x="27" y="63"/>
                        </a:lnTo>
                        <a:lnTo>
                          <a:pt x="49" y="50"/>
                        </a:lnTo>
                        <a:lnTo>
                          <a:pt x="54" y="54"/>
                        </a:lnTo>
                        <a:lnTo>
                          <a:pt x="54" y="68"/>
                        </a:lnTo>
                        <a:lnTo>
                          <a:pt x="67" y="76"/>
                        </a:lnTo>
                        <a:lnTo>
                          <a:pt x="67" y="63"/>
                        </a:lnTo>
                        <a:lnTo>
                          <a:pt x="63" y="54"/>
                        </a:lnTo>
                        <a:lnTo>
                          <a:pt x="67" y="54"/>
                        </a:lnTo>
                        <a:lnTo>
                          <a:pt x="72" y="59"/>
                        </a:lnTo>
                        <a:lnTo>
                          <a:pt x="76" y="41"/>
                        </a:lnTo>
                        <a:lnTo>
                          <a:pt x="85" y="36"/>
                        </a:lnTo>
                        <a:lnTo>
                          <a:pt x="81" y="27"/>
                        </a:lnTo>
                        <a:lnTo>
                          <a:pt x="76" y="32"/>
                        </a:lnTo>
                        <a:lnTo>
                          <a:pt x="67" y="23"/>
                        </a:lnTo>
                        <a:lnTo>
                          <a:pt x="63" y="9"/>
                        </a:lnTo>
                        <a:lnTo>
                          <a:pt x="54" y="14"/>
                        </a:lnTo>
                        <a:lnTo>
                          <a:pt x="54" y="14"/>
                        </a:lnTo>
                        <a:lnTo>
                          <a:pt x="49" y="18"/>
                        </a:lnTo>
                        <a:lnTo>
                          <a:pt x="45" y="18"/>
                        </a:lnTo>
                        <a:lnTo>
                          <a:pt x="36" y="5"/>
                        </a:lnTo>
                        <a:lnTo>
                          <a:pt x="32" y="5"/>
                        </a:lnTo>
                        <a:lnTo>
                          <a:pt x="27" y="0"/>
                        </a:lnTo>
                        <a:lnTo>
                          <a:pt x="23" y="9"/>
                        </a:lnTo>
                        <a:lnTo>
                          <a:pt x="27" y="14"/>
                        </a:lnTo>
                        <a:lnTo>
                          <a:pt x="36" y="18"/>
                        </a:lnTo>
                        <a:lnTo>
                          <a:pt x="32" y="23"/>
                        </a:lnTo>
                        <a:lnTo>
                          <a:pt x="27" y="18"/>
                        </a:lnTo>
                        <a:lnTo>
                          <a:pt x="18" y="23"/>
                        </a:lnTo>
                        <a:lnTo>
                          <a:pt x="9" y="18"/>
                        </a:lnTo>
                        <a:lnTo>
                          <a:pt x="5" y="23"/>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77" name="Freeform 109">
                    <a:extLst>
                      <a:ext uri="{FF2B5EF4-FFF2-40B4-BE49-F238E27FC236}">
                        <a16:creationId xmlns:a16="http://schemas.microsoft.com/office/drawing/2014/main" id="{91B06C99-E80F-4CF3-8595-02E3E0608DE8}"/>
                      </a:ext>
                    </a:extLst>
                  </p:cNvPr>
                  <p:cNvSpPr>
                    <a:spLocks/>
                  </p:cNvSpPr>
                  <p:nvPr/>
                </p:nvSpPr>
                <p:spPr bwMode="gray">
                  <a:xfrm>
                    <a:off x="3402" y="2382"/>
                    <a:ext cx="9" cy="8"/>
                  </a:xfrm>
                  <a:custGeom>
                    <a:avLst/>
                    <a:gdLst>
                      <a:gd name="T0" fmla="*/ 4 w 9"/>
                      <a:gd name="T1" fmla="*/ 0 h 8"/>
                      <a:gd name="T2" fmla="*/ 0 w 9"/>
                      <a:gd name="T3" fmla="*/ 8 h 8"/>
                      <a:gd name="T4" fmla="*/ 4 w 9"/>
                      <a:gd name="T5" fmla="*/ 8 h 8"/>
                      <a:gd name="T6" fmla="*/ 9 w 9"/>
                      <a:gd name="T7" fmla="*/ 0 h 8"/>
                      <a:gd name="T8" fmla="*/ 4 w 9"/>
                      <a:gd name="T9" fmla="*/ 0 h 8"/>
                    </a:gdLst>
                    <a:ahLst/>
                    <a:cxnLst>
                      <a:cxn ang="0">
                        <a:pos x="T0" y="T1"/>
                      </a:cxn>
                      <a:cxn ang="0">
                        <a:pos x="T2" y="T3"/>
                      </a:cxn>
                      <a:cxn ang="0">
                        <a:pos x="T4" y="T5"/>
                      </a:cxn>
                      <a:cxn ang="0">
                        <a:pos x="T6" y="T7"/>
                      </a:cxn>
                      <a:cxn ang="0">
                        <a:pos x="T8" y="T9"/>
                      </a:cxn>
                    </a:cxnLst>
                    <a:rect l="0" t="0" r="r" b="b"/>
                    <a:pathLst>
                      <a:path w="9" h="8">
                        <a:moveTo>
                          <a:pt x="4" y="0"/>
                        </a:moveTo>
                        <a:lnTo>
                          <a:pt x="0" y="8"/>
                        </a:lnTo>
                        <a:lnTo>
                          <a:pt x="4" y="8"/>
                        </a:lnTo>
                        <a:lnTo>
                          <a:pt x="9" y="0"/>
                        </a:lnTo>
                        <a:lnTo>
                          <a:pt x="4"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78" name="Freeform 110">
                    <a:extLst>
                      <a:ext uri="{FF2B5EF4-FFF2-40B4-BE49-F238E27FC236}">
                        <a16:creationId xmlns:a16="http://schemas.microsoft.com/office/drawing/2014/main" id="{5430F3BB-2CB2-4757-A453-6DB75AF39551}"/>
                      </a:ext>
                    </a:extLst>
                  </p:cNvPr>
                  <p:cNvSpPr>
                    <a:spLocks/>
                  </p:cNvSpPr>
                  <p:nvPr/>
                </p:nvSpPr>
                <p:spPr bwMode="gray">
                  <a:xfrm>
                    <a:off x="3942" y="2382"/>
                    <a:ext cx="72" cy="93"/>
                  </a:xfrm>
                  <a:custGeom>
                    <a:avLst/>
                    <a:gdLst>
                      <a:gd name="T0" fmla="*/ 23 w 72"/>
                      <a:gd name="T1" fmla="*/ 76 h 93"/>
                      <a:gd name="T2" fmla="*/ 27 w 72"/>
                      <a:gd name="T3" fmla="*/ 71 h 93"/>
                      <a:gd name="T4" fmla="*/ 31 w 72"/>
                      <a:gd name="T5" fmla="*/ 76 h 93"/>
                      <a:gd name="T6" fmla="*/ 36 w 72"/>
                      <a:gd name="T7" fmla="*/ 71 h 93"/>
                      <a:gd name="T8" fmla="*/ 40 w 72"/>
                      <a:gd name="T9" fmla="*/ 67 h 93"/>
                      <a:gd name="T10" fmla="*/ 45 w 72"/>
                      <a:gd name="T11" fmla="*/ 71 h 93"/>
                      <a:gd name="T12" fmla="*/ 45 w 72"/>
                      <a:gd name="T13" fmla="*/ 67 h 93"/>
                      <a:gd name="T14" fmla="*/ 49 w 72"/>
                      <a:gd name="T15" fmla="*/ 67 h 93"/>
                      <a:gd name="T16" fmla="*/ 54 w 72"/>
                      <a:gd name="T17" fmla="*/ 80 h 93"/>
                      <a:gd name="T18" fmla="*/ 58 w 72"/>
                      <a:gd name="T19" fmla="*/ 89 h 93"/>
                      <a:gd name="T20" fmla="*/ 63 w 72"/>
                      <a:gd name="T21" fmla="*/ 93 h 93"/>
                      <a:gd name="T22" fmla="*/ 72 w 72"/>
                      <a:gd name="T23" fmla="*/ 89 h 93"/>
                      <a:gd name="T24" fmla="*/ 67 w 72"/>
                      <a:gd name="T25" fmla="*/ 80 h 93"/>
                      <a:gd name="T26" fmla="*/ 67 w 72"/>
                      <a:gd name="T27" fmla="*/ 71 h 93"/>
                      <a:gd name="T28" fmla="*/ 63 w 72"/>
                      <a:gd name="T29" fmla="*/ 44 h 93"/>
                      <a:gd name="T30" fmla="*/ 58 w 72"/>
                      <a:gd name="T31" fmla="*/ 44 h 93"/>
                      <a:gd name="T32" fmla="*/ 58 w 72"/>
                      <a:gd name="T33" fmla="*/ 53 h 93"/>
                      <a:gd name="T34" fmla="*/ 49 w 72"/>
                      <a:gd name="T35" fmla="*/ 53 h 93"/>
                      <a:gd name="T36" fmla="*/ 54 w 72"/>
                      <a:gd name="T37" fmla="*/ 44 h 93"/>
                      <a:gd name="T38" fmla="*/ 67 w 72"/>
                      <a:gd name="T39" fmla="*/ 35 h 93"/>
                      <a:gd name="T40" fmla="*/ 67 w 72"/>
                      <a:gd name="T41" fmla="*/ 22 h 93"/>
                      <a:gd name="T42" fmla="*/ 31 w 72"/>
                      <a:gd name="T43" fmla="*/ 17 h 93"/>
                      <a:gd name="T44" fmla="*/ 27 w 72"/>
                      <a:gd name="T45" fmla="*/ 13 h 93"/>
                      <a:gd name="T46" fmla="*/ 9 w 72"/>
                      <a:gd name="T47" fmla="*/ 0 h 93"/>
                      <a:gd name="T48" fmla="*/ 5 w 72"/>
                      <a:gd name="T49" fmla="*/ 4 h 93"/>
                      <a:gd name="T50" fmla="*/ 0 w 72"/>
                      <a:gd name="T51" fmla="*/ 17 h 93"/>
                      <a:gd name="T52" fmla="*/ 14 w 72"/>
                      <a:gd name="T53" fmla="*/ 22 h 93"/>
                      <a:gd name="T54" fmla="*/ 9 w 72"/>
                      <a:gd name="T55" fmla="*/ 26 h 93"/>
                      <a:gd name="T56" fmla="*/ 5 w 72"/>
                      <a:gd name="T57" fmla="*/ 31 h 93"/>
                      <a:gd name="T58" fmla="*/ 9 w 72"/>
                      <a:gd name="T59" fmla="*/ 35 h 93"/>
                      <a:gd name="T60" fmla="*/ 9 w 72"/>
                      <a:gd name="T61" fmla="*/ 44 h 93"/>
                      <a:gd name="T62" fmla="*/ 23 w 72"/>
                      <a:gd name="T63" fmla="*/ 76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 h="93">
                        <a:moveTo>
                          <a:pt x="23" y="76"/>
                        </a:moveTo>
                        <a:lnTo>
                          <a:pt x="27" y="71"/>
                        </a:lnTo>
                        <a:lnTo>
                          <a:pt x="31" y="76"/>
                        </a:lnTo>
                        <a:lnTo>
                          <a:pt x="36" y="71"/>
                        </a:lnTo>
                        <a:lnTo>
                          <a:pt x="40" y="67"/>
                        </a:lnTo>
                        <a:lnTo>
                          <a:pt x="45" y="71"/>
                        </a:lnTo>
                        <a:lnTo>
                          <a:pt x="45" y="67"/>
                        </a:lnTo>
                        <a:lnTo>
                          <a:pt x="49" y="67"/>
                        </a:lnTo>
                        <a:lnTo>
                          <a:pt x="54" y="80"/>
                        </a:lnTo>
                        <a:lnTo>
                          <a:pt x="58" y="89"/>
                        </a:lnTo>
                        <a:lnTo>
                          <a:pt x="63" y="93"/>
                        </a:lnTo>
                        <a:lnTo>
                          <a:pt x="72" y="89"/>
                        </a:lnTo>
                        <a:lnTo>
                          <a:pt x="67" y="80"/>
                        </a:lnTo>
                        <a:lnTo>
                          <a:pt x="67" y="71"/>
                        </a:lnTo>
                        <a:lnTo>
                          <a:pt x="63" y="44"/>
                        </a:lnTo>
                        <a:lnTo>
                          <a:pt x="58" y="44"/>
                        </a:lnTo>
                        <a:lnTo>
                          <a:pt x="58" y="53"/>
                        </a:lnTo>
                        <a:lnTo>
                          <a:pt x="49" y="53"/>
                        </a:lnTo>
                        <a:lnTo>
                          <a:pt x="54" y="44"/>
                        </a:lnTo>
                        <a:lnTo>
                          <a:pt x="67" y="35"/>
                        </a:lnTo>
                        <a:lnTo>
                          <a:pt x="67" y="22"/>
                        </a:lnTo>
                        <a:lnTo>
                          <a:pt x="31" y="17"/>
                        </a:lnTo>
                        <a:lnTo>
                          <a:pt x="27" y="13"/>
                        </a:lnTo>
                        <a:lnTo>
                          <a:pt x="9" y="0"/>
                        </a:lnTo>
                        <a:lnTo>
                          <a:pt x="5" y="4"/>
                        </a:lnTo>
                        <a:lnTo>
                          <a:pt x="0" y="17"/>
                        </a:lnTo>
                        <a:lnTo>
                          <a:pt x="14" y="22"/>
                        </a:lnTo>
                        <a:lnTo>
                          <a:pt x="9" y="26"/>
                        </a:lnTo>
                        <a:lnTo>
                          <a:pt x="5" y="31"/>
                        </a:lnTo>
                        <a:lnTo>
                          <a:pt x="9" y="35"/>
                        </a:lnTo>
                        <a:lnTo>
                          <a:pt x="9" y="44"/>
                        </a:lnTo>
                        <a:lnTo>
                          <a:pt x="23" y="76"/>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79" name="Freeform 111">
                    <a:extLst>
                      <a:ext uri="{FF2B5EF4-FFF2-40B4-BE49-F238E27FC236}">
                        <a16:creationId xmlns:a16="http://schemas.microsoft.com/office/drawing/2014/main" id="{DB100814-909A-45EE-84B9-192504497FC2}"/>
                      </a:ext>
                    </a:extLst>
                  </p:cNvPr>
                  <p:cNvSpPr>
                    <a:spLocks/>
                  </p:cNvSpPr>
                  <p:nvPr/>
                </p:nvSpPr>
                <p:spPr bwMode="gray">
                  <a:xfrm>
                    <a:off x="3303" y="2122"/>
                    <a:ext cx="50" cy="50"/>
                  </a:xfrm>
                  <a:custGeom>
                    <a:avLst/>
                    <a:gdLst>
                      <a:gd name="T0" fmla="*/ 0 w 50"/>
                      <a:gd name="T1" fmla="*/ 0 h 50"/>
                      <a:gd name="T2" fmla="*/ 5 w 50"/>
                      <a:gd name="T3" fmla="*/ 18 h 50"/>
                      <a:gd name="T4" fmla="*/ 14 w 50"/>
                      <a:gd name="T5" fmla="*/ 23 h 50"/>
                      <a:gd name="T6" fmla="*/ 18 w 50"/>
                      <a:gd name="T7" fmla="*/ 32 h 50"/>
                      <a:gd name="T8" fmla="*/ 23 w 50"/>
                      <a:gd name="T9" fmla="*/ 32 h 50"/>
                      <a:gd name="T10" fmla="*/ 32 w 50"/>
                      <a:gd name="T11" fmla="*/ 36 h 50"/>
                      <a:gd name="T12" fmla="*/ 36 w 50"/>
                      <a:gd name="T13" fmla="*/ 36 h 50"/>
                      <a:gd name="T14" fmla="*/ 41 w 50"/>
                      <a:gd name="T15" fmla="*/ 36 h 50"/>
                      <a:gd name="T16" fmla="*/ 41 w 50"/>
                      <a:gd name="T17" fmla="*/ 50 h 50"/>
                      <a:gd name="T18" fmla="*/ 45 w 50"/>
                      <a:gd name="T19" fmla="*/ 50 h 50"/>
                      <a:gd name="T20" fmla="*/ 45 w 50"/>
                      <a:gd name="T21" fmla="*/ 45 h 50"/>
                      <a:gd name="T22" fmla="*/ 45 w 50"/>
                      <a:gd name="T23" fmla="*/ 41 h 50"/>
                      <a:gd name="T24" fmla="*/ 50 w 50"/>
                      <a:gd name="T25" fmla="*/ 41 h 50"/>
                      <a:gd name="T26" fmla="*/ 50 w 50"/>
                      <a:gd name="T27" fmla="*/ 36 h 50"/>
                      <a:gd name="T28" fmla="*/ 45 w 50"/>
                      <a:gd name="T29" fmla="*/ 36 h 50"/>
                      <a:gd name="T30" fmla="*/ 45 w 50"/>
                      <a:gd name="T31" fmla="*/ 32 h 50"/>
                      <a:gd name="T32" fmla="*/ 36 w 50"/>
                      <a:gd name="T33" fmla="*/ 27 h 50"/>
                      <a:gd name="T34" fmla="*/ 41 w 50"/>
                      <a:gd name="T35" fmla="*/ 23 h 50"/>
                      <a:gd name="T36" fmla="*/ 27 w 50"/>
                      <a:gd name="T37" fmla="*/ 14 h 50"/>
                      <a:gd name="T38" fmla="*/ 32 w 50"/>
                      <a:gd name="T39" fmla="*/ 14 h 50"/>
                      <a:gd name="T40" fmla="*/ 32 w 50"/>
                      <a:gd name="T41" fmla="*/ 9 h 50"/>
                      <a:gd name="T42" fmla="*/ 32 w 50"/>
                      <a:gd name="T43" fmla="*/ 5 h 50"/>
                      <a:gd name="T44" fmla="*/ 27 w 50"/>
                      <a:gd name="T45" fmla="*/ 9 h 50"/>
                      <a:gd name="T46" fmla="*/ 23 w 50"/>
                      <a:gd name="T47" fmla="*/ 5 h 50"/>
                      <a:gd name="T48" fmla="*/ 27 w 50"/>
                      <a:gd name="T49" fmla="*/ 5 h 50"/>
                      <a:gd name="T50" fmla="*/ 23 w 50"/>
                      <a:gd name="T51" fmla="*/ 5 h 50"/>
                      <a:gd name="T52" fmla="*/ 14 w 50"/>
                      <a:gd name="T53" fmla="*/ 0 h 50"/>
                      <a:gd name="T54" fmla="*/ 9 w 50"/>
                      <a:gd name="T55" fmla="*/ 5 h 50"/>
                      <a:gd name="T56" fmla="*/ 0 w 50"/>
                      <a:gd name="T5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50">
                        <a:moveTo>
                          <a:pt x="0" y="0"/>
                        </a:moveTo>
                        <a:lnTo>
                          <a:pt x="5" y="18"/>
                        </a:lnTo>
                        <a:lnTo>
                          <a:pt x="14" y="23"/>
                        </a:lnTo>
                        <a:lnTo>
                          <a:pt x="18" y="32"/>
                        </a:lnTo>
                        <a:lnTo>
                          <a:pt x="23" y="32"/>
                        </a:lnTo>
                        <a:lnTo>
                          <a:pt x="32" y="36"/>
                        </a:lnTo>
                        <a:lnTo>
                          <a:pt x="36" y="36"/>
                        </a:lnTo>
                        <a:lnTo>
                          <a:pt x="41" y="36"/>
                        </a:lnTo>
                        <a:lnTo>
                          <a:pt x="41" y="50"/>
                        </a:lnTo>
                        <a:lnTo>
                          <a:pt x="45" y="50"/>
                        </a:lnTo>
                        <a:lnTo>
                          <a:pt x="45" y="45"/>
                        </a:lnTo>
                        <a:lnTo>
                          <a:pt x="45" y="41"/>
                        </a:lnTo>
                        <a:lnTo>
                          <a:pt x="50" y="41"/>
                        </a:lnTo>
                        <a:lnTo>
                          <a:pt x="50" y="36"/>
                        </a:lnTo>
                        <a:lnTo>
                          <a:pt x="45" y="36"/>
                        </a:lnTo>
                        <a:lnTo>
                          <a:pt x="45" y="32"/>
                        </a:lnTo>
                        <a:lnTo>
                          <a:pt x="36" y="27"/>
                        </a:lnTo>
                        <a:lnTo>
                          <a:pt x="41" y="23"/>
                        </a:lnTo>
                        <a:lnTo>
                          <a:pt x="27" y="14"/>
                        </a:lnTo>
                        <a:lnTo>
                          <a:pt x="32" y="14"/>
                        </a:lnTo>
                        <a:lnTo>
                          <a:pt x="32" y="9"/>
                        </a:lnTo>
                        <a:lnTo>
                          <a:pt x="32" y="5"/>
                        </a:lnTo>
                        <a:lnTo>
                          <a:pt x="27" y="9"/>
                        </a:lnTo>
                        <a:lnTo>
                          <a:pt x="23" y="5"/>
                        </a:lnTo>
                        <a:lnTo>
                          <a:pt x="27" y="5"/>
                        </a:lnTo>
                        <a:lnTo>
                          <a:pt x="23" y="5"/>
                        </a:lnTo>
                        <a:lnTo>
                          <a:pt x="14" y="0"/>
                        </a:lnTo>
                        <a:lnTo>
                          <a:pt x="9" y="5"/>
                        </a:lnTo>
                        <a:lnTo>
                          <a:pt x="0"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80" name="Freeform 112">
                    <a:extLst>
                      <a:ext uri="{FF2B5EF4-FFF2-40B4-BE49-F238E27FC236}">
                        <a16:creationId xmlns:a16="http://schemas.microsoft.com/office/drawing/2014/main" id="{4DC099F8-C830-4883-9A1F-5F91B3DFACF6}"/>
                      </a:ext>
                    </a:extLst>
                  </p:cNvPr>
                  <p:cNvSpPr>
                    <a:spLocks/>
                  </p:cNvSpPr>
                  <p:nvPr/>
                </p:nvSpPr>
                <p:spPr bwMode="gray">
                  <a:xfrm>
                    <a:off x="3956" y="2355"/>
                    <a:ext cx="40" cy="27"/>
                  </a:xfrm>
                  <a:custGeom>
                    <a:avLst/>
                    <a:gdLst>
                      <a:gd name="T0" fmla="*/ 0 w 40"/>
                      <a:gd name="T1" fmla="*/ 22 h 27"/>
                      <a:gd name="T2" fmla="*/ 0 w 40"/>
                      <a:gd name="T3" fmla="*/ 27 h 27"/>
                      <a:gd name="T4" fmla="*/ 4 w 40"/>
                      <a:gd name="T5" fmla="*/ 27 h 27"/>
                      <a:gd name="T6" fmla="*/ 17 w 40"/>
                      <a:gd name="T7" fmla="*/ 27 h 27"/>
                      <a:gd name="T8" fmla="*/ 22 w 40"/>
                      <a:gd name="T9" fmla="*/ 22 h 27"/>
                      <a:gd name="T10" fmla="*/ 40 w 40"/>
                      <a:gd name="T11" fmla="*/ 22 h 27"/>
                      <a:gd name="T12" fmla="*/ 40 w 40"/>
                      <a:gd name="T13" fmla="*/ 4 h 27"/>
                      <a:gd name="T14" fmla="*/ 35 w 40"/>
                      <a:gd name="T15" fmla="*/ 4 h 27"/>
                      <a:gd name="T16" fmla="*/ 26 w 40"/>
                      <a:gd name="T17" fmla="*/ 0 h 27"/>
                      <a:gd name="T18" fmla="*/ 13 w 40"/>
                      <a:gd name="T19" fmla="*/ 9 h 27"/>
                      <a:gd name="T20" fmla="*/ 0 w 40"/>
                      <a:gd name="T21"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7">
                        <a:moveTo>
                          <a:pt x="0" y="22"/>
                        </a:moveTo>
                        <a:lnTo>
                          <a:pt x="0" y="27"/>
                        </a:lnTo>
                        <a:lnTo>
                          <a:pt x="4" y="27"/>
                        </a:lnTo>
                        <a:lnTo>
                          <a:pt x="17" y="27"/>
                        </a:lnTo>
                        <a:lnTo>
                          <a:pt x="22" y="22"/>
                        </a:lnTo>
                        <a:lnTo>
                          <a:pt x="40" y="22"/>
                        </a:lnTo>
                        <a:lnTo>
                          <a:pt x="40" y="4"/>
                        </a:lnTo>
                        <a:lnTo>
                          <a:pt x="35" y="4"/>
                        </a:lnTo>
                        <a:lnTo>
                          <a:pt x="26" y="0"/>
                        </a:lnTo>
                        <a:lnTo>
                          <a:pt x="13" y="9"/>
                        </a:lnTo>
                        <a:lnTo>
                          <a:pt x="0" y="2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81" name="Freeform 113">
                    <a:extLst>
                      <a:ext uri="{FF2B5EF4-FFF2-40B4-BE49-F238E27FC236}">
                        <a16:creationId xmlns:a16="http://schemas.microsoft.com/office/drawing/2014/main" id="{F2CE2FAB-E620-45C1-89BA-0D8BE8A91765}"/>
                      </a:ext>
                    </a:extLst>
                  </p:cNvPr>
                  <p:cNvSpPr>
                    <a:spLocks noEditPoints="1"/>
                  </p:cNvSpPr>
                  <p:nvPr/>
                </p:nvSpPr>
                <p:spPr bwMode="gray">
                  <a:xfrm>
                    <a:off x="4934" y="2895"/>
                    <a:ext cx="71" cy="50"/>
                  </a:xfrm>
                  <a:custGeom>
                    <a:avLst/>
                    <a:gdLst>
                      <a:gd name="T0" fmla="*/ 4 w 71"/>
                      <a:gd name="T1" fmla="*/ 5 h 50"/>
                      <a:gd name="T2" fmla="*/ 0 w 71"/>
                      <a:gd name="T3" fmla="*/ 9 h 50"/>
                      <a:gd name="T4" fmla="*/ 4 w 71"/>
                      <a:gd name="T5" fmla="*/ 14 h 50"/>
                      <a:gd name="T6" fmla="*/ 9 w 71"/>
                      <a:gd name="T7" fmla="*/ 18 h 50"/>
                      <a:gd name="T8" fmla="*/ 13 w 71"/>
                      <a:gd name="T9" fmla="*/ 14 h 50"/>
                      <a:gd name="T10" fmla="*/ 9 w 71"/>
                      <a:gd name="T11" fmla="*/ 14 h 50"/>
                      <a:gd name="T12" fmla="*/ 4 w 71"/>
                      <a:gd name="T13" fmla="*/ 5 h 50"/>
                      <a:gd name="T14" fmla="*/ 18 w 71"/>
                      <a:gd name="T15" fmla="*/ 0 h 50"/>
                      <a:gd name="T16" fmla="*/ 13 w 71"/>
                      <a:gd name="T17" fmla="*/ 0 h 50"/>
                      <a:gd name="T18" fmla="*/ 18 w 71"/>
                      <a:gd name="T19" fmla="*/ 9 h 50"/>
                      <a:gd name="T20" fmla="*/ 31 w 71"/>
                      <a:gd name="T21" fmla="*/ 14 h 50"/>
                      <a:gd name="T22" fmla="*/ 36 w 71"/>
                      <a:gd name="T23" fmla="*/ 18 h 50"/>
                      <a:gd name="T24" fmla="*/ 31 w 71"/>
                      <a:gd name="T25" fmla="*/ 9 h 50"/>
                      <a:gd name="T26" fmla="*/ 18 w 71"/>
                      <a:gd name="T27" fmla="*/ 0 h 50"/>
                      <a:gd name="T28" fmla="*/ 31 w 71"/>
                      <a:gd name="T29" fmla="*/ 23 h 50"/>
                      <a:gd name="T30" fmla="*/ 27 w 71"/>
                      <a:gd name="T31" fmla="*/ 27 h 50"/>
                      <a:gd name="T32" fmla="*/ 40 w 71"/>
                      <a:gd name="T33" fmla="*/ 36 h 50"/>
                      <a:gd name="T34" fmla="*/ 45 w 71"/>
                      <a:gd name="T35" fmla="*/ 36 h 50"/>
                      <a:gd name="T36" fmla="*/ 49 w 71"/>
                      <a:gd name="T37" fmla="*/ 32 h 50"/>
                      <a:gd name="T38" fmla="*/ 40 w 71"/>
                      <a:gd name="T39" fmla="*/ 27 h 50"/>
                      <a:gd name="T40" fmla="*/ 31 w 71"/>
                      <a:gd name="T41" fmla="*/ 23 h 50"/>
                      <a:gd name="T42" fmla="*/ 49 w 71"/>
                      <a:gd name="T43" fmla="*/ 14 h 50"/>
                      <a:gd name="T44" fmla="*/ 53 w 71"/>
                      <a:gd name="T45" fmla="*/ 32 h 50"/>
                      <a:gd name="T46" fmla="*/ 58 w 71"/>
                      <a:gd name="T47" fmla="*/ 32 h 50"/>
                      <a:gd name="T48" fmla="*/ 58 w 71"/>
                      <a:gd name="T49" fmla="*/ 27 h 50"/>
                      <a:gd name="T50" fmla="*/ 58 w 71"/>
                      <a:gd name="T51" fmla="*/ 27 h 50"/>
                      <a:gd name="T52" fmla="*/ 49 w 71"/>
                      <a:gd name="T53" fmla="*/ 14 h 50"/>
                      <a:gd name="T54" fmla="*/ 53 w 71"/>
                      <a:gd name="T55" fmla="*/ 36 h 50"/>
                      <a:gd name="T56" fmla="*/ 53 w 71"/>
                      <a:gd name="T57" fmla="*/ 41 h 50"/>
                      <a:gd name="T58" fmla="*/ 67 w 71"/>
                      <a:gd name="T59" fmla="*/ 50 h 50"/>
                      <a:gd name="T60" fmla="*/ 71 w 71"/>
                      <a:gd name="T61" fmla="*/ 50 h 50"/>
                      <a:gd name="T62" fmla="*/ 67 w 71"/>
                      <a:gd name="T63" fmla="*/ 41 h 50"/>
                      <a:gd name="T64" fmla="*/ 53 w 71"/>
                      <a:gd name="T65"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1" h="50">
                        <a:moveTo>
                          <a:pt x="4" y="5"/>
                        </a:moveTo>
                        <a:lnTo>
                          <a:pt x="0" y="9"/>
                        </a:lnTo>
                        <a:lnTo>
                          <a:pt x="4" y="14"/>
                        </a:lnTo>
                        <a:lnTo>
                          <a:pt x="9" y="18"/>
                        </a:lnTo>
                        <a:lnTo>
                          <a:pt x="13" y="14"/>
                        </a:lnTo>
                        <a:lnTo>
                          <a:pt x="9" y="14"/>
                        </a:lnTo>
                        <a:lnTo>
                          <a:pt x="4" y="5"/>
                        </a:lnTo>
                        <a:close/>
                        <a:moveTo>
                          <a:pt x="18" y="0"/>
                        </a:moveTo>
                        <a:lnTo>
                          <a:pt x="13" y="0"/>
                        </a:lnTo>
                        <a:lnTo>
                          <a:pt x="18" y="9"/>
                        </a:lnTo>
                        <a:lnTo>
                          <a:pt x="31" y="14"/>
                        </a:lnTo>
                        <a:lnTo>
                          <a:pt x="36" y="18"/>
                        </a:lnTo>
                        <a:lnTo>
                          <a:pt x="31" y="9"/>
                        </a:lnTo>
                        <a:lnTo>
                          <a:pt x="18" y="0"/>
                        </a:lnTo>
                        <a:close/>
                        <a:moveTo>
                          <a:pt x="31" y="23"/>
                        </a:moveTo>
                        <a:lnTo>
                          <a:pt x="27" y="27"/>
                        </a:lnTo>
                        <a:lnTo>
                          <a:pt x="40" y="36"/>
                        </a:lnTo>
                        <a:lnTo>
                          <a:pt x="45" y="36"/>
                        </a:lnTo>
                        <a:lnTo>
                          <a:pt x="49" y="32"/>
                        </a:lnTo>
                        <a:lnTo>
                          <a:pt x="40" y="27"/>
                        </a:lnTo>
                        <a:lnTo>
                          <a:pt x="31" y="23"/>
                        </a:lnTo>
                        <a:close/>
                        <a:moveTo>
                          <a:pt x="49" y="14"/>
                        </a:moveTo>
                        <a:lnTo>
                          <a:pt x="53" y="32"/>
                        </a:lnTo>
                        <a:lnTo>
                          <a:pt x="58" y="32"/>
                        </a:lnTo>
                        <a:lnTo>
                          <a:pt x="58" y="27"/>
                        </a:lnTo>
                        <a:lnTo>
                          <a:pt x="58" y="27"/>
                        </a:lnTo>
                        <a:lnTo>
                          <a:pt x="49" y="14"/>
                        </a:lnTo>
                        <a:close/>
                        <a:moveTo>
                          <a:pt x="53" y="36"/>
                        </a:moveTo>
                        <a:lnTo>
                          <a:pt x="53" y="41"/>
                        </a:lnTo>
                        <a:lnTo>
                          <a:pt x="67" y="50"/>
                        </a:lnTo>
                        <a:lnTo>
                          <a:pt x="71" y="50"/>
                        </a:lnTo>
                        <a:lnTo>
                          <a:pt x="67" y="41"/>
                        </a:lnTo>
                        <a:lnTo>
                          <a:pt x="53" y="36"/>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82" name="Freeform 114">
                    <a:extLst>
                      <a:ext uri="{FF2B5EF4-FFF2-40B4-BE49-F238E27FC236}">
                        <a16:creationId xmlns:a16="http://schemas.microsoft.com/office/drawing/2014/main" id="{4269AE7F-E6C3-455C-9275-D9CAE3978B5E}"/>
                      </a:ext>
                    </a:extLst>
                  </p:cNvPr>
                  <p:cNvSpPr>
                    <a:spLocks/>
                  </p:cNvSpPr>
                  <p:nvPr/>
                </p:nvSpPr>
                <p:spPr bwMode="gray">
                  <a:xfrm>
                    <a:off x="4313" y="2703"/>
                    <a:ext cx="22" cy="18"/>
                  </a:xfrm>
                  <a:custGeom>
                    <a:avLst/>
                    <a:gdLst>
                      <a:gd name="T0" fmla="*/ 0 w 22"/>
                      <a:gd name="T1" fmla="*/ 9 h 18"/>
                      <a:gd name="T2" fmla="*/ 4 w 22"/>
                      <a:gd name="T3" fmla="*/ 14 h 18"/>
                      <a:gd name="T4" fmla="*/ 13 w 22"/>
                      <a:gd name="T5" fmla="*/ 18 h 18"/>
                      <a:gd name="T6" fmla="*/ 13 w 22"/>
                      <a:gd name="T7" fmla="*/ 9 h 18"/>
                      <a:gd name="T8" fmla="*/ 18 w 22"/>
                      <a:gd name="T9" fmla="*/ 14 h 18"/>
                      <a:gd name="T10" fmla="*/ 22 w 22"/>
                      <a:gd name="T11" fmla="*/ 0 h 18"/>
                      <a:gd name="T12" fmla="*/ 18 w 22"/>
                      <a:gd name="T13" fmla="*/ 5 h 18"/>
                      <a:gd name="T14" fmla="*/ 18 w 22"/>
                      <a:gd name="T15" fmla="*/ 0 h 18"/>
                      <a:gd name="T16" fmla="*/ 0 w 22"/>
                      <a:gd name="T17"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8">
                        <a:moveTo>
                          <a:pt x="0" y="9"/>
                        </a:moveTo>
                        <a:lnTo>
                          <a:pt x="4" y="14"/>
                        </a:lnTo>
                        <a:lnTo>
                          <a:pt x="13" y="18"/>
                        </a:lnTo>
                        <a:lnTo>
                          <a:pt x="13" y="9"/>
                        </a:lnTo>
                        <a:lnTo>
                          <a:pt x="18" y="14"/>
                        </a:lnTo>
                        <a:lnTo>
                          <a:pt x="22" y="0"/>
                        </a:lnTo>
                        <a:lnTo>
                          <a:pt x="18" y="5"/>
                        </a:lnTo>
                        <a:lnTo>
                          <a:pt x="18" y="0"/>
                        </a:lnTo>
                        <a:lnTo>
                          <a:pt x="0" y="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83" name="Freeform 115">
                    <a:extLst>
                      <a:ext uri="{FF2B5EF4-FFF2-40B4-BE49-F238E27FC236}">
                        <a16:creationId xmlns:a16="http://schemas.microsoft.com/office/drawing/2014/main" id="{1B2619A1-6DA1-4C4C-8406-4426C9C84C2F}"/>
                      </a:ext>
                    </a:extLst>
                  </p:cNvPr>
                  <p:cNvSpPr>
                    <a:spLocks/>
                  </p:cNvSpPr>
                  <p:nvPr/>
                </p:nvSpPr>
                <p:spPr bwMode="gray">
                  <a:xfrm>
                    <a:off x="4005" y="2350"/>
                    <a:ext cx="125" cy="286"/>
                  </a:xfrm>
                  <a:custGeom>
                    <a:avLst/>
                    <a:gdLst>
                      <a:gd name="T0" fmla="*/ 0 w 125"/>
                      <a:gd name="T1" fmla="*/ 125 h 286"/>
                      <a:gd name="T2" fmla="*/ 9 w 125"/>
                      <a:gd name="T3" fmla="*/ 121 h 286"/>
                      <a:gd name="T4" fmla="*/ 4 w 125"/>
                      <a:gd name="T5" fmla="*/ 112 h 286"/>
                      <a:gd name="T6" fmla="*/ 9 w 125"/>
                      <a:gd name="T7" fmla="*/ 108 h 286"/>
                      <a:gd name="T8" fmla="*/ 9 w 125"/>
                      <a:gd name="T9" fmla="*/ 94 h 286"/>
                      <a:gd name="T10" fmla="*/ 13 w 125"/>
                      <a:gd name="T11" fmla="*/ 94 h 286"/>
                      <a:gd name="T12" fmla="*/ 13 w 125"/>
                      <a:gd name="T13" fmla="*/ 72 h 286"/>
                      <a:gd name="T14" fmla="*/ 22 w 125"/>
                      <a:gd name="T15" fmla="*/ 67 h 286"/>
                      <a:gd name="T16" fmla="*/ 31 w 125"/>
                      <a:gd name="T17" fmla="*/ 54 h 286"/>
                      <a:gd name="T18" fmla="*/ 31 w 125"/>
                      <a:gd name="T19" fmla="*/ 45 h 286"/>
                      <a:gd name="T20" fmla="*/ 44 w 125"/>
                      <a:gd name="T21" fmla="*/ 23 h 286"/>
                      <a:gd name="T22" fmla="*/ 58 w 125"/>
                      <a:gd name="T23" fmla="*/ 18 h 286"/>
                      <a:gd name="T24" fmla="*/ 62 w 125"/>
                      <a:gd name="T25" fmla="*/ 18 h 286"/>
                      <a:gd name="T26" fmla="*/ 62 w 125"/>
                      <a:gd name="T27" fmla="*/ 9 h 286"/>
                      <a:gd name="T28" fmla="*/ 76 w 125"/>
                      <a:gd name="T29" fmla="*/ 0 h 286"/>
                      <a:gd name="T30" fmla="*/ 85 w 125"/>
                      <a:gd name="T31" fmla="*/ 9 h 286"/>
                      <a:gd name="T32" fmla="*/ 85 w 125"/>
                      <a:gd name="T33" fmla="*/ 40 h 286"/>
                      <a:gd name="T34" fmla="*/ 71 w 125"/>
                      <a:gd name="T35" fmla="*/ 54 h 286"/>
                      <a:gd name="T36" fmla="*/ 76 w 125"/>
                      <a:gd name="T37" fmla="*/ 76 h 286"/>
                      <a:gd name="T38" fmla="*/ 89 w 125"/>
                      <a:gd name="T39" fmla="*/ 67 h 286"/>
                      <a:gd name="T40" fmla="*/ 89 w 125"/>
                      <a:gd name="T41" fmla="*/ 81 h 286"/>
                      <a:gd name="T42" fmla="*/ 102 w 125"/>
                      <a:gd name="T43" fmla="*/ 90 h 286"/>
                      <a:gd name="T44" fmla="*/ 89 w 125"/>
                      <a:gd name="T45" fmla="*/ 103 h 286"/>
                      <a:gd name="T46" fmla="*/ 111 w 125"/>
                      <a:gd name="T47" fmla="*/ 112 h 286"/>
                      <a:gd name="T48" fmla="*/ 120 w 125"/>
                      <a:gd name="T49" fmla="*/ 108 h 286"/>
                      <a:gd name="T50" fmla="*/ 125 w 125"/>
                      <a:gd name="T51" fmla="*/ 108 h 286"/>
                      <a:gd name="T52" fmla="*/ 125 w 125"/>
                      <a:gd name="T53" fmla="*/ 112 h 286"/>
                      <a:gd name="T54" fmla="*/ 120 w 125"/>
                      <a:gd name="T55" fmla="*/ 116 h 286"/>
                      <a:gd name="T56" fmla="*/ 111 w 125"/>
                      <a:gd name="T57" fmla="*/ 130 h 286"/>
                      <a:gd name="T58" fmla="*/ 102 w 125"/>
                      <a:gd name="T59" fmla="*/ 130 h 286"/>
                      <a:gd name="T60" fmla="*/ 89 w 125"/>
                      <a:gd name="T61" fmla="*/ 139 h 286"/>
                      <a:gd name="T62" fmla="*/ 80 w 125"/>
                      <a:gd name="T63" fmla="*/ 143 h 286"/>
                      <a:gd name="T64" fmla="*/ 71 w 125"/>
                      <a:gd name="T65" fmla="*/ 161 h 286"/>
                      <a:gd name="T66" fmla="*/ 76 w 125"/>
                      <a:gd name="T67" fmla="*/ 166 h 286"/>
                      <a:gd name="T68" fmla="*/ 76 w 125"/>
                      <a:gd name="T69" fmla="*/ 179 h 286"/>
                      <a:gd name="T70" fmla="*/ 85 w 125"/>
                      <a:gd name="T71" fmla="*/ 188 h 286"/>
                      <a:gd name="T72" fmla="*/ 89 w 125"/>
                      <a:gd name="T73" fmla="*/ 201 h 286"/>
                      <a:gd name="T74" fmla="*/ 80 w 125"/>
                      <a:gd name="T75" fmla="*/ 210 h 286"/>
                      <a:gd name="T76" fmla="*/ 85 w 125"/>
                      <a:gd name="T77" fmla="*/ 215 h 286"/>
                      <a:gd name="T78" fmla="*/ 102 w 125"/>
                      <a:gd name="T79" fmla="*/ 233 h 286"/>
                      <a:gd name="T80" fmla="*/ 98 w 125"/>
                      <a:gd name="T81" fmla="*/ 251 h 286"/>
                      <a:gd name="T82" fmla="*/ 102 w 125"/>
                      <a:gd name="T83" fmla="*/ 264 h 286"/>
                      <a:gd name="T84" fmla="*/ 98 w 125"/>
                      <a:gd name="T85" fmla="*/ 273 h 286"/>
                      <a:gd name="T86" fmla="*/ 94 w 125"/>
                      <a:gd name="T87" fmla="*/ 277 h 286"/>
                      <a:gd name="T88" fmla="*/ 89 w 125"/>
                      <a:gd name="T89" fmla="*/ 286 h 286"/>
                      <a:gd name="T90" fmla="*/ 85 w 125"/>
                      <a:gd name="T91" fmla="*/ 282 h 286"/>
                      <a:gd name="T92" fmla="*/ 94 w 125"/>
                      <a:gd name="T93" fmla="*/ 264 h 286"/>
                      <a:gd name="T94" fmla="*/ 89 w 125"/>
                      <a:gd name="T95" fmla="*/ 255 h 286"/>
                      <a:gd name="T96" fmla="*/ 89 w 125"/>
                      <a:gd name="T97" fmla="*/ 242 h 286"/>
                      <a:gd name="T98" fmla="*/ 80 w 125"/>
                      <a:gd name="T99" fmla="*/ 228 h 286"/>
                      <a:gd name="T100" fmla="*/ 76 w 125"/>
                      <a:gd name="T101" fmla="*/ 215 h 286"/>
                      <a:gd name="T102" fmla="*/ 76 w 125"/>
                      <a:gd name="T103" fmla="*/ 197 h 286"/>
                      <a:gd name="T104" fmla="*/ 62 w 125"/>
                      <a:gd name="T105" fmla="*/ 183 h 286"/>
                      <a:gd name="T106" fmla="*/ 53 w 125"/>
                      <a:gd name="T107" fmla="*/ 188 h 286"/>
                      <a:gd name="T108" fmla="*/ 44 w 125"/>
                      <a:gd name="T109" fmla="*/ 201 h 286"/>
                      <a:gd name="T110" fmla="*/ 22 w 125"/>
                      <a:gd name="T111" fmla="*/ 197 h 286"/>
                      <a:gd name="T112" fmla="*/ 27 w 125"/>
                      <a:gd name="T113" fmla="*/ 183 h 286"/>
                      <a:gd name="T114" fmla="*/ 31 w 125"/>
                      <a:gd name="T115" fmla="*/ 175 h 286"/>
                      <a:gd name="T116" fmla="*/ 22 w 125"/>
                      <a:gd name="T117" fmla="*/ 139 h 286"/>
                      <a:gd name="T118" fmla="*/ 13 w 125"/>
                      <a:gd name="T119" fmla="*/ 134 h 286"/>
                      <a:gd name="T120" fmla="*/ 9 w 125"/>
                      <a:gd name="T121" fmla="*/ 139 h 286"/>
                      <a:gd name="T122" fmla="*/ 0 w 125"/>
                      <a:gd name="T123" fmla="*/ 125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5" h="286">
                        <a:moveTo>
                          <a:pt x="0" y="125"/>
                        </a:moveTo>
                        <a:lnTo>
                          <a:pt x="9" y="121"/>
                        </a:lnTo>
                        <a:lnTo>
                          <a:pt x="4" y="112"/>
                        </a:lnTo>
                        <a:lnTo>
                          <a:pt x="9" y="108"/>
                        </a:lnTo>
                        <a:lnTo>
                          <a:pt x="9" y="94"/>
                        </a:lnTo>
                        <a:lnTo>
                          <a:pt x="13" y="94"/>
                        </a:lnTo>
                        <a:lnTo>
                          <a:pt x="13" y="72"/>
                        </a:lnTo>
                        <a:lnTo>
                          <a:pt x="22" y="67"/>
                        </a:lnTo>
                        <a:lnTo>
                          <a:pt x="31" y="54"/>
                        </a:lnTo>
                        <a:lnTo>
                          <a:pt x="31" y="45"/>
                        </a:lnTo>
                        <a:lnTo>
                          <a:pt x="44" y="23"/>
                        </a:lnTo>
                        <a:lnTo>
                          <a:pt x="58" y="18"/>
                        </a:lnTo>
                        <a:lnTo>
                          <a:pt x="62" y="18"/>
                        </a:lnTo>
                        <a:lnTo>
                          <a:pt x="62" y="9"/>
                        </a:lnTo>
                        <a:lnTo>
                          <a:pt x="76" y="0"/>
                        </a:lnTo>
                        <a:lnTo>
                          <a:pt x="85" y="9"/>
                        </a:lnTo>
                        <a:lnTo>
                          <a:pt x="85" y="40"/>
                        </a:lnTo>
                        <a:lnTo>
                          <a:pt x="71" y="54"/>
                        </a:lnTo>
                        <a:lnTo>
                          <a:pt x="76" y="76"/>
                        </a:lnTo>
                        <a:lnTo>
                          <a:pt x="89" y="67"/>
                        </a:lnTo>
                        <a:lnTo>
                          <a:pt x="89" y="81"/>
                        </a:lnTo>
                        <a:lnTo>
                          <a:pt x="102" y="90"/>
                        </a:lnTo>
                        <a:lnTo>
                          <a:pt x="89" y="103"/>
                        </a:lnTo>
                        <a:lnTo>
                          <a:pt x="111" y="112"/>
                        </a:lnTo>
                        <a:lnTo>
                          <a:pt x="120" y="108"/>
                        </a:lnTo>
                        <a:lnTo>
                          <a:pt x="125" y="108"/>
                        </a:lnTo>
                        <a:lnTo>
                          <a:pt x="125" y="112"/>
                        </a:lnTo>
                        <a:lnTo>
                          <a:pt x="120" y="116"/>
                        </a:lnTo>
                        <a:lnTo>
                          <a:pt x="111" y="130"/>
                        </a:lnTo>
                        <a:lnTo>
                          <a:pt x="102" y="130"/>
                        </a:lnTo>
                        <a:lnTo>
                          <a:pt x="89" y="139"/>
                        </a:lnTo>
                        <a:lnTo>
                          <a:pt x="80" y="143"/>
                        </a:lnTo>
                        <a:lnTo>
                          <a:pt x="71" y="161"/>
                        </a:lnTo>
                        <a:lnTo>
                          <a:pt x="76" y="166"/>
                        </a:lnTo>
                        <a:lnTo>
                          <a:pt x="76" y="179"/>
                        </a:lnTo>
                        <a:lnTo>
                          <a:pt x="85" y="188"/>
                        </a:lnTo>
                        <a:lnTo>
                          <a:pt x="89" y="201"/>
                        </a:lnTo>
                        <a:lnTo>
                          <a:pt x="80" y="210"/>
                        </a:lnTo>
                        <a:lnTo>
                          <a:pt x="85" y="215"/>
                        </a:lnTo>
                        <a:lnTo>
                          <a:pt x="102" y="233"/>
                        </a:lnTo>
                        <a:lnTo>
                          <a:pt x="98" y="251"/>
                        </a:lnTo>
                        <a:lnTo>
                          <a:pt x="102" y="264"/>
                        </a:lnTo>
                        <a:lnTo>
                          <a:pt x="98" y="273"/>
                        </a:lnTo>
                        <a:lnTo>
                          <a:pt x="94" y="277"/>
                        </a:lnTo>
                        <a:lnTo>
                          <a:pt x="89" y="286"/>
                        </a:lnTo>
                        <a:lnTo>
                          <a:pt x="85" y="282"/>
                        </a:lnTo>
                        <a:lnTo>
                          <a:pt x="94" y="264"/>
                        </a:lnTo>
                        <a:lnTo>
                          <a:pt x="89" y="255"/>
                        </a:lnTo>
                        <a:lnTo>
                          <a:pt x="89" y="242"/>
                        </a:lnTo>
                        <a:lnTo>
                          <a:pt x="80" y="228"/>
                        </a:lnTo>
                        <a:lnTo>
                          <a:pt x="76" y="215"/>
                        </a:lnTo>
                        <a:lnTo>
                          <a:pt x="76" y="197"/>
                        </a:lnTo>
                        <a:lnTo>
                          <a:pt x="62" y="183"/>
                        </a:lnTo>
                        <a:lnTo>
                          <a:pt x="53" y="188"/>
                        </a:lnTo>
                        <a:lnTo>
                          <a:pt x="44" y="201"/>
                        </a:lnTo>
                        <a:lnTo>
                          <a:pt x="22" y="197"/>
                        </a:lnTo>
                        <a:lnTo>
                          <a:pt x="27" y="183"/>
                        </a:lnTo>
                        <a:lnTo>
                          <a:pt x="31" y="175"/>
                        </a:lnTo>
                        <a:lnTo>
                          <a:pt x="22" y="139"/>
                        </a:lnTo>
                        <a:lnTo>
                          <a:pt x="13" y="134"/>
                        </a:lnTo>
                        <a:lnTo>
                          <a:pt x="9" y="139"/>
                        </a:lnTo>
                        <a:lnTo>
                          <a:pt x="0" y="12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84" name="Freeform 116">
                    <a:extLst>
                      <a:ext uri="{FF2B5EF4-FFF2-40B4-BE49-F238E27FC236}">
                        <a16:creationId xmlns:a16="http://schemas.microsoft.com/office/drawing/2014/main" id="{50184A17-4F6F-4CAD-AD2A-A798A787C50E}"/>
                      </a:ext>
                    </a:extLst>
                  </p:cNvPr>
                  <p:cNvSpPr>
                    <a:spLocks/>
                  </p:cNvSpPr>
                  <p:nvPr/>
                </p:nvSpPr>
                <p:spPr bwMode="gray">
                  <a:xfrm>
                    <a:off x="4148" y="2565"/>
                    <a:ext cx="71" cy="71"/>
                  </a:xfrm>
                  <a:custGeom>
                    <a:avLst/>
                    <a:gdLst>
                      <a:gd name="T0" fmla="*/ 9 w 71"/>
                      <a:gd name="T1" fmla="*/ 49 h 71"/>
                      <a:gd name="T2" fmla="*/ 9 w 71"/>
                      <a:gd name="T3" fmla="*/ 62 h 71"/>
                      <a:gd name="T4" fmla="*/ 18 w 71"/>
                      <a:gd name="T5" fmla="*/ 58 h 71"/>
                      <a:gd name="T6" fmla="*/ 18 w 71"/>
                      <a:gd name="T7" fmla="*/ 62 h 71"/>
                      <a:gd name="T8" fmla="*/ 13 w 71"/>
                      <a:gd name="T9" fmla="*/ 67 h 71"/>
                      <a:gd name="T10" fmla="*/ 18 w 71"/>
                      <a:gd name="T11" fmla="*/ 71 h 71"/>
                      <a:gd name="T12" fmla="*/ 22 w 71"/>
                      <a:gd name="T13" fmla="*/ 67 h 71"/>
                      <a:gd name="T14" fmla="*/ 31 w 71"/>
                      <a:gd name="T15" fmla="*/ 67 h 71"/>
                      <a:gd name="T16" fmla="*/ 40 w 71"/>
                      <a:gd name="T17" fmla="*/ 53 h 71"/>
                      <a:gd name="T18" fmla="*/ 53 w 71"/>
                      <a:gd name="T19" fmla="*/ 53 h 71"/>
                      <a:gd name="T20" fmla="*/ 53 w 71"/>
                      <a:gd name="T21" fmla="*/ 44 h 71"/>
                      <a:gd name="T22" fmla="*/ 62 w 71"/>
                      <a:gd name="T23" fmla="*/ 44 h 71"/>
                      <a:gd name="T24" fmla="*/ 71 w 71"/>
                      <a:gd name="T25" fmla="*/ 36 h 71"/>
                      <a:gd name="T26" fmla="*/ 71 w 71"/>
                      <a:gd name="T27" fmla="*/ 9 h 71"/>
                      <a:gd name="T28" fmla="*/ 67 w 71"/>
                      <a:gd name="T29" fmla="*/ 4 h 71"/>
                      <a:gd name="T30" fmla="*/ 58 w 71"/>
                      <a:gd name="T31" fmla="*/ 0 h 71"/>
                      <a:gd name="T32" fmla="*/ 53 w 71"/>
                      <a:gd name="T33" fmla="*/ 0 h 71"/>
                      <a:gd name="T34" fmla="*/ 49 w 71"/>
                      <a:gd name="T35" fmla="*/ 9 h 71"/>
                      <a:gd name="T36" fmla="*/ 40 w 71"/>
                      <a:gd name="T37" fmla="*/ 9 h 71"/>
                      <a:gd name="T38" fmla="*/ 35 w 71"/>
                      <a:gd name="T39" fmla="*/ 4 h 71"/>
                      <a:gd name="T40" fmla="*/ 9 w 71"/>
                      <a:gd name="T41" fmla="*/ 9 h 71"/>
                      <a:gd name="T42" fmla="*/ 0 w 71"/>
                      <a:gd name="T43" fmla="*/ 22 h 71"/>
                      <a:gd name="T44" fmla="*/ 9 w 71"/>
                      <a:gd name="T45" fmla="*/ 40 h 71"/>
                      <a:gd name="T46" fmla="*/ 9 w 71"/>
                      <a:gd name="T47" fmla="*/ 4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71">
                        <a:moveTo>
                          <a:pt x="9" y="49"/>
                        </a:moveTo>
                        <a:lnTo>
                          <a:pt x="9" y="62"/>
                        </a:lnTo>
                        <a:lnTo>
                          <a:pt x="18" y="58"/>
                        </a:lnTo>
                        <a:lnTo>
                          <a:pt x="18" y="62"/>
                        </a:lnTo>
                        <a:lnTo>
                          <a:pt x="13" y="67"/>
                        </a:lnTo>
                        <a:lnTo>
                          <a:pt x="18" y="71"/>
                        </a:lnTo>
                        <a:lnTo>
                          <a:pt x="22" y="67"/>
                        </a:lnTo>
                        <a:lnTo>
                          <a:pt x="31" y="67"/>
                        </a:lnTo>
                        <a:lnTo>
                          <a:pt x="40" y="53"/>
                        </a:lnTo>
                        <a:lnTo>
                          <a:pt x="53" y="53"/>
                        </a:lnTo>
                        <a:lnTo>
                          <a:pt x="53" y="44"/>
                        </a:lnTo>
                        <a:lnTo>
                          <a:pt x="62" y="44"/>
                        </a:lnTo>
                        <a:lnTo>
                          <a:pt x="71" y="36"/>
                        </a:lnTo>
                        <a:lnTo>
                          <a:pt x="71" y="9"/>
                        </a:lnTo>
                        <a:lnTo>
                          <a:pt x="67" y="4"/>
                        </a:lnTo>
                        <a:lnTo>
                          <a:pt x="58" y="0"/>
                        </a:lnTo>
                        <a:lnTo>
                          <a:pt x="53" y="0"/>
                        </a:lnTo>
                        <a:lnTo>
                          <a:pt x="49" y="9"/>
                        </a:lnTo>
                        <a:lnTo>
                          <a:pt x="40" y="9"/>
                        </a:lnTo>
                        <a:lnTo>
                          <a:pt x="35" y="4"/>
                        </a:lnTo>
                        <a:lnTo>
                          <a:pt x="9" y="9"/>
                        </a:lnTo>
                        <a:lnTo>
                          <a:pt x="0" y="22"/>
                        </a:lnTo>
                        <a:lnTo>
                          <a:pt x="9" y="40"/>
                        </a:lnTo>
                        <a:lnTo>
                          <a:pt x="9" y="4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85" name="Freeform 117">
                    <a:extLst>
                      <a:ext uri="{FF2B5EF4-FFF2-40B4-BE49-F238E27FC236}">
                        <a16:creationId xmlns:a16="http://schemas.microsoft.com/office/drawing/2014/main" id="{CE206A2C-AD83-451F-ACAF-25AB9B09528C}"/>
                      </a:ext>
                    </a:extLst>
                  </p:cNvPr>
                  <p:cNvSpPr>
                    <a:spLocks/>
                  </p:cNvSpPr>
                  <p:nvPr/>
                </p:nvSpPr>
                <p:spPr bwMode="gray">
                  <a:xfrm>
                    <a:off x="3822" y="2641"/>
                    <a:ext cx="35" cy="53"/>
                  </a:xfrm>
                  <a:custGeom>
                    <a:avLst/>
                    <a:gdLst>
                      <a:gd name="T0" fmla="*/ 0 w 35"/>
                      <a:gd name="T1" fmla="*/ 40 h 53"/>
                      <a:gd name="T2" fmla="*/ 9 w 35"/>
                      <a:gd name="T3" fmla="*/ 53 h 53"/>
                      <a:gd name="T4" fmla="*/ 22 w 35"/>
                      <a:gd name="T5" fmla="*/ 53 h 53"/>
                      <a:gd name="T6" fmla="*/ 35 w 35"/>
                      <a:gd name="T7" fmla="*/ 44 h 53"/>
                      <a:gd name="T8" fmla="*/ 35 w 35"/>
                      <a:gd name="T9" fmla="*/ 31 h 53"/>
                      <a:gd name="T10" fmla="*/ 22 w 35"/>
                      <a:gd name="T11" fmla="*/ 4 h 53"/>
                      <a:gd name="T12" fmla="*/ 9 w 35"/>
                      <a:gd name="T13" fmla="*/ 0 h 53"/>
                      <a:gd name="T14" fmla="*/ 4 w 35"/>
                      <a:gd name="T15" fmla="*/ 4 h 53"/>
                      <a:gd name="T16" fmla="*/ 9 w 35"/>
                      <a:gd name="T17" fmla="*/ 9 h 53"/>
                      <a:gd name="T18" fmla="*/ 4 w 35"/>
                      <a:gd name="T19" fmla="*/ 13 h 53"/>
                      <a:gd name="T20" fmla="*/ 4 w 35"/>
                      <a:gd name="T21" fmla="*/ 22 h 53"/>
                      <a:gd name="T22" fmla="*/ 0 w 35"/>
                      <a:gd name="T23" fmla="*/ 22 h 53"/>
                      <a:gd name="T24" fmla="*/ 4 w 35"/>
                      <a:gd name="T25" fmla="*/ 35 h 53"/>
                      <a:gd name="T26" fmla="*/ 0 w 35"/>
                      <a:gd name="T27" fmla="*/ 4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53">
                        <a:moveTo>
                          <a:pt x="0" y="40"/>
                        </a:moveTo>
                        <a:lnTo>
                          <a:pt x="9" y="53"/>
                        </a:lnTo>
                        <a:lnTo>
                          <a:pt x="22" y="53"/>
                        </a:lnTo>
                        <a:lnTo>
                          <a:pt x="35" y="44"/>
                        </a:lnTo>
                        <a:lnTo>
                          <a:pt x="35" y="31"/>
                        </a:lnTo>
                        <a:lnTo>
                          <a:pt x="22" y="4"/>
                        </a:lnTo>
                        <a:lnTo>
                          <a:pt x="9" y="0"/>
                        </a:lnTo>
                        <a:lnTo>
                          <a:pt x="4" y="4"/>
                        </a:lnTo>
                        <a:lnTo>
                          <a:pt x="9" y="9"/>
                        </a:lnTo>
                        <a:lnTo>
                          <a:pt x="4" y="13"/>
                        </a:lnTo>
                        <a:lnTo>
                          <a:pt x="4" y="22"/>
                        </a:lnTo>
                        <a:lnTo>
                          <a:pt x="0" y="22"/>
                        </a:lnTo>
                        <a:lnTo>
                          <a:pt x="4" y="35"/>
                        </a:lnTo>
                        <a:lnTo>
                          <a:pt x="0" y="4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86" name="Freeform 118">
                    <a:extLst>
                      <a:ext uri="{FF2B5EF4-FFF2-40B4-BE49-F238E27FC236}">
                        <a16:creationId xmlns:a16="http://schemas.microsoft.com/office/drawing/2014/main" id="{515464B9-E936-445B-B94D-82C4B711AB9D}"/>
                      </a:ext>
                    </a:extLst>
                  </p:cNvPr>
                  <p:cNvSpPr>
                    <a:spLocks noEditPoints="1"/>
                  </p:cNvSpPr>
                  <p:nvPr/>
                </p:nvSpPr>
                <p:spPr bwMode="gray">
                  <a:xfrm>
                    <a:off x="3737" y="1850"/>
                    <a:ext cx="875" cy="661"/>
                  </a:xfrm>
                  <a:custGeom>
                    <a:avLst/>
                    <a:gdLst>
                      <a:gd name="T0" fmla="*/ 18 w 875"/>
                      <a:gd name="T1" fmla="*/ 339 h 661"/>
                      <a:gd name="T2" fmla="*/ 13 w 875"/>
                      <a:gd name="T3" fmla="*/ 353 h 661"/>
                      <a:gd name="T4" fmla="*/ 71 w 875"/>
                      <a:gd name="T5" fmla="*/ 366 h 661"/>
                      <a:gd name="T6" fmla="*/ 71 w 875"/>
                      <a:gd name="T7" fmla="*/ 433 h 661"/>
                      <a:gd name="T8" fmla="*/ 120 w 875"/>
                      <a:gd name="T9" fmla="*/ 473 h 661"/>
                      <a:gd name="T10" fmla="*/ 210 w 875"/>
                      <a:gd name="T11" fmla="*/ 514 h 661"/>
                      <a:gd name="T12" fmla="*/ 219 w 875"/>
                      <a:gd name="T13" fmla="*/ 527 h 661"/>
                      <a:gd name="T14" fmla="*/ 259 w 875"/>
                      <a:gd name="T15" fmla="*/ 509 h 661"/>
                      <a:gd name="T16" fmla="*/ 303 w 875"/>
                      <a:gd name="T17" fmla="*/ 500 h 661"/>
                      <a:gd name="T18" fmla="*/ 344 w 875"/>
                      <a:gd name="T19" fmla="*/ 500 h 661"/>
                      <a:gd name="T20" fmla="*/ 344 w 875"/>
                      <a:gd name="T21" fmla="*/ 576 h 661"/>
                      <a:gd name="T22" fmla="*/ 357 w 875"/>
                      <a:gd name="T23" fmla="*/ 603 h 661"/>
                      <a:gd name="T24" fmla="*/ 393 w 875"/>
                      <a:gd name="T25" fmla="*/ 612 h 661"/>
                      <a:gd name="T26" fmla="*/ 406 w 875"/>
                      <a:gd name="T27" fmla="*/ 599 h 661"/>
                      <a:gd name="T28" fmla="*/ 455 w 875"/>
                      <a:gd name="T29" fmla="*/ 585 h 661"/>
                      <a:gd name="T30" fmla="*/ 487 w 875"/>
                      <a:gd name="T31" fmla="*/ 608 h 661"/>
                      <a:gd name="T32" fmla="*/ 513 w 875"/>
                      <a:gd name="T33" fmla="*/ 621 h 661"/>
                      <a:gd name="T34" fmla="*/ 522 w 875"/>
                      <a:gd name="T35" fmla="*/ 612 h 661"/>
                      <a:gd name="T36" fmla="*/ 567 w 875"/>
                      <a:gd name="T37" fmla="*/ 594 h 661"/>
                      <a:gd name="T38" fmla="*/ 589 w 875"/>
                      <a:gd name="T39" fmla="*/ 585 h 661"/>
                      <a:gd name="T40" fmla="*/ 612 w 875"/>
                      <a:gd name="T41" fmla="*/ 585 h 661"/>
                      <a:gd name="T42" fmla="*/ 638 w 875"/>
                      <a:gd name="T43" fmla="*/ 567 h 661"/>
                      <a:gd name="T44" fmla="*/ 665 w 875"/>
                      <a:gd name="T45" fmla="*/ 532 h 661"/>
                      <a:gd name="T46" fmla="*/ 683 w 875"/>
                      <a:gd name="T47" fmla="*/ 482 h 661"/>
                      <a:gd name="T48" fmla="*/ 688 w 875"/>
                      <a:gd name="T49" fmla="*/ 451 h 661"/>
                      <a:gd name="T50" fmla="*/ 674 w 875"/>
                      <a:gd name="T51" fmla="*/ 424 h 661"/>
                      <a:gd name="T52" fmla="*/ 656 w 875"/>
                      <a:gd name="T53" fmla="*/ 375 h 661"/>
                      <a:gd name="T54" fmla="*/ 701 w 875"/>
                      <a:gd name="T55" fmla="*/ 344 h 661"/>
                      <a:gd name="T56" fmla="*/ 643 w 875"/>
                      <a:gd name="T57" fmla="*/ 339 h 661"/>
                      <a:gd name="T58" fmla="*/ 656 w 875"/>
                      <a:gd name="T59" fmla="*/ 299 h 661"/>
                      <a:gd name="T60" fmla="*/ 692 w 875"/>
                      <a:gd name="T61" fmla="*/ 286 h 661"/>
                      <a:gd name="T62" fmla="*/ 674 w 875"/>
                      <a:gd name="T63" fmla="*/ 317 h 661"/>
                      <a:gd name="T64" fmla="*/ 719 w 875"/>
                      <a:gd name="T65" fmla="*/ 295 h 661"/>
                      <a:gd name="T66" fmla="*/ 764 w 875"/>
                      <a:gd name="T67" fmla="*/ 259 h 661"/>
                      <a:gd name="T68" fmla="*/ 804 w 875"/>
                      <a:gd name="T69" fmla="*/ 232 h 661"/>
                      <a:gd name="T70" fmla="*/ 822 w 875"/>
                      <a:gd name="T71" fmla="*/ 223 h 661"/>
                      <a:gd name="T72" fmla="*/ 875 w 875"/>
                      <a:gd name="T73" fmla="*/ 143 h 661"/>
                      <a:gd name="T74" fmla="*/ 817 w 875"/>
                      <a:gd name="T75" fmla="*/ 134 h 661"/>
                      <a:gd name="T76" fmla="*/ 781 w 875"/>
                      <a:gd name="T77" fmla="*/ 98 h 661"/>
                      <a:gd name="T78" fmla="*/ 714 w 875"/>
                      <a:gd name="T79" fmla="*/ 4 h 661"/>
                      <a:gd name="T80" fmla="*/ 661 w 875"/>
                      <a:gd name="T81" fmla="*/ 27 h 661"/>
                      <a:gd name="T82" fmla="*/ 652 w 875"/>
                      <a:gd name="T83" fmla="*/ 85 h 661"/>
                      <a:gd name="T84" fmla="*/ 607 w 875"/>
                      <a:gd name="T85" fmla="*/ 111 h 661"/>
                      <a:gd name="T86" fmla="*/ 621 w 875"/>
                      <a:gd name="T87" fmla="*/ 138 h 661"/>
                      <a:gd name="T88" fmla="*/ 656 w 875"/>
                      <a:gd name="T89" fmla="*/ 156 h 661"/>
                      <a:gd name="T90" fmla="*/ 585 w 875"/>
                      <a:gd name="T91" fmla="*/ 179 h 661"/>
                      <a:gd name="T92" fmla="*/ 545 w 875"/>
                      <a:gd name="T93" fmla="*/ 187 h 661"/>
                      <a:gd name="T94" fmla="*/ 522 w 875"/>
                      <a:gd name="T95" fmla="*/ 241 h 661"/>
                      <a:gd name="T96" fmla="*/ 415 w 875"/>
                      <a:gd name="T97" fmla="*/ 250 h 661"/>
                      <a:gd name="T98" fmla="*/ 286 w 875"/>
                      <a:gd name="T99" fmla="*/ 192 h 661"/>
                      <a:gd name="T100" fmla="*/ 210 w 875"/>
                      <a:gd name="T101" fmla="*/ 120 h 661"/>
                      <a:gd name="T102" fmla="*/ 183 w 875"/>
                      <a:gd name="T103" fmla="*/ 120 h 661"/>
                      <a:gd name="T104" fmla="*/ 134 w 875"/>
                      <a:gd name="T105" fmla="*/ 152 h 661"/>
                      <a:gd name="T106" fmla="*/ 89 w 875"/>
                      <a:gd name="T107" fmla="*/ 201 h 661"/>
                      <a:gd name="T108" fmla="*/ 94 w 875"/>
                      <a:gd name="T109" fmla="*/ 259 h 661"/>
                      <a:gd name="T110" fmla="*/ 35 w 875"/>
                      <a:gd name="T111" fmla="*/ 290 h 661"/>
                      <a:gd name="T112" fmla="*/ 0 w 875"/>
                      <a:gd name="T113" fmla="*/ 295 h 661"/>
                      <a:gd name="T114" fmla="*/ 504 w 875"/>
                      <a:gd name="T115" fmla="*/ 648 h 661"/>
                      <a:gd name="T116" fmla="*/ 531 w 875"/>
                      <a:gd name="T117" fmla="*/ 652 h 661"/>
                      <a:gd name="T118" fmla="*/ 527 w 875"/>
                      <a:gd name="T119" fmla="*/ 634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5" h="661">
                        <a:moveTo>
                          <a:pt x="0" y="304"/>
                        </a:moveTo>
                        <a:lnTo>
                          <a:pt x="0" y="322"/>
                        </a:lnTo>
                        <a:lnTo>
                          <a:pt x="18" y="326"/>
                        </a:lnTo>
                        <a:lnTo>
                          <a:pt x="18" y="339"/>
                        </a:lnTo>
                        <a:lnTo>
                          <a:pt x="22" y="339"/>
                        </a:lnTo>
                        <a:lnTo>
                          <a:pt x="22" y="344"/>
                        </a:lnTo>
                        <a:lnTo>
                          <a:pt x="18" y="348"/>
                        </a:lnTo>
                        <a:lnTo>
                          <a:pt x="13" y="353"/>
                        </a:lnTo>
                        <a:lnTo>
                          <a:pt x="31" y="353"/>
                        </a:lnTo>
                        <a:lnTo>
                          <a:pt x="40" y="366"/>
                        </a:lnTo>
                        <a:lnTo>
                          <a:pt x="53" y="362"/>
                        </a:lnTo>
                        <a:lnTo>
                          <a:pt x="71" y="366"/>
                        </a:lnTo>
                        <a:lnTo>
                          <a:pt x="71" y="384"/>
                        </a:lnTo>
                        <a:lnTo>
                          <a:pt x="80" y="397"/>
                        </a:lnTo>
                        <a:lnTo>
                          <a:pt x="80" y="411"/>
                        </a:lnTo>
                        <a:lnTo>
                          <a:pt x="71" y="433"/>
                        </a:lnTo>
                        <a:lnTo>
                          <a:pt x="80" y="460"/>
                        </a:lnTo>
                        <a:lnTo>
                          <a:pt x="89" y="456"/>
                        </a:lnTo>
                        <a:lnTo>
                          <a:pt x="102" y="469"/>
                        </a:lnTo>
                        <a:lnTo>
                          <a:pt x="120" y="473"/>
                        </a:lnTo>
                        <a:lnTo>
                          <a:pt x="138" y="491"/>
                        </a:lnTo>
                        <a:lnTo>
                          <a:pt x="147" y="491"/>
                        </a:lnTo>
                        <a:lnTo>
                          <a:pt x="169" y="509"/>
                        </a:lnTo>
                        <a:lnTo>
                          <a:pt x="210" y="514"/>
                        </a:lnTo>
                        <a:lnTo>
                          <a:pt x="219" y="505"/>
                        </a:lnTo>
                        <a:lnTo>
                          <a:pt x="219" y="509"/>
                        </a:lnTo>
                        <a:lnTo>
                          <a:pt x="214" y="518"/>
                        </a:lnTo>
                        <a:lnTo>
                          <a:pt x="219" y="527"/>
                        </a:lnTo>
                        <a:lnTo>
                          <a:pt x="232" y="514"/>
                        </a:lnTo>
                        <a:lnTo>
                          <a:pt x="245" y="505"/>
                        </a:lnTo>
                        <a:lnTo>
                          <a:pt x="254" y="509"/>
                        </a:lnTo>
                        <a:lnTo>
                          <a:pt x="259" y="509"/>
                        </a:lnTo>
                        <a:lnTo>
                          <a:pt x="272" y="505"/>
                        </a:lnTo>
                        <a:lnTo>
                          <a:pt x="290" y="491"/>
                        </a:lnTo>
                        <a:lnTo>
                          <a:pt x="303" y="491"/>
                        </a:lnTo>
                        <a:lnTo>
                          <a:pt x="303" y="500"/>
                        </a:lnTo>
                        <a:lnTo>
                          <a:pt x="317" y="496"/>
                        </a:lnTo>
                        <a:lnTo>
                          <a:pt x="330" y="500"/>
                        </a:lnTo>
                        <a:lnTo>
                          <a:pt x="330" y="509"/>
                        </a:lnTo>
                        <a:lnTo>
                          <a:pt x="344" y="500"/>
                        </a:lnTo>
                        <a:lnTo>
                          <a:pt x="353" y="509"/>
                        </a:lnTo>
                        <a:lnTo>
                          <a:pt x="353" y="540"/>
                        </a:lnTo>
                        <a:lnTo>
                          <a:pt x="339" y="554"/>
                        </a:lnTo>
                        <a:lnTo>
                          <a:pt x="344" y="576"/>
                        </a:lnTo>
                        <a:lnTo>
                          <a:pt x="357" y="567"/>
                        </a:lnTo>
                        <a:lnTo>
                          <a:pt x="357" y="581"/>
                        </a:lnTo>
                        <a:lnTo>
                          <a:pt x="370" y="590"/>
                        </a:lnTo>
                        <a:lnTo>
                          <a:pt x="357" y="603"/>
                        </a:lnTo>
                        <a:lnTo>
                          <a:pt x="379" y="612"/>
                        </a:lnTo>
                        <a:lnTo>
                          <a:pt x="388" y="608"/>
                        </a:lnTo>
                        <a:lnTo>
                          <a:pt x="393" y="608"/>
                        </a:lnTo>
                        <a:lnTo>
                          <a:pt x="393" y="612"/>
                        </a:lnTo>
                        <a:lnTo>
                          <a:pt x="393" y="621"/>
                        </a:lnTo>
                        <a:lnTo>
                          <a:pt x="402" y="621"/>
                        </a:lnTo>
                        <a:lnTo>
                          <a:pt x="402" y="599"/>
                        </a:lnTo>
                        <a:lnTo>
                          <a:pt x="406" y="599"/>
                        </a:lnTo>
                        <a:lnTo>
                          <a:pt x="411" y="594"/>
                        </a:lnTo>
                        <a:lnTo>
                          <a:pt x="433" y="594"/>
                        </a:lnTo>
                        <a:lnTo>
                          <a:pt x="442" y="590"/>
                        </a:lnTo>
                        <a:lnTo>
                          <a:pt x="455" y="585"/>
                        </a:lnTo>
                        <a:lnTo>
                          <a:pt x="473" y="594"/>
                        </a:lnTo>
                        <a:lnTo>
                          <a:pt x="469" y="603"/>
                        </a:lnTo>
                        <a:lnTo>
                          <a:pt x="487" y="603"/>
                        </a:lnTo>
                        <a:lnTo>
                          <a:pt x="487" y="608"/>
                        </a:lnTo>
                        <a:lnTo>
                          <a:pt x="496" y="608"/>
                        </a:lnTo>
                        <a:lnTo>
                          <a:pt x="500" y="612"/>
                        </a:lnTo>
                        <a:lnTo>
                          <a:pt x="518" y="608"/>
                        </a:lnTo>
                        <a:lnTo>
                          <a:pt x="513" y="621"/>
                        </a:lnTo>
                        <a:lnTo>
                          <a:pt x="518" y="630"/>
                        </a:lnTo>
                        <a:lnTo>
                          <a:pt x="531" y="625"/>
                        </a:lnTo>
                        <a:lnTo>
                          <a:pt x="522" y="621"/>
                        </a:lnTo>
                        <a:lnTo>
                          <a:pt x="522" y="612"/>
                        </a:lnTo>
                        <a:lnTo>
                          <a:pt x="531" y="616"/>
                        </a:lnTo>
                        <a:lnTo>
                          <a:pt x="545" y="603"/>
                        </a:lnTo>
                        <a:lnTo>
                          <a:pt x="554" y="608"/>
                        </a:lnTo>
                        <a:lnTo>
                          <a:pt x="567" y="594"/>
                        </a:lnTo>
                        <a:lnTo>
                          <a:pt x="571" y="585"/>
                        </a:lnTo>
                        <a:lnTo>
                          <a:pt x="571" y="599"/>
                        </a:lnTo>
                        <a:lnTo>
                          <a:pt x="580" y="594"/>
                        </a:lnTo>
                        <a:lnTo>
                          <a:pt x="589" y="585"/>
                        </a:lnTo>
                        <a:lnTo>
                          <a:pt x="589" y="590"/>
                        </a:lnTo>
                        <a:lnTo>
                          <a:pt x="594" y="585"/>
                        </a:lnTo>
                        <a:lnTo>
                          <a:pt x="603" y="590"/>
                        </a:lnTo>
                        <a:lnTo>
                          <a:pt x="612" y="585"/>
                        </a:lnTo>
                        <a:lnTo>
                          <a:pt x="616" y="576"/>
                        </a:lnTo>
                        <a:lnTo>
                          <a:pt x="625" y="576"/>
                        </a:lnTo>
                        <a:lnTo>
                          <a:pt x="634" y="563"/>
                        </a:lnTo>
                        <a:lnTo>
                          <a:pt x="638" y="567"/>
                        </a:lnTo>
                        <a:lnTo>
                          <a:pt x="643" y="558"/>
                        </a:lnTo>
                        <a:lnTo>
                          <a:pt x="661" y="545"/>
                        </a:lnTo>
                        <a:lnTo>
                          <a:pt x="656" y="523"/>
                        </a:lnTo>
                        <a:lnTo>
                          <a:pt x="665" y="532"/>
                        </a:lnTo>
                        <a:lnTo>
                          <a:pt x="674" y="518"/>
                        </a:lnTo>
                        <a:lnTo>
                          <a:pt x="674" y="509"/>
                        </a:lnTo>
                        <a:lnTo>
                          <a:pt x="683" y="505"/>
                        </a:lnTo>
                        <a:lnTo>
                          <a:pt x="683" y="482"/>
                        </a:lnTo>
                        <a:lnTo>
                          <a:pt x="692" y="473"/>
                        </a:lnTo>
                        <a:lnTo>
                          <a:pt x="665" y="469"/>
                        </a:lnTo>
                        <a:lnTo>
                          <a:pt x="674" y="465"/>
                        </a:lnTo>
                        <a:lnTo>
                          <a:pt x="688" y="451"/>
                        </a:lnTo>
                        <a:lnTo>
                          <a:pt x="670" y="438"/>
                        </a:lnTo>
                        <a:lnTo>
                          <a:pt x="683" y="442"/>
                        </a:lnTo>
                        <a:lnTo>
                          <a:pt x="688" y="433"/>
                        </a:lnTo>
                        <a:lnTo>
                          <a:pt x="674" y="424"/>
                        </a:lnTo>
                        <a:lnTo>
                          <a:pt x="674" y="406"/>
                        </a:lnTo>
                        <a:lnTo>
                          <a:pt x="670" y="389"/>
                        </a:lnTo>
                        <a:lnTo>
                          <a:pt x="652" y="389"/>
                        </a:lnTo>
                        <a:lnTo>
                          <a:pt x="656" y="375"/>
                        </a:lnTo>
                        <a:lnTo>
                          <a:pt x="670" y="371"/>
                        </a:lnTo>
                        <a:lnTo>
                          <a:pt x="674" y="362"/>
                        </a:lnTo>
                        <a:lnTo>
                          <a:pt x="692" y="357"/>
                        </a:lnTo>
                        <a:lnTo>
                          <a:pt x="701" y="344"/>
                        </a:lnTo>
                        <a:lnTo>
                          <a:pt x="670" y="335"/>
                        </a:lnTo>
                        <a:lnTo>
                          <a:pt x="652" y="348"/>
                        </a:lnTo>
                        <a:lnTo>
                          <a:pt x="638" y="339"/>
                        </a:lnTo>
                        <a:lnTo>
                          <a:pt x="643" y="339"/>
                        </a:lnTo>
                        <a:lnTo>
                          <a:pt x="625" y="322"/>
                        </a:lnTo>
                        <a:lnTo>
                          <a:pt x="634" y="317"/>
                        </a:lnTo>
                        <a:lnTo>
                          <a:pt x="652" y="313"/>
                        </a:lnTo>
                        <a:lnTo>
                          <a:pt x="656" y="299"/>
                        </a:lnTo>
                        <a:lnTo>
                          <a:pt x="674" y="281"/>
                        </a:lnTo>
                        <a:lnTo>
                          <a:pt x="674" y="277"/>
                        </a:lnTo>
                        <a:lnTo>
                          <a:pt x="683" y="277"/>
                        </a:lnTo>
                        <a:lnTo>
                          <a:pt x="692" y="286"/>
                        </a:lnTo>
                        <a:lnTo>
                          <a:pt x="683" y="295"/>
                        </a:lnTo>
                        <a:lnTo>
                          <a:pt x="674" y="304"/>
                        </a:lnTo>
                        <a:lnTo>
                          <a:pt x="688" y="304"/>
                        </a:lnTo>
                        <a:lnTo>
                          <a:pt x="674" y="317"/>
                        </a:lnTo>
                        <a:lnTo>
                          <a:pt x="688" y="317"/>
                        </a:lnTo>
                        <a:lnTo>
                          <a:pt x="701" y="304"/>
                        </a:lnTo>
                        <a:lnTo>
                          <a:pt x="719" y="299"/>
                        </a:lnTo>
                        <a:lnTo>
                          <a:pt x="719" y="295"/>
                        </a:lnTo>
                        <a:lnTo>
                          <a:pt x="741" y="281"/>
                        </a:lnTo>
                        <a:lnTo>
                          <a:pt x="746" y="281"/>
                        </a:lnTo>
                        <a:lnTo>
                          <a:pt x="759" y="263"/>
                        </a:lnTo>
                        <a:lnTo>
                          <a:pt x="764" y="259"/>
                        </a:lnTo>
                        <a:lnTo>
                          <a:pt x="781" y="268"/>
                        </a:lnTo>
                        <a:lnTo>
                          <a:pt x="781" y="254"/>
                        </a:lnTo>
                        <a:lnTo>
                          <a:pt x="795" y="241"/>
                        </a:lnTo>
                        <a:lnTo>
                          <a:pt x="804" y="232"/>
                        </a:lnTo>
                        <a:lnTo>
                          <a:pt x="813" y="246"/>
                        </a:lnTo>
                        <a:lnTo>
                          <a:pt x="808" y="237"/>
                        </a:lnTo>
                        <a:lnTo>
                          <a:pt x="817" y="228"/>
                        </a:lnTo>
                        <a:lnTo>
                          <a:pt x="822" y="223"/>
                        </a:lnTo>
                        <a:lnTo>
                          <a:pt x="817" y="201"/>
                        </a:lnTo>
                        <a:lnTo>
                          <a:pt x="826" y="192"/>
                        </a:lnTo>
                        <a:lnTo>
                          <a:pt x="844" y="192"/>
                        </a:lnTo>
                        <a:lnTo>
                          <a:pt x="875" y="143"/>
                        </a:lnTo>
                        <a:lnTo>
                          <a:pt x="871" y="129"/>
                        </a:lnTo>
                        <a:lnTo>
                          <a:pt x="862" y="125"/>
                        </a:lnTo>
                        <a:lnTo>
                          <a:pt x="839" y="143"/>
                        </a:lnTo>
                        <a:lnTo>
                          <a:pt x="817" y="134"/>
                        </a:lnTo>
                        <a:lnTo>
                          <a:pt x="813" y="116"/>
                        </a:lnTo>
                        <a:lnTo>
                          <a:pt x="795" y="103"/>
                        </a:lnTo>
                        <a:lnTo>
                          <a:pt x="786" y="103"/>
                        </a:lnTo>
                        <a:lnTo>
                          <a:pt x="781" y="98"/>
                        </a:lnTo>
                        <a:lnTo>
                          <a:pt x="768" y="98"/>
                        </a:lnTo>
                        <a:lnTo>
                          <a:pt x="764" y="76"/>
                        </a:lnTo>
                        <a:lnTo>
                          <a:pt x="741" y="18"/>
                        </a:lnTo>
                        <a:lnTo>
                          <a:pt x="714" y="4"/>
                        </a:lnTo>
                        <a:lnTo>
                          <a:pt x="701" y="0"/>
                        </a:lnTo>
                        <a:lnTo>
                          <a:pt x="674" y="4"/>
                        </a:lnTo>
                        <a:lnTo>
                          <a:pt x="661" y="22"/>
                        </a:lnTo>
                        <a:lnTo>
                          <a:pt x="661" y="27"/>
                        </a:lnTo>
                        <a:lnTo>
                          <a:pt x="670" y="27"/>
                        </a:lnTo>
                        <a:lnTo>
                          <a:pt x="670" y="40"/>
                        </a:lnTo>
                        <a:lnTo>
                          <a:pt x="643" y="76"/>
                        </a:lnTo>
                        <a:lnTo>
                          <a:pt x="652" y="85"/>
                        </a:lnTo>
                        <a:lnTo>
                          <a:pt x="638" y="89"/>
                        </a:lnTo>
                        <a:lnTo>
                          <a:pt x="625" y="103"/>
                        </a:lnTo>
                        <a:lnTo>
                          <a:pt x="612" y="94"/>
                        </a:lnTo>
                        <a:lnTo>
                          <a:pt x="607" y="111"/>
                        </a:lnTo>
                        <a:lnTo>
                          <a:pt x="594" y="129"/>
                        </a:lnTo>
                        <a:lnTo>
                          <a:pt x="598" y="138"/>
                        </a:lnTo>
                        <a:lnTo>
                          <a:pt x="612" y="134"/>
                        </a:lnTo>
                        <a:lnTo>
                          <a:pt x="621" y="138"/>
                        </a:lnTo>
                        <a:lnTo>
                          <a:pt x="638" y="129"/>
                        </a:lnTo>
                        <a:lnTo>
                          <a:pt x="647" y="147"/>
                        </a:lnTo>
                        <a:lnTo>
                          <a:pt x="661" y="147"/>
                        </a:lnTo>
                        <a:lnTo>
                          <a:pt x="656" y="156"/>
                        </a:lnTo>
                        <a:lnTo>
                          <a:pt x="643" y="165"/>
                        </a:lnTo>
                        <a:lnTo>
                          <a:pt x="621" y="161"/>
                        </a:lnTo>
                        <a:lnTo>
                          <a:pt x="598" y="183"/>
                        </a:lnTo>
                        <a:lnTo>
                          <a:pt x="585" y="179"/>
                        </a:lnTo>
                        <a:lnTo>
                          <a:pt x="571" y="196"/>
                        </a:lnTo>
                        <a:lnTo>
                          <a:pt x="563" y="196"/>
                        </a:lnTo>
                        <a:lnTo>
                          <a:pt x="554" y="187"/>
                        </a:lnTo>
                        <a:lnTo>
                          <a:pt x="545" y="187"/>
                        </a:lnTo>
                        <a:lnTo>
                          <a:pt x="536" y="201"/>
                        </a:lnTo>
                        <a:lnTo>
                          <a:pt x="549" y="219"/>
                        </a:lnTo>
                        <a:lnTo>
                          <a:pt x="531" y="228"/>
                        </a:lnTo>
                        <a:lnTo>
                          <a:pt x="522" y="241"/>
                        </a:lnTo>
                        <a:lnTo>
                          <a:pt x="496" y="241"/>
                        </a:lnTo>
                        <a:lnTo>
                          <a:pt x="464" y="250"/>
                        </a:lnTo>
                        <a:lnTo>
                          <a:pt x="455" y="263"/>
                        </a:lnTo>
                        <a:lnTo>
                          <a:pt x="415" y="250"/>
                        </a:lnTo>
                        <a:lnTo>
                          <a:pt x="406" y="241"/>
                        </a:lnTo>
                        <a:lnTo>
                          <a:pt x="326" y="237"/>
                        </a:lnTo>
                        <a:lnTo>
                          <a:pt x="308" y="205"/>
                        </a:lnTo>
                        <a:lnTo>
                          <a:pt x="286" y="192"/>
                        </a:lnTo>
                        <a:lnTo>
                          <a:pt x="250" y="187"/>
                        </a:lnTo>
                        <a:lnTo>
                          <a:pt x="250" y="147"/>
                        </a:lnTo>
                        <a:lnTo>
                          <a:pt x="228" y="129"/>
                        </a:lnTo>
                        <a:lnTo>
                          <a:pt x="210" y="120"/>
                        </a:lnTo>
                        <a:lnTo>
                          <a:pt x="205" y="107"/>
                        </a:lnTo>
                        <a:lnTo>
                          <a:pt x="196" y="107"/>
                        </a:lnTo>
                        <a:lnTo>
                          <a:pt x="192" y="107"/>
                        </a:lnTo>
                        <a:lnTo>
                          <a:pt x="183" y="120"/>
                        </a:lnTo>
                        <a:lnTo>
                          <a:pt x="174" y="129"/>
                        </a:lnTo>
                        <a:lnTo>
                          <a:pt x="174" y="147"/>
                        </a:lnTo>
                        <a:lnTo>
                          <a:pt x="161" y="156"/>
                        </a:lnTo>
                        <a:lnTo>
                          <a:pt x="134" y="152"/>
                        </a:lnTo>
                        <a:lnTo>
                          <a:pt x="120" y="183"/>
                        </a:lnTo>
                        <a:lnTo>
                          <a:pt x="125" y="192"/>
                        </a:lnTo>
                        <a:lnTo>
                          <a:pt x="89" y="192"/>
                        </a:lnTo>
                        <a:lnTo>
                          <a:pt x="89" y="201"/>
                        </a:lnTo>
                        <a:lnTo>
                          <a:pt x="98" y="205"/>
                        </a:lnTo>
                        <a:lnTo>
                          <a:pt x="102" y="228"/>
                        </a:lnTo>
                        <a:lnTo>
                          <a:pt x="94" y="254"/>
                        </a:lnTo>
                        <a:lnTo>
                          <a:pt x="94" y="259"/>
                        </a:lnTo>
                        <a:lnTo>
                          <a:pt x="80" y="263"/>
                        </a:lnTo>
                        <a:lnTo>
                          <a:pt x="62" y="277"/>
                        </a:lnTo>
                        <a:lnTo>
                          <a:pt x="44" y="277"/>
                        </a:lnTo>
                        <a:lnTo>
                          <a:pt x="35" y="290"/>
                        </a:lnTo>
                        <a:lnTo>
                          <a:pt x="27" y="281"/>
                        </a:lnTo>
                        <a:lnTo>
                          <a:pt x="18" y="281"/>
                        </a:lnTo>
                        <a:lnTo>
                          <a:pt x="13" y="290"/>
                        </a:lnTo>
                        <a:lnTo>
                          <a:pt x="0" y="295"/>
                        </a:lnTo>
                        <a:lnTo>
                          <a:pt x="0" y="304"/>
                        </a:lnTo>
                        <a:close/>
                        <a:moveTo>
                          <a:pt x="504" y="639"/>
                        </a:moveTo>
                        <a:lnTo>
                          <a:pt x="509" y="643"/>
                        </a:lnTo>
                        <a:lnTo>
                          <a:pt x="504" y="648"/>
                        </a:lnTo>
                        <a:lnTo>
                          <a:pt x="504" y="657"/>
                        </a:lnTo>
                        <a:lnTo>
                          <a:pt x="513" y="661"/>
                        </a:lnTo>
                        <a:lnTo>
                          <a:pt x="518" y="657"/>
                        </a:lnTo>
                        <a:lnTo>
                          <a:pt x="531" y="652"/>
                        </a:lnTo>
                        <a:lnTo>
                          <a:pt x="531" y="652"/>
                        </a:lnTo>
                        <a:lnTo>
                          <a:pt x="536" y="639"/>
                        </a:lnTo>
                        <a:lnTo>
                          <a:pt x="531" y="634"/>
                        </a:lnTo>
                        <a:lnTo>
                          <a:pt x="527" y="634"/>
                        </a:lnTo>
                        <a:lnTo>
                          <a:pt x="518" y="639"/>
                        </a:lnTo>
                        <a:lnTo>
                          <a:pt x="513" y="634"/>
                        </a:lnTo>
                        <a:lnTo>
                          <a:pt x="504" y="63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87" name="Freeform 119">
                    <a:extLst>
                      <a:ext uri="{FF2B5EF4-FFF2-40B4-BE49-F238E27FC236}">
                        <a16:creationId xmlns:a16="http://schemas.microsoft.com/office/drawing/2014/main" id="{F0D0A950-0FC5-41FD-A39E-AEAA62FF9B20}"/>
                      </a:ext>
                    </a:extLst>
                  </p:cNvPr>
                  <p:cNvSpPr>
                    <a:spLocks/>
                  </p:cNvSpPr>
                  <p:nvPr/>
                </p:nvSpPr>
                <p:spPr bwMode="gray">
                  <a:xfrm>
                    <a:off x="4398" y="2399"/>
                    <a:ext cx="27" cy="59"/>
                  </a:xfrm>
                  <a:custGeom>
                    <a:avLst/>
                    <a:gdLst>
                      <a:gd name="T0" fmla="*/ 22 w 27"/>
                      <a:gd name="T1" fmla="*/ 0 h 59"/>
                      <a:gd name="T2" fmla="*/ 13 w 27"/>
                      <a:gd name="T3" fmla="*/ 5 h 59"/>
                      <a:gd name="T4" fmla="*/ 13 w 27"/>
                      <a:gd name="T5" fmla="*/ 14 h 59"/>
                      <a:gd name="T6" fmla="*/ 9 w 27"/>
                      <a:gd name="T7" fmla="*/ 14 h 59"/>
                      <a:gd name="T8" fmla="*/ 0 w 27"/>
                      <a:gd name="T9" fmla="*/ 32 h 59"/>
                      <a:gd name="T10" fmla="*/ 4 w 27"/>
                      <a:gd name="T11" fmla="*/ 45 h 59"/>
                      <a:gd name="T12" fmla="*/ 9 w 27"/>
                      <a:gd name="T13" fmla="*/ 45 h 59"/>
                      <a:gd name="T14" fmla="*/ 13 w 27"/>
                      <a:gd name="T15" fmla="*/ 59 h 59"/>
                      <a:gd name="T16" fmla="*/ 18 w 27"/>
                      <a:gd name="T17" fmla="*/ 59 h 59"/>
                      <a:gd name="T18" fmla="*/ 18 w 27"/>
                      <a:gd name="T19" fmla="*/ 45 h 59"/>
                      <a:gd name="T20" fmla="*/ 22 w 27"/>
                      <a:gd name="T21" fmla="*/ 36 h 59"/>
                      <a:gd name="T22" fmla="*/ 22 w 27"/>
                      <a:gd name="T23" fmla="*/ 18 h 59"/>
                      <a:gd name="T24" fmla="*/ 27 w 27"/>
                      <a:gd name="T25" fmla="*/ 14 h 59"/>
                      <a:gd name="T26" fmla="*/ 27 w 27"/>
                      <a:gd name="T27" fmla="*/ 5 h 59"/>
                      <a:gd name="T28" fmla="*/ 22 w 27"/>
                      <a:gd name="T2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59">
                        <a:moveTo>
                          <a:pt x="22" y="0"/>
                        </a:moveTo>
                        <a:lnTo>
                          <a:pt x="13" y="5"/>
                        </a:lnTo>
                        <a:lnTo>
                          <a:pt x="13" y="14"/>
                        </a:lnTo>
                        <a:lnTo>
                          <a:pt x="9" y="14"/>
                        </a:lnTo>
                        <a:lnTo>
                          <a:pt x="0" y="32"/>
                        </a:lnTo>
                        <a:lnTo>
                          <a:pt x="4" y="45"/>
                        </a:lnTo>
                        <a:lnTo>
                          <a:pt x="9" y="45"/>
                        </a:lnTo>
                        <a:lnTo>
                          <a:pt x="13" y="59"/>
                        </a:lnTo>
                        <a:lnTo>
                          <a:pt x="18" y="59"/>
                        </a:lnTo>
                        <a:lnTo>
                          <a:pt x="18" y="45"/>
                        </a:lnTo>
                        <a:lnTo>
                          <a:pt x="22" y="36"/>
                        </a:lnTo>
                        <a:lnTo>
                          <a:pt x="22" y="18"/>
                        </a:lnTo>
                        <a:lnTo>
                          <a:pt x="27" y="14"/>
                        </a:lnTo>
                        <a:lnTo>
                          <a:pt x="27" y="5"/>
                        </a:lnTo>
                        <a:lnTo>
                          <a:pt x="22"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88" name="Freeform 120">
                    <a:extLst>
                      <a:ext uri="{FF2B5EF4-FFF2-40B4-BE49-F238E27FC236}">
                        <a16:creationId xmlns:a16="http://schemas.microsoft.com/office/drawing/2014/main" id="{E94D4695-C3DE-4727-B461-63A10A56CDBC}"/>
                      </a:ext>
                    </a:extLst>
                  </p:cNvPr>
                  <p:cNvSpPr>
                    <a:spLocks/>
                  </p:cNvSpPr>
                  <p:nvPr/>
                </p:nvSpPr>
                <p:spPr bwMode="gray">
                  <a:xfrm>
                    <a:off x="3254" y="2078"/>
                    <a:ext cx="103" cy="49"/>
                  </a:xfrm>
                  <a:custGeom>
                    <a:avLst/>
                    <a:gdLst>
                      <a:gd name="T0" fmla="*/ 0 w 103"/>
                      <a:gd name="T1" fmla="*/ 0 h 49"/>
                      <a:gd name="T2" fmla="*/ 18 w 103"/>
                      <a:gd name="T3" fmla="*/ 9 h 49"/>
                      <a:gd name="T4" fmla="*/ 23 w 103"/>
                      <a:gd name="T5" fmla="*/ 18 h 49"/>
                      <a:gd name="T6" fmla="*/ 23 w 103"/>
                      <a:gd name="T7" fmla="*/ 31 h 49"/>
                      <a:gd name="T8" fmla="*/ 18 w 103"/>
                      <a:gd name="T9" fmla="*/ 35 h 49"/>
                      <a:gd name="T10" fmla="*/ 40 w 103"/>
                      <a:gd name="T11" fmla="*/ 40 h 49"/>
                      <a:gd name="T12" fmla="*/ 49 w 103"/>
                      <a:gd name="T13" fmla="*/ 44 h 49"/>
                      <a:gd name="T14" fmla="*/ 58 w 103"/>
                      <a:gd name="T15" fmla="*/ 49 h 49"/>
                      <a:gd name="T16" fmla="*/ 63 w 103"/>
                      <a:gd name="T17" fmla="*/ 44 h 49"/>
                      <a:gd name="T18" fmla="*/ 72 w 103"/>
                      <a:gd name="T19" fmla="*/ 49 h 49"/>
                      <a:gd name="T20" fmla="*/ 76 w 103"/>
                      <a:gd name="T21" fmla="*/ 44 h 49"/>
                      <a:gd name="T22" fmla="*/ 85 w 103"/>
                      <a:gd name="T23" fmla="*/ 49 h 49"/>
                      <a:gd name="T24" fmla="*/ 94 w 103"/>
                      <a:gd name="T25" fmla="*/ 44 h 49"/>
                      <a:gd name="T26" fmla="*/ 99 w 103"/>
                      <a:gd name="T27" fmla="*/ 49 h 49"/>
                      <a:gd name="T28" fmla="*/ 103 w 103"/>
                      <a:gd name="T29" fmla="*/ 44 h 49"/>
                      <a:gd name="T30" fmla="*/ 94 w 103"/>
                      <a:gd name="T31" fmla="*/ 40 h 49"/>
                      <a:gd name="T32" fmla="*/ 90 w 103"/>
                      <a:gd name="T33" fmla="*/ 35 h 49"/>
                      <a:gd name="T34" fmla="*/ 94 w 103"/>
                      <a:gd name="T35" fmla="*/ 26 h 49"/>
                      <a:gd name="T36" fmla="*/ 94 w 103"/>
                      <a:gd name="T37" fmla="*/ 26 h 49"/>
                      <a:gd name="T38" fmla="*/ 85 w 103"/>
                      <a:gd name="T39" fmla="*/ 22 h 49"/>
                      <a:gd name="T40" fmla="*/ 90 w 103"/>
                      <a:gd name="T41" fmla="*/ 18 h 49"/>
                      <a:gd name="T42" fmla="*/ 76 w 103"/>
                      <a:gd name="T43" fmla="*/ 18 h 49"/>
                      <a:gd name="T44" fmla="*/ 76 w 103"/>
                      <a:gd name="T45" fmla="*/ 13 h 49"/>
                      <a:gd name="T46" fmla="*/ 67 w 103"/>
                      <a:gd name="T47" fmla="*/ 13 h 49"/>
                      <a:gd name="T48" fmla="*/ 67 w 103"/>
                      <a:gd name="T49" fmla="*/ 18 h 49"/>
                      <a:gd name="T50" fmla="*/ 63 w 103"/>
                      <a:gd name="T51" fmla="*/ 13 h 49"/>
                      <a:gd name="T52" fmla="*/ 58 w 103"/>
                      <a:gd name="T53" fmla="*/ 18 h 49"/>
                      <a:gd name="T54" fmla="*/ 54 w 103"/>
                      <a:gd name="T55" fmla="*/ 9 h 49"/>
                      <a:gd name="T56" fmla="*/ 49 w 103"/>
                      <a:gd name="T57" fmla="*/ 13 h 49"/>
                      <a:gd name="T58" fmla="*/ 45 w 103"/>
                      <a:gd name="T59" fmla="*/ 4 h 49"/>
                      <a:gd name="T60" fmla="*/ 27 w 103"/>
                      <a:gd name="T61" fmla="*/ 4 h 49"/>
                      <a:gd name="T62" fmla="*/ 18 w 103"/>
                      <a:gd name="T63" fmla="*/ 0 h 49"/>
                      <a:gd name="T64" fmla="*/ 5 w 103"/>
                      <a:gd name="T65" fmla="*/ 0 h 49"/>
                      <a:gd name="T66" fmla="*/ 0 w 103"/>
                      <a:gd name="T6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 h="49">
                        <a:moveTo>
                          <a:pt x="0" y="0"/>
                        </a:moveTo>
                        <a:lnTo>
                          <a:pt x="18" y="9"/>
                        </a:lnTo>
                        <a:lnTo>
                          <a:pt x="23" y="18"/>
                        </a:lnTo>
                        <a:lnTo>
                          <a:pt x="23" y="31"/>
                        </a:lnTo>
                        <a:lnTo>
                          <a:pt x="18" y="35"/>
                        </a:lnTo>
                        <a:lnTo>
                          <a:pt x="40" y="40"/>
                        </a:lnTo>
                        <a:lnTo>
                          <a:pt x="49" y="44"/>
                        </a:lnTo>
                        <a:lnTo>
                          <a:pt x="58" y="49"/>
                        </a:lnTo>
                        <a:lnTo>
                          <a:pt x="63" y="44"/>
                        </a:lnTo>
                        <a:lnTo>
                          <a:pt x="72" y="49"/>
                        </a:lnTo>
                        <a:lnTo>
                          <a:pt x="76" y="44"/>
                        </a:lnTo>
                        <a:lnTo>
                          <a:pt x="85" y="49"/>
                        </a:lnTo>
                        <a:lnTo>
                          <a:pt x="94" y="44"/>
                        </a:lnTo>
                        <a:lnTo>
                          <a:pt x="99" y="49"/>
                        </a:lnTo>
                        <a:lnTo>
                          <a:pt x="103" y="44"/>
                        </a:lnTo>
                        <a:lnTo>
                          <a:pt x="94" y="40"/>
                        </a:lnTo>
                        <a:lnTo>
                          <a:pt x="90" y="35"/>
                        </a:lnTo>
                        <a:lnTo>
                          <a:pt x="94" y="26"/>
                        </a:lnTo>
                        <a:lnTo>
                          <a:pt x="94" y="26"/>
                        </a:lnTo>
                        <a:lnTo>
                          <a:pt x="85" y="22"/>
                        </a:lnTo>
                        <a:lnTo>
                          <a:pt x="90" y="18"/>
                        </a:lnTo>
                        <a:lnTo>
                          <a:pt x="76" y="18"/>
                        </a:lnTo>
                        <a:lnTo>
                          <a:pt x="76" y="13"/>
                        </a:lnTo>
                        <a:lnTo>
                          <a:pt x="67" y="13"/>
                        </a:lnTo>
                        <a:lnTo>
                          <a:pt x="67" y="18"/>
                        </a:lnTo>
                        <a:lnTo>
                          <a:pt x="63" y="13"/>
                        </a:lnTo>
                        <a:lnTo>
                          <a:pt x="58" y="18"/>
                        </a:lnTo>
                        <a:lnTo>
                          <a:pt x="54" y="9"/>
                        </a:lnTo>
                        <a:lnTo>
                          <a:pt x="49" y="13"/>
                        </a:lnTo>
                        <a:lnTo>
                          <a:pt x="45" y="4"/>
                        </a:lnTo>
                        <a:lnTo>
                          <a:pt x="27" y="4"/>
                        </a:lnTo>
                        <a:lnTo>
                          <a:pt x="18" y="0"/>
                        </a:lnTo>
                        <a:lnTo>
                          <a:pt x="5" y="0"/>
                        </a:lnTo>
                        <a:lnTo>
                          <a:pt x="0"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89" name="Freeform 121">
                    <a:extLst>
                      <a:ext uri="{FF2B5EF4-FFF2-40B4-BE49-F238E27FC236}">
                        <a16:creationId xmlns:a16="http://schemas.microsoft.com/office/drawing/2014/main" id="{4B41F2D3-321C-47D9-A300-FBAF14482944}"/>
                      </a:ext>
                    </a:extLst>
                  </p:cNvPr>
                  <p:cNvSpPr>
                    <a:spLocks/>
                  </p:cNvSpPr>
                  <p:nvPr/>
                </p:nvSpPr>
                <p:spPr bwMode="gray">
                  <a:xfrm>
                    <a:off x="4755" y="2583"/>
                    <a:ext cx="1" cy="9"/>
                  </a:xfrm>
                  <a:custGeom>
                    <a:avLst/>
                    <a:gdLst>
                      <a:gd name="T0" fmla="*/ 0 h 9"/>
                      <a:gd name="T1" fmla="*/ 4 h 9"/>
                      <a:gd name="T2" fmla="*/ 9 h 9"/>
                      <a:gd name="T3" fmla="*/ 0 h 9"/>
                      <a:gd name="T4" fmla="*/ 0 h 9"/>
                    </a:gdLst>
                    <a:ahLst/>
                    <a:cxnLst>
                      <a:cxn ang="0">
                        <a:pos x="0" y="T0"/>
                      </a:cxn>
                      <a:cxn ang="0">
                        <a:pos x="0" y="T1"/>
                      </a:cxn>
                      <a:cxn ang="0">
                        <a:pos x="0" y="T2"/>
                      </a:cxn>
                      <a:cxn ang="0">
                        <a:pos x="0" y="T3"/>
                      </a:cxn>
                      <a:cxn ang="0">
                        <a:pos x="0" y="T4"/>
                      </a:cxn>
                    </a:cxnLst>
                    <a:rect l="0" t="0" r="r" b="b"/>
                    <a:pathLst>
                      <a:path h="9">
                        <a:moveTo>
                          <a:pt x="0" y="0"/>
                        </a:moveTo>
                        <a:lnTo>
                          <a:pt x="0" y="4"/>
                        </a:lnTo>
                        <a:lnTo>
                          <a:pt x="0" y="9"/>
                        </a:lnTo>
                        <a:lnTo>
                          <a:pt x="0" y="0"/>
                        </a:lnTo>
                        <a:lnTo>
                          <a:pt x="0"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90" name="Freeform 122">
                    <a:extLst>
                      <a:ext uri="{FF2B5EF4-FFF2-40B4-BE49-F238E27FC236}">
                        <a16:creationId xmlns:a16="http://schemas.microsoft.com/office/drawing/2014/main" id="{5845B1F8-70DA-405D-81E9-982AD3DEF519}"/>
                      </a:ext>
                    </a:extLst>
                  </p:cNvPr>
                  <p:cNvSpPr>
                    <a:spLocks/>
                  </p:cNvSpPr>
                  <p:nvPr/>
                </p:nvSpPr>
                <p:spPr bwMode="gray">
                  <a:xfrm>
                    <a:off x="4308" y="2444"/>
                    <a:ext cx="9" cy="9"/>
                  </a:xfrm>
                  <a:custGeom>
                    <a:avLst/>
                    <a:gdLst>
                      <a:gd name="T0" fmla="*/ 0 w 9"/>
                      <a:gd name="T1" fmla="*/ 5 h 9"/>
                      <a:gd name="T2" fmla="*/ 9 w 9"/>
                      <a:gd name="T3" fmla="*/ 0 h 9"/>
                      <a:gd name="T4" fmla="*/ 5 w 9"/>
                      <a:gd name="T5" fmla="*/ 9 h 9"/>
                      <a:gd name="T6" fmla="*/ 0 w 9"/>
                      <a:gd name="T7" fmla="*/ 5 h 9"/>
                    </a:gdLst>
                    <a:ahLst/>
                    <a:cxnLst>
                      <a:cxn ang="0">
                        <a:pos x="T0" y="T1"/>
                      </a:cxn>
                      <a:cxn ang="0">
                        <a:pos x="T2" y="T3"/>
                      </a:cxn>
                      <a:cxn ang="0">
                        <a:pos x="T4" y="T5"/>
                      </a:cxn>
                      <a:cxn ang="0">
                        <a:pos x="T6" y="T7"/>
                      </a:cxn>
                    </a:cxnLst>
                    <a:rect l="0" t="0" r="r" b="b"/>
                    <a:pathLst>
                      <a:path w="9" h="9">
                        <a:moveTo>
                          <a:pt x="0" y="5"/>
                        </a:moveTo>
                        <a:lnTo>
                          <a:pt x="9" y="0"/>
                        </a:lnTo>
                        <a:lnTo>
                          <a:pt x="5" y="9"/>
                        </a:lnTo>
                        <a:lnTo>
                          <a:pt x="0" y="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91" name="Freeform 123">
                    <a:extLst>
                      <a:ext uri="{FF2B5EF4-FFF2-40B4-BE49-F238E27FC236}">
                        <a16:creationId xmlns:a16="http://schemas.microsoft.com/office/drawing/2014/main" id="{D729C720-6C26-4C75-83DC-AC7A5B7B747D}"/>
                      </a:ext>
                    </a:extLst>
                  </p:cNvPr>
                  <p:cNvSpPr>
                    <a:spLocks/>
                  </p:cNvSpPr>
                  <p:nvPr/>
                </p:nvSpPr>
                <p:spPr bwMode="gray">
                  <a:xfrm>
                    <a:off x="3661" y="2212"/>
                    <a:ext cx="406" cy="456"/>
                  </a:xfrm>
                  <a:custGeom>
                    <a:avLst/>
                    <a:gdLst>
                      <a:gd name="T0" fmla="*/ 22 w 406"/>
                      <a:gd name="T1" fmla="*/ 223 h 456"/>
                      <a:gd name="T2" fmla="*/ 9 w 406"/>
                      <a:gd name="T3" fmla="*/ 237 h 456"/>
                      <a:gd name="T4" fmla="*/ 53 w 406"/>
                      <a:gd name="T5" fmla="*/ 259 h 456"/>
                      <a:gd name="T6" fmla="*/ 67 w 406"/>
                      <a:gd name="T7" fmla="*/ 237 h 456"/>
                      <a:gd name="T8" fmla="*/ 67 w 406"/>
                      <a:gd name="T9" fmla="*/ 272 h 456"/>
                      <a:gd name="T10" fmla="*/ 89 w 406"/>
                      <a:gd name="T11" fmla="*/ 357 h 456"/>
                      <a:gd name="T12" fmla="*/ 111 w 406"/>
                      <a:gd name="T13" fmla="*/ 429 h 456"/>
                      <a:gd name="T14" fmla="*/ 147 w 406"/>
                      <a:gd name="T15" fmla="*/ 451 h 456"/>
                      <a:gd name="T16" fmla="*/ 161 w 406"/>
                      <a:gd name="T17" fmla="*/ 438 h 456"/>
                      <a:gd name="T18" fmla="*/ 170 w 406"/>
                      <a:gd name="T19" fmla="*/ 420 h 456"/>
                      <a:gd name="T20" fmla="*/ 174 w 406"/>
                      <a:gd name="T21" fmla="*/ 344 h 456"/>
                      <a:gd name="T22" fmla="*/ 201 w 406"/>
                      <a:gd name="T23" fmla="*/ 326 h 456"/>
                      <a:gd name="T24" fmla="*/ 237 w 406"/>
                      <a:gd name="T25" fmla="*/ 281 h 456"/>
                      <a:gd name="T26" fmla="*/ 254 w 406"/>
                      <a:gd name="T27" fmla="*/ 277 h 456"/>
                      <a:gd name="T28" fmla="*/ 277 w 406"/>
                      <a:gd name="T29" fmla="*/ 250 h 456"/>
                      <a:gd name="T30" fmla="*/ 304 w 406"/>
                      <a:gd name="T31" fmla="*/ 246 h 456"/>
                      <a:gd name="T32" fmla="*/ 286 w 406"/>
                      <a:gd name="T33" fmla="*/ 201 h 456"/>
                      <a:gd name="T34" fmla="*/ 281 w 406"/>
                      <a:gd name="T35" fmla="*/ 187 h 456"/>
                      <a:gd name="T36" fmla="*/ 308 w 406"/>
                      <a:gd name="T37" fmla="*/ 183 h 456"/>
                      <a:gd name="T38" fmla="*/ 348 w 406"/>
                      <a:gd name="T39" fmla="*/ 205 h 456"/>
                      <a:gd name="T40" fmla="*/ 339 w 406"/>
                      <a:gd name="T41" fmla="*/ 223 h 456"/>
                      <a:gd name="T42" fmla="*/ 348 w 406"/>
                      <a:gd name="T43" fmla="*/ 241 h 456"/>
                      <a:gd name="T44" fmla="*/ 353 w 406"/>
                      <a:gd name="T45" fmla="*/ 232 h 456"/>
                      <a:gd name="T46" fmla="*/ 366 w 406"/>
                      <a:gd name="T47" fmla="*/ 205 h 456"/>
                      <a:gd name="T48" fmla="*/ 388 w 406"/>
                      <a:gd name="T49" fmla="*/ 161 h 456"/>
                      <a:gd name="T50" fmla="*/ 406 w 406"/>
                      <a:gd name="T51" fmla="*/ 147 h 456"/>
                      <a:gd name="T52" fmla="*/ 379 w 406"/>
                      <a:gd name="T53" fmla="*/ 138 h 456"/>
                      <a:gd name="T54" fmla="*/ 348 w 406"/>
                      <a:gd name="T55" fmla="*/ 143 h 456"/>
                      <a:gd name="T56" fmla="*/ 317 w 406"/>
                      <a:gd name="T57" fmla="*/ 165 h 456"/>
                      <a:gd name="T58" fmla="*/ 295 w 406"/>
                      <a:gd name="T59" fmla="*/ 170 h 456"/>
                      <a:gd name="T60" fmla="*/ 295 w 406"/>
                      <a:gd name="T61" fmla="*/ 147 h 456"/>
                      <a:gd name="T62" fmla="*/ 286 w 406"/>
                      <a:gd name="T63" fmla="*/ 170 h 456"/>
                      <a:gd name="T64" fmla="*/ 245 w 406"/>
                      <a:gd name="T65" fmla="*/ 165 h 456"/>
                      <a:gd name="T66" fmla="*/ 219 w 406"/>
                      <a:gd name="T67" fmla="*/ 161 h 456"/>
                      <a:gd name="T68" fmla="*/ 178 w 406"/>
                      <a:gd name="T69" fmla="*/ 134 h 456"/>
                      <a:gd name="T70" fmla="*/ 178 w 406"/>
                      <a:gd name="T71" fmla="*/ 107 h 456"/>
                      <a:gd name="T72" fmla="*/ 147 w 406"/>
                      <a:gd name="T73" fmla="*/ 71 h 456"/>
                      <a:gd name="T74" fmla="*/ 147 w 406"/>
                      <a:gd name="T75" fmla="*/ 22 h 456"/>
                      <a:gd name="T76" fmla="*/ 125 w 406"/>
                      <a:gd name="T77" fmla="*/ 31 h 456"/>
                      <a:gd name="T78" fmla="*/ 76 w 406"/>
                      <a:gd name="T79" fmla="*/ 44 h 456"/>
                      <a:gd name="T80" fmla="*/ 94 w 406"/>
                      <a:gd name="T81" fmla="*/ 85 h 456"/>
                      <a:gd name="T82" fmla="*/ 58 w 406"/>
                      <a:gd name="T83" fmla="*/ 134 h 456"/>
                      <a:gd name="T84" fmla="*/ 27 w 406"/>
                      <a:gd name="T85" fmla="*/ 147 h 456"/>
                      <a:gd name="T86" fmla="*/ 27 w 406"/>
                      <a:gd name="T87" fmla="*/ 170 h 456"/>
                      <a:gd name="T88" fmla="*/ 44 w 406"/>
                      <a:gd name="T89" fmla="*/ 205 h 456"/>
                      <a:gd name="T90" fmla="*/ 0 w 406"/>
                      <a:gd name="T91" fmla="*/ 219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6" h="456">
                        <a:moveTo>
                          <a:pt x="0" y="219"/>
                        </a:moveTo>
                        <a:lnTo>
                          <a:pt x="13" y="232"/>
                        </a:lnTo>
                        <a:lnTo>
                          <a:pt x="22" y="223"/>
                        </a:lnTo>
                        <a:lnTo>
                          <a:pt x="36" y="223"/>
                        </a:lnTo>
                        <a:lnTo>
                          <a:pt x="27" y="237"/>
                        </a:lnTo>
                        <a:lnTo>
                          <a:pt x="9" y="237"/>
                        </a:lnTo>
                        <a:lnTo>
                          <a:pt x="22" y="259"/>
                        </a:lnTo>
                        <a:lnTo>
                          <a:pt x="40" y="268"/>
                        </a:lnTo>
                        <a:lnTo>
                          <a:pt x="53" y="259"/>
                        </a:lnTo>
                        <a:lnTo>
                          <a:pt x="58" y="241"/>
                        </a:lnTo>
                        <a:lnTo>
                          <a:pt x="58" y="237"/>
                        </a:lnTo>
                        <a:lnTo>
                          <a:pt x="67" y="237"/>
                        </a:lnTo>
                        <a:lnTo>
                          <a:pt x="62" y="254"/>
                        </a:lnTo>
                        <a:lnTo>
                          <a:pt x="67" y="259"/>
                        </a:lnTo>
                        <a:lnTo>
                          <a:pt x="67" y="272"/>
                        </a:lnTo>
                        <a:lnTo>
                          <a:pt x="67" y="304"/>
                        </a:lnTo>
                        <a:lnTo>
                          <a:pt x="71" y="317"/>
                        </a:lnTo>
                        <a:lnTo>
                          <a:pt x="89" y="357"/>
                        </a:lnTo>
                        <a:lnTo>
                          <a:pt x="94" y="380"/>
                        </a:lnTo>
                        <a:lnTo>
                          <a:pt x="111" y="406"/>
                        </a:lnTo>
                        <a:lnTo>
                          <a:pt x="111" y="429"/>
                        </a:lnTo>
                        <a:lnTo>
                          <a:pt x="116" y="438"/>
                        </a:lnTo>
                        <a:lnTo>
                          <a:pt x="134" y="456"/>
                        </a:lnTo>
                        <a:lnTo>
                          <a:pt x="147" y="451"/>
                        </a:lnTo>
                        <a:lnTo>
                          <a:pt x="147" y="438"/>
                        </a:lnTo>
                        <a:lnTo>
                          <a:pt x="161" y="442"/>
                        </a:lnTo>
                        <a:lnTo>
                          <a:pt x="161" y="438"/>
                        </a:lnTo>
                        <a:lnTo>
                          <a:pt x="156" y="438"/>
                        </a:lnTo>
                        <a:lnTo>
                          <a:pt x="161" y="420"/>
                        </a:lnTo>
                        <a:lnTo>
                          <a:pt x="170" y="420"/>
                        </a:lnTo>
                        <a:lnTo>
                          <a:pt x="170" y="397"/>
                        </a:lnTo>
                        <a:lnTo>
                          <a:pt x="174" y="380"/>
                        </a:lnTo>
                        <a:lnTo>
                          <a:pt x="174" y="344"/>
                        </a:lnTo>
                        <a:lnTo>
                          <a:pt x="174" y="339"/>
                        </a:lnTo>
                        <a:lnTo>
                          <a:pt x="187" y="335"/>
                        </a:lnTo>
                        <a:lnTo>
                          <a:pt x="201" y="326"/>
                        </a:lnTo>
                        <a:lnTo>
                          <a:pt x="201" y="317"/>
                        </a:lnTo>
                        <a:lnTo>
                          <a:pt x="237" y="290"/>
                        </a:lnTo>
                        <a:lnTo>
                          <a:pt x="237" y="281"/>
                        </a:lnTo>
                        <a:lnTo>
                          <a:pt x="241" y="277"/>
                        </a:lnTo>
                        <a:lnTo>
                          <a:pt x="245" y="281"/>
                        </a:lnTo>
                        <a:lnTo>
                          <a:pt x="254" y="277"/>
                        </a:lnTo>
                        <a:lnTo>
                          <a:pt x="268" y="263"/>
                        </a:lnTo>
                        <a:lnTo>
                          <a:pt x="263" y="259"/>
                        </a:lnTo>
                        <a:lnTo>
                          <a:pt x="277" y="250"/>
                        </a:lnTo>
                        <a:lnTo>
                          <a:pt x="281" y="237"/>
                        </a:lnTo>
                        <a:lnTo>
                          <a:pt x="286" y="250"/>
                        </a:lnTo>
                        <a:lnTo>
                          <a:pt x="304" y="246"/>
                        </a:lnTo>
                        <a:lnTo>
                          <a:pt x="290" y="214"/>
                        </a:lnTo>
                        <a:lnTo>
                          <a:pt x="290" y="205"/>
                        </a:lnTo>
                        <a:lnTo>
                          <a:pt x="286" y="201"/>
                        </a:lnTo>
                        <a:lnTo>
                          <a:pt x="290" y="196"/>
                        </a:lnTo>
                        <a:lnTo>
                          <a:pt x="295" y="192"/>
                        </a:lnTo>
                        <a:lnTo>
                          <a:pt x="281" y="187"/>
                        </a:lnTo>
                        <a:lnTo>
                          <a:pt x="286" y="174"/>
                        </a:lnTo>
                        <a:lnTo>
                          <a:pt x="290" y="170"/>
                        </a:lnTo>
                        <a:lnTo>
                          <a:pt x="308" y="183"/>
                        </a:lnTo>
                        <a:lnTo>
                          <a:pt x="312" y="187"/>
                        </a:lnTo>
                        <a:lnTo>
                          <a:pt x="348" y="192"/>
                        </a:lnTo>
                        <a:lnTo>
                          <a:pt x="348" y="205"/>
                        </a:lnTo>
                        <a:lnTo>
                          <a:pt x="335" y="214"/>
                        </a:lnTo>
                        <a:lnTo>
                          <a:pt x="330" y="223"/>
                        </a:lnTo>
                        <a:lnTo>
                          <a:pt x="339" y="223"/>
                        </a:lnTo>
                        <a:lnTo>
                          <a:pt x="339" y="214"/>
                        </a:lnTo>
                        <a:lnTo>
                          <a:pt x="344" y="214"/>
                        </a:lnTo>
                        <a:lnTo>
                          <a:pt x="348" y="241"/>
                        </a:lnTo>
                        <a:lnTo>
                          <a:pt x="348" y="250"/>
                        </a:lnTo>
                        <a:lnTo>
                          <a:pt x="353" y="246"/>
                        </a:lnTo>
                        <a:lnTo>
                          <a:pt x="353" y="232"/>
                        </a:lnTo>
                        <a:lnTo>
                          <a:pt x="357" y="232"/>
                        </a:lnTo>
                        <a:lnTo>
                          <a:pt x="357" y="210"/>
                        </a:lnTo>
                        <a:lnTo>
                          <a:pt x="366" y="205"/>
                        </a:lnTo>
                        <a:lnTo>
                          <a:pt x="375" y="192"/>
                        </a:lnTo>
                        <a:lnTo>
                          <a:pt x="375" y="183"/>
                        </a:lnTo>
                        <a:lnTo>
                          <a:pt x="388" y="161"/>
                        </a:lnTo>
                        <a:lnTo>
                          <a:pt x="402" y="156"/>
                        </a:lnTo>
                        <a:lnTo>
                          <a:pt x="406" y="156"/>
                        </a:lnTo>
                        <a:lnTo>
                          <a:pt x="406" y="147"/>
                        </a:lnTo>
                        <a:lnTo>
                          <a:pt x="406" y="138"/>
                        </a:lnTo>
                        <a:lnTo>
                          <a:pt x="393" y="134"/>
                        </a:lnTo>
                        <a:lnTo>
                          <a:pt x="379" y="138"/>
                        </a:lnTo>
                        <a:lnTo>
                          <a:pt x="379" y="129"/>
                        </a:lnTo>
                        <a:lnTo>
                          <a:pt x="366" y="129"/>
                        </a:lnTo>
                        <a:lnTo>
                          <a:pt x="348" y="143"/>
                        </a:lnTo>
                        <a:lnTo>
                          <a:pt x="335" y="147"/>
                        </a:lnTo>
                        <a:lnTo>
                          <a:pt x="335" y="165"/>
                        </a:lnTo>
                        <a:lnTo>
                          <a:pt x="317" y="165"/>
                        </a:lnTo>
                        <a:lnTo>
                          <a:pt x="312" y="170"/>
                        </a:lnTo>
                        <a:lnTo>
                          <a:pt x="299" y="170"/>
                        </a:lnTo>
                        <a:lnTo>
                          <a:pt x="295" y="170"/>
                        </a:lnTo>
                        <a:lnTo>
                          <a:pt x="295" y="165"/>
                        </a:lnTo>
                        <a:lnTo>
                          <a:pt x="290" y="156"/>
                        </a:lnTo>
                        <a:lnTo>
                          <a:pt x="295" y="147"/>
                        </a:lnTo>
                        <a:lnTo>
                          <a:pt x="295" y="143"/>
                        </a:lnTo>
                        <a:lnTo>
                          <a:pt x="286" y="152"/>
                        </a:lnTo>
                        <a:lnTo>
                          <a:pt x="286" y="170"/>
                        </a:lnTo>
                        <a:lnTo>
                          <a:pt x="277" y="174"/>
                        </a:lnTo>
                        <a:lnTo>
                          <a:pt x="245" y="170"/>
                        </a:lnTo>
                        <a:lnTo>
                          <a:pt x="245" y="165"/>
                        </a:lnTo>
                        <a:lnTo>
                          <a:pt x="237" y="165"/>
                        </a:lnTo>
                        <a:lnTo>
                          <a:pt x="228" y="156"/>
                        </a:lnTo>
                        <a:lnTo>
                          <a:pt x="219" y="161"/>
                        </a:lnTo>
                        <a:lnTo>
                          <a:pt x="205" y="156"/>
                        </a:lnTo>
                        <a:lnTo>
                          <a:pt x="178" y="143"/>
                        </a:lnTo>
                        <a:lnTo>
                          <a:pt x="178" y="134"/>
                        </a:lnTo>
                        <a:lnTo>
                          <a:pt x="170" y="134"/>
                        </a:lnTo>
                        <a:lnTo>
                          <a:pt x="170" y="116"/>
                        </a:lnTo>
                        <a:lnTo>
                          <a:pt x="178" y="107"/>
                        </a:lnTo>
                        <a:lnTo>
                          <a:pt x="165" y="94"/>
                        </a:lnTo>
                        <a:lnTo>
                          <a:pt x="156" y="98"/>
                        </a:lnTo>
                        <a:lnTo>
                          <a:pt x="147" y="71"/>
                        </a:lnTo>
                        <a:lnTo>
                          <a:pt x="156" y="49"/>
                        </a:lnTo>
                        <a:lnTo>
                          <a:pt x="156" y="35"/>
                        </a:lnTo>
                        <a:lnTo>
                          <a:pt x="147" y="22"/>
                        </a:lnTo>
                        <a:lnTo>
                          <a:pt x="147" y="4"/>
                        </a:lnTo>
                        <a:lnTo>
                          <a:pt x="129" y="0"/>
                        </a:lnTo>
                        <a:lnTo>
                          <a:pt x="125" y="31"/>
                        </a:lnTo>
                        <a:lnTo>
                          <a:pt x="111" y="27"/>
                        </a:lnTo>
                        <a:lnTo>
                          <a:pt x="80" y="27"/>
                        </a:lnTo>
                        <a:lnTo>
                          <a:pt x="76" y="44"/>
                        </a:lnTo>
                        <a:lnTo>
                          <a:pt x="80" y="58"/>
                        </a:lnTo>
                        <a:lnTo>
                          <a:pt x="103" y="71"/>
                        </a:lnTo>
                        <a:lnTo>
                          <a:pt x="94" y="85"/>
                        </a:lnTo>
                        <a:lnTo>
                          <a:pt x="85" y="103"/>
                        </a:lnTo>
                        <a:lnTo>
                          <a:pt x="76" y="125"/>
                        </a:lnTo>
                        <a:lnTo>
                          <a:pt x="58" y="134"/>
                        </a:lnTo>
                        <a:lnTo>
                          <a:pt x="53" y="143"/>
                        </a:lnTo>
                        <a:lnTo>
                          <a:pt x="36" y="152"/>
                        </a:lnTo>
                        <a:lnTo>
                          <a:pt x="27" y="147"/>
                        </a:lnTo>
                        <a:lnTo>
                          <a:pt x="18" y="161"/>
                        </a:lnTo>
                        <a:lnTo>
                          <a:pt x="13" y="170"/>
                        </a:lnTo>
                        <a:lnTo>
                          <a:pt x="27" y="170"/>
                        </a:lnTo>
                        <a:lnTo>
                          <a:pt x="22" y="178"/>
                        </a:lnTo>
                        <a:lnTo>
                          <a:pt x="36" y="183"/>
                        </a:lnTo>
                        <a:lnTo>
                          <a:pt x="44" y="205"/>
                        </a:lnTo>
                        <a:lnTo>
                          <a:pt x="31" y="205"/>
                        </a:lnTo>
                        <a:lnTo>
                          <a:pt x="4" y="210"/>
                        </a:lnTo>
                        <a:lnTo>
                          <a:pt x="0" y="21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92" name="Freeform 124">
                    <a:extLst>
                      <a:ext uri="{FF2B5EF4-FFF2-40B4-BE49-F238E27FC236}">
                        <a16:creationId xmlns:a16="http://schemas.microsoft.com/office/drawing/2014/main" id="{0BB45594-4FEE-49CD-A0EB-F65FCCF41C8D}"/>
                      </a:ext>
                    </a:extLst>
                  </p:cNvPr>
                  <p:cNvSpPr>
                    <a:spLocks noEditPoints="1"/>
                  </p:cNvSpPr>
                  <p:nvPr/>
                </p:nvSpPr>
                <p:spPr bwMode="gray">
                  <a:xfrm>
                    <a:off x="4045" y="2699"/>
                    <a:ext cx="657" cy="246"/>
                  </a:xfrm>
                  <a:custGeom>
                    <a:avLst/>
                    <a:gdLst>
                      <a:gd name="T0" fmla="*/ 45 w 657"/>
                      <a:gd name="T1" fmla="*/ 53 h 246"/>
                      <a:gd name="T2" fmla="*/ 85 w 657"/>
                      <a:gd name="T3" fmla="*/ 125 h 246"/>
                      <a:gd name="T4" fmla="*/ 147 w 657"/>
                      <a:gd name="T5" fmla="*/ 161 h 246"/>
                      <a:gd name="T6" fmla="*/ 134 w 657"/>
                      <a:gd name="T7" fmla="*/ 103 h 246"/>
                      <a:gd name="T8" fmla="*/ 116 w 657"/>
                      <a:gd name="T9" fmla="*/ 76 h 246"/>
                      <a:gd name="T10" fmla="*/ 80 w 657"/>
                      <a:gd name="T11" fmla="*/ 53 h 246"/>
                      <a:gd name="T12" fmla="*/ 18 w 657"/>
                      <a:gd name="T13" fmla="*/ 9 h 246"/>
                      <a:gd name="T14" fmla="*/ 40 w 657"/>
                      <a:gd name="T15" fmla="*/ 80 h 246"/>
                      <a:gd name="T16" fmla="*/ 54 w 657"/>
                      <a:gd name="T17" fmla="*/ 116 h 246"/>
                      <a:gd name="T18" fmla="*/ 71 w 657"/>
                      <a:gd name="T19" fmla="*/ 125 h 246"/>
                      <a:gd name="T20" fmla="*/ 76 w 657"/>
                      <a:gd name="T21" fmla="*/ 125 h 246"/>
                      <a:gd name="T22" fmla="*/ 165 w 657"/>
                      <a:gd name="T23" fmla="*/ 129 h 246"/>
                      <a:gd name="T24" fmla="*/ 152 w 657"/>
                      <a:gd name="T25" fmla="*/ 179 h 246"/>
                      <a:gd name="T26" fmla="*/ 192 w 657"/>
                      <a:gd name="T27" fmla="*/ 196 h 246"/>
                      <a:gd name="T28" fmla="*/ 277 w 657"/>
                      <a:gd name="T29" fmla="*/ 192 h 246"/>
                      <a:gd name="T30" fmla="*/ 255 w 657"/>
                      <a:gd name="T31" fmla="*/ 188 h 246"/>
                      <a:gd name="T32" fmla="*/ 196 w 657"/>
                      <a:gd name="T33" fmla="*/ 174 h 246"/>
                      <a:gd name="T34" fmla="*/ 174 w 657"/>
                      <a:gd name="T35" fmla="*/ 129 h 246"/>
                      <a:gd name="T36" fmla="*/ 183 w 657"/>
                      <a:gd name="T37" fmla="*/ 22 h 246"/>
                      <a:gd name="T38" fmla="*/ 201 w 657"/>
                      <a:gd name="T39" fmla="*/ 53 h 246"/>
                      <a:gd name="T40" fmla="*/ 214 w 657"/>
                      <a:gd name="T41" fmla="*/ 98 h 246"/>
                      <a:gd name="T42" fmla="*/ 259 w 657"/>
                      <a:gd name="T43" fmla="*/ 129 h 246"/>
                      <a:gd name="T44" fmla="*/ 304 w 657"/>
                      <a:gd name="T45" fmla="*/ 129 h 246"/>
                      <a:gd name="T46" fmla="*/ 344 w 657"/>
                      <a:gd name="T47" fmla="*/ 67 h 246"/>
                      <a:gd name="T48" fmla="*/ 304 w 657"/>
                      <a:gd name="T49" fmla="*/ 18 h 246"/>
                      <a:gd name="T50" fmla="*/ 228 w 657"/>
                      <a:gd name="T51" fmla="*/ 71 h 246"/>
                      <a:gd name="T52" fmla="*/ 290 w 657"/>
                      <a:gd name="T53" fmla="*/ 201 h 246"/>
                      <a:gd name="T54" fmla="*/ 304 w 657"/>
                      <a:gd name="T55" fmla="*/ 210 h 246"/>
                      <a:gd name="T56" fmla="*/ 344 w 657"/>
                      <a:gd name="T57" fmla="*/ 210 h 246"/>
                      <a:gd name="T58" fmla="*/ 411 w 657"/>
                      <a:gd name="T59" fmla="*/ 205 h 246"/>
                      <a:gd name="T60" fmla="*/ 353 w 657"/>
                      <a:gd name="T61" fmla="*/ 210 h 246"/>
                      <a:gd name="T62" fmla="*/ 339 w 657"/>
                      <a:gd name="T63" fmla="*/ 219 h 246"/>
                      <a:gd name="T64" fmla="*/ 366 w 657"/>
                      <a:gd name="T65" fmla="*/ 67 h 246"/>
                      <a:gd name="T66" fmla="*/ 339 w 657"/>
                      <a:gd name="T67" fmla="*/ 120 h 246"/>
                      <a:gd name="T68" fmla="*/ 362 w 657"/>
                      <a:gd name="T69" fmla="*/ 165 h 246"/>
                      <a:gd name="T70" fmla="*/ 380 w 657"/>
                      <a:gd name="T71" fmla="*/ 156 h 246"/>
                      <a:gd name="T72" fmla="*/ 397 w 657"/>
                      <a:gd name="T73" fmla="*/ 165 h 246"/>
                      <a:gd name="T74" fmla="*/ 371 w 657"/>
                      <a:gd name="T75" fmla="*/ 112 h 246"/>
                      <a:gd name="T76" fmla="*/ 380 w 657"/>
                      <a:gd name="T77" fmla="*/ 98 h 246"/>
                      <a:gd name="T78" fmla="*/ 433 w 657"/>
                      <a:gd name="T79" fmla="*/ 62 h 246"/>
                      <a:gd name="T80" fmla="*/ 433 w 657"/>
                      <a:gd name="T81" fmla="*/ 210 h 246"/>
                      <a:gd name="T82" fmla="*/ 420 w 657"/>
                      <a:gd name="T83" fmla="*/ 201 h 246"/>
                      <a:gd name="T84" fmla="*/ 402 w 657"/>
                      <a:gd name="T85" fmla="*/ 246 h 246"/>
                      <a:gd name="T86" fmla="*/ 447 w 657"/>
                      <a:gd name="T87" fmla="*/ 143 h 246"/>
                      <a:gd name="T88" fmla="*/ 482 w 657"/>
                      <a:gd name="T89" fmla="*/ 76 h 246"/>
                      <a:gd name="T90" fmla="*/ 469 w 657"/>
                      <a:gd name="T91" fmla="*/ 53 h 246"/>
                      <a:gd name="T92" fmla="*/ 464 w 657"/>
                      <a:gd name="T93" fmla="*/ 76 h 246"/>
                      <a:gd name="T94" fmla="*/ 469 w 657"/>
                      <a:gd name="T95" fmla="*/ 98 h 246"/>
                      <a:gd name="T96" fmla="*/ 505 w 657"/>
                      <a:gd name="T97" fmla="*/ 125 h 246"/>
                      <a:gd name="T98" fmla="*/ 500 w 657"/>
                      <a:gd name="T99" fmla="*/ 134 h 246"/>
                      <a:gd name="T100" fmla="*/ 509 w 657"/>
                      <a:gd name="T101" fmla="*/ 205 h 246"/>
                      <a:gd name="T102" fmla="*/ 563 w 657"/>
                      <a:gd name="T103" fmla="*/ 170 h 246"/>
                      <a:gd name="T104" fmla="*/ 563 w 657"/>
                      <a:gd name="T105" fmla="*/ 161 h 246"/>
                      <a:gd name="T106" fmla="*/ 590 w 657"/>
                      <a:gd name="T107" fmla="*/ 120 h 246"/>
                      <a:gd name="T108" fmla="*/ 554 w 657"/>
                      <a:gd name="T109" fmla="*/ 94 h 246"/>
                      <a:gd name="T110" fmla="*/ 509 w 657"/>
                      <a:gd name="T111" fmla="*/ 107 h 246"/>
                      <a:gd name="T112" fmla="*/ 536 w 657"/>
                      <a:gd name="T113" fmla="*/ 125 h 246"/>
                      <a:gd name="T114" fmla="*/ 545 w 657"/>
                      <a:gd name="T115" fmla="*/ 147 h 246"/>
                      <a:gd name="T116" fmla="*/ 625 w 657"/>
                      <a:gd name="T117" fmla="*/ 196 h 246"/>
                      <a:gd name="T118" fmla="*/ 652 w 657"/>
                      <a:gd name="T119" fmla="*/ 21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7" h="246">
                        <a:moveTo>
                          <a:pt x="0" y="4"/>
                        </a:moveTo>
                        <a:lnTo>
                          <a:pt x="0" y="9"/>
                        </a:lnTo>
                        <a:lnTo>
                          <a:pt x="4" y="18"/>
                        </a:lnTo>
                        <a:lnTo>
                          <a:pt x="22" y="31"/>
                        </a:lnTo>
                        <a:lnTo>
                          <a:pt x="36" y="53"/>
                        </a:lnTo>
                        <a:lnTo>
                          <a:pt x="45" y="53"/>
                        </a:lnTo>
                        <a:lnTo>
                          <a:pt x="54" y="58"/>
                        </a:lnTo>
                        <a:lnTo>
                          <a:pt x="49" y="62"/>
                        </a:lnTo>
                        <a:lnTo>
                          <a:pt x="58" y="85"/>
                        </a:lnTo>
                        <a:lnTo>
                          <a:pt x="62" y="85"/>
                        </a:lnTo>
                        <a:lnTo>
                          <a:pt x="85" y="112"/>
                        </a:lnTo>
                        <a:lnTo>
                          <a:pt x="85" y="125"/>
                        </a:lnTo>
                        <a:lnTo>
                          <a:pt x="107" y="156"/>
                        </a:lnTo>
                        <a:lnTo>
                          <a:pt x="121" y="161"/>
                        </a:lnTo>
                        <a:lnTo>
                          <a:pt x="134" y="179"/>
                        </a:lnTo>
                        <a:lnTo>
                          <a:pt x="129" y="165"/>
                        </a:lnTo>
                        <a:lnTo>
                          <a:pt x="147" y="174"/>
                        </a:lnTo>
                        <a:lnTo>
                          <a:pt x="147" y="161"/>
                        </a:lnTo>
                        <a:lnTo>
                          <a:pt x="152" y="174"/>
                        </a:lnTo>
                        <a:lnTo>
                          <a:pt x="156" y="134"/>
                        </a:lnTo>
                        <a:lnTo>
                          <a:pt x="147" y="120"/>
                        </a:lnTo>
                        <a:lnTo>
                          <a:pt x="138" y="116"/>
                        </a:lnTo>
                        <a:lnTo>
                          <a:pt x="138" y="120"/>
                        </a:lnTo>
                        <a:lnTo>
                          <a:pt x="134" y="103"/>
                        </a:lnTo>
                        <a:lnTo>
                          <a:pt x="116" y="98"/>
                        </a:lnTo>
                        <a:lnTo>
                          <a:pt x="121" y="94"/>
                        </a:lnTo>
                        <a:lnTo>
                          <a:pt x="121" y="89"/>
                        </a:lnTo>
                        <a:lnTo>
                          <a:pt x="125" y="85"/>
                        </a:lnTo>
                        <a:lnTo>
                          <a:pt x="125" y="80"/>
                        </a:lnTo>
                        <a:lnTo>
                          <a:pt x="116" y="76"/>
                        </a:lnTo>
                        <a:lnTo>
                          <a:pt x="112" y="80"/>
                        </a:lnTo>
                        <a:lnTo>
                          <a:pt x="116" y="71"/>
                        </a:lnTo>
                        <a:lnTo>
                          <a:pt x="103" y="62"/>
                        </a:lnTo>
                        <a:lnTo>
                          <a:pt x="98" y="62"/>
                        </a:lnTo>
                        <a:lnTo>
                          <a:pt x="98" y="53"/>
                        </a:lnTo>
                        <a:lnTo>
                          <a:pt x="80" y="53"/>
                        </a:lnTo>
                        <a:lnTo>
                          <a:pt x="71" y="45"/>
                        </a:lnTo>
                        <a:lnTo>
                          <a:pt x="67" y="49"/>
                        </a:lnTo>
                        <a:lnTo>
                          <a:pt x="67" y="40"/>
                        </a:lnTo>
                        <a:lnTo>
                          <a:pt x="36" y="4"/>
                        </a:lnTo>
                        <a:lnTo>
                          <a:pt x="27" y="4"/>
                        </a:lnTo>
                        <a:lnTo>
                          <a:pt x="18" y="9"/>
                        </a:lnTo>
                        <a:lnTo>
                          <a:pt x="4" y="0"/>
                        </a:lnTo>
                        <a:lnTo>
                          <a:pt x="0" y="4"/>
                        </a:lnTo>
                        <a:close/>
                        <a:moveTo>
                          <a:pt x="31" y="62"/>
                        </a:moveTo>
                        <a:lnTo>
                          <a:pt x="22" y="67"/>
                        </a:lnTo>
                        <a:lnTo>
                          <a:pt x="36" y="80"/>
                        </a:lnTo>
                        <a:lnTo>
                          <a:pt x="40" y="80"/>
                        </a:lnTo>
                        <a:lnTo>
                          <a:pt x="40" y="71"/>
                        </a:lnTo>
                        <a:lnTo>
                          <a:pt x="31" y="62"/>
                        </a:lnTo>
                        <a:close/>
                        <a:moveTo>
                          <a:pt x="54" y="98"/>
                        </a:moveTo>
                        <a:lnTo>
                          <a:pt x="49" y="103"/>
                        </a:lnTo>
                        <a:lnTo>
                          <a:pt x="49" y="107"/>
                        </a:lnTo>
                        <a:lnTo>
                          <a:pt x="54" y="116"/>
                        </a:lnTo>
                        <a:lnTo>
                          <a:pt x="62" y="112"/>
                        </a:lnTo>
                        <a:lnTo>
                          <a:pt x="54" y="98"/>
                        </a:lnTo>
                        <a:close/>
                        <a:moveTo>
                          <a:pt x="67" y="116"/>
                        </a:moveTo>
                        <a:lnTo>
                          <a:pt x="62" y="116"/>
                        </a:lnTo>
                        <a:lnTo>
                          <a:pt x="67" y="125"/>
                        </a:lnTo>
                        <a:lnTo>
                          <a:pt x="71" y="125"/>
                        </a:lnTo>
                        <a:lnTo>
                          <a:pt x="71" y="129"/>
                        </a:lnTo>
                        <a:lnTo>
                          <a:pt x="76" y="129"/>
                        </a:lnTo>
                        <a:lnTo>
                          <a:pt x="80" y="138"/>
                        </a:lnTo>
                        <a:lnTo>
                          <a:pt x="80" y="134"/>
                        </a:lnTo>
                        <a:lnTo>
                          <a:pt x="76" y="129"/>
                        </a:lnTo>
                        <a:lnTo>
                          <a:pt x="76" y="125"/>
                        </a:lnTo>
                        <a:lnTo>
                          <a:pt x="67" y="116"/>
                        </a:lnTo>
                        <a:close/>
                        <a:moveTo>
                          <a:pt x="147" y="107"/>
                        </a:moveTo>
                        <a:lnTo>
                          <a:pt x="147" y="116"/>
                        </a:lnTo>
                        <a:lnTo>
                          <a:pt x="152" y="116"/>
                        </a:lnTo>
                        <a:lnTo>
                          <a:pt x="156" y="129"/>
                        </a:lnTo>
                        <a:lnTo>
                          <a:pt x="165" y="129"/>
                        </a:lnTo>
                        <a:lnTo>
                          <a:pt x="165" y="129"/>
                        </a:lnTo>
                        <a:lnTo>
                          <a:pt x="165" y="120"/>
                        </a:lnTo>
                        <a:lnTo>
                          <a:pt x="161" y="120"/>
                        </a:lnTo>
                        <a:lnTo>
                          <a:pt x="152" y="107"/>
                        </a:lnTo>
                        <a:lnTo>
                          <a:pt x="147" y="107"/>
                        </a:lnTo>
                        <a:close/>
                        <a:moveTo>
                          <a:pt x="152" y="179"/>
                        </a:moveTo>
                        <a:lnTo>
                          <a:pt x="143" y="179"/>
                        </a:lnTo>
                        <a:lnTo>
                          <a:pt x="143" y="188"/>
                        </a:lnTo>
                        <a:lnTo>
                          <a:pt x="165" y="188"/>
                        </a:lnTo>
                        <a:lnTo>
                          <a:pt x="161" y="192"/>
                        </a:lnTo>
                        <a:lnTo>
                          <a:pt x="188" y="201"/>
                        </a:lnTo>
                        <a:lnTo>
                          <a:pt x="192" y="196"/>
                        </a:lnTo>
                        <a:lnTo>
                          <a:pt x="250" y="210"/>
                        </a:lnTo>
                        <a:lnTo>
                          <a:pt x="259" y="205"/>
                        </a:lnTo>
                        <a:lnTo>
                          <a:pt x="272" y="210"/>
                        </a:lnTo>
                        <a:lnTo>
                          <a:pt x="281" y="210"/>
                        </a:lnTo>
                        <a:lnTo>
                          <a:pt x="277" y="205"/>
                        </a:lnTo>
                        <a:lnTo>
                          <a:pt x="277" y="192"/>
                        </a:lnTo>
                        <a:lnTo>
                          <a:pt x="259" y="192"/>
                        </a:lnTo>
                        <a:lnTo>
                          <a:pt x="255" y="188"/>
                        </a:lnTo>
                        <a:lnTo>
                          <a:pt x="263" y="192"/>
                        </a:lnTo>
                        <a:lnTo>
                          <a:pt x="277" y="188"/>
                        </a:lnTo>
                        <a:lnTo>
                          <a:pt x="277" y="183"/>
                        </a:lnTo>
                        <a:lnTo>
                          <a:pt x="255" y="188"/>
                        </a:lnTo>
                        <a:lnTo>
                          <a:pt x="237" y="174"/>
                        </a:lnTo>
                        <a:lnTo>
                          <a:pt x="228" y="174"/>
                        </a:lnTo>
                        <a:lnTo>
                          <a:pt x="219" y="188"/>
                        </a:lnTo>
                        <a:lnTo>
                          <a:pt x="205" y="183"/>
                        </a:lnTo>
                        <a:lnTo>
                          <a:pt x="196" y="183"/>
                        </a:lnTo>
                        <a:lnTo>
                          <a:pt x="196" y="174"/>
                        </a:lnTo>
                        <a:lnTo>
                          <a:pt x="179" y="170"/>
                        </a:lnTo>
                        <a:lnTo>
                          <a:pt x="156" y="170"/>
                        </a:lnTo>
                        <a:lnTo>
                          <a:pt x="156" y="179"/>
                        </a:lnTo>
                        <a:lnTo>
                          <a:pt x="152" y="179"/>
                        </a:lnTo>
                        <a:close/>
                        <a:moveTo>
                          <a:pt x="170" y="125"/>
                        </a:moveTo>
                        <a:lnTo>
                          <a:pt x="174" y="129"/>
                        </a:lnTo>
                        <a:lnTo>
                          <a:pt x="179" y="138"/>
                        </a:lnTo>
                        <a:lnTo>
                          <a:pt x="188" y="134"/>
                        </a:lnTo>
                        <a:lnTo>
                          <a:pt x="188" y="125"/>
                        </a:lnTo>
                        <a:lnTo>
                          <a:pt x="183" y="120"/>
                        </a:lnTo>
                        <a:lnTo>
                          <a:pt x="170" y="125"/>
                        </a:lnTo>
                        <a:close/>
                        <a:moveTo>
                          <a:pt x="183" y="22"/>
                        </a:moveTo>
                        <a:lnTo>
                          <a:pt x="183" y="31"/>
                        </a:lnTo>
                        <a:lnTo>
                          <a:pt x="192" y="27"/>
                        </a:lnTo>
                        <a:lnTo>
                          <a:pt x="188" y="18"/>
                        </a:lnTo>
                        <a:lnTo>
                          <a:pt x="183" y="22"/>
                        </a:lnTo>
                        <a:close/>
                        <a:moveTo>
                          <a:pt x="205" y="53"/>
                        </a:moveTo>
                        <a:lnTo>
                          <a:pt x="201" y="53"/>
                        </a:lnTo>
                        <a:lnTo>
                          <a:pt x="196" y="71"/>
                        </a:lnTo>
                        <a:lnTo>
                          <a:pt x="196" y="80"/>
                        </a:lnTo>
                        <a:lnTo>
                          <a:pt x="201" y="85"/>
                        </a:lnTo>
                        <a:lnTo>
                          <a:pt x="201" y="94"/>
                        </a:lnTo>
                        <a:lnTo>
                          <a:pt x="205" y="107"/>
                        </a:lnTo>
                        <a:lnTo>
                          <a:pt x="214" y="98"/>
                        </a:lnTo>
                        <a:lnTo>
                          <a:pt x="214" y="103"/>
                        </a:lnTo>
                        <a:lnTo>
                          <a:pt x="214" y="112"/>
                        </a:lnTo>
                        <a:lnTo>
                          <a:pt x="214" y="134"/>
                        </a:lnTo>
                        <a:lnTo>
                          <a:pt x="241" y="129"/>
                        </a:lnTo>
                        <a:lnTo>
                          <a:pt x="241" y="138"/>
                        </a:lnTo>
                        <a:lnTo>
                          <a:pt x="259" y="129"/>
                        </a:lnTo>
                        <a:lnTo>
                          <a:pt x="277" y="138"/>
                        </a:lnTo>
                        <a:lnTo>
                          <a:pt x="281" y="147"/>
                        </a:lnTo>
                        <a:lnTo>
                          <a:pt x="295" y="134"/>
                        </a:lnTo>
                        <a:lnTo>
                          <a:pt x="299" y="143"/>
                        </a:lnTo>
                        <a:lnTo>
                          <a:pt x="304" y="138"/>
                        </a:lnTo>
                        <a:lnTo>
                          <a:pt x="304" y="129"/>
                        </a:lnTo>
                        <a:lnTo>
                          <a:pt x="304" y="116"/>
                        </a:lnTo>
                        <a:lnTo>
                          <a:pt x="304" y="112"/>
                        </a:lnTo>
                        <a:lnTo>
                          <a:pt x="322" y="94"/>
                        </a:lnTo>
                        <a:lnTo>
                          <a:pt x="322" y="85"/>
                        </a:lnTo>
                        <a:lnTo>
                          <a:pt x="326" y="71"/>
                        </a:lnTo>
                        <a:lnTo>
                          <a:pt x="344" y="67"/>
                        </a:lnTo>
                        <a:lnTo>
                          <a:pt x="322" y="53"/>
                        </a:lnTo>
                        <a:lnTo>
                          <a:pt x="326" y="49"/>
                        </a:lnTo>
                        <a:lnTo>
                          <a:pt x="322" y="36"/>
                        </a:lnTo>
                        <a:lnTo>
                          <a:pt x="326" y="27"/>
                        </a:lnTo>
                        <a:lnTo>
                          <a:pt x="322" y="18"/>
                        </a:lnTo>
                        <a:lnTo>
                          <a:pt x="304" y="18"/>
                        </a:lnTo>
                        <a:lnTo>
                          <a:pt x="295" y="22"/>
                        </a:lnTo>
                        <a:lnTo>
                          <a:pt x="281" y="49"/>
                        </a:lnTo>
                        <a:lnTo>
                          <a:pt x="277" y="62"/>
                        </a:lnTo>
                        <a:lnTo>
                          <a:pt x="255" y="62"/>
                        </a:lnTo>
                        <a:lnTo>
                          <a:pt x="246" y="71"/>
                        </a:lnTo>
                        <a:lnTo>
                          <a:pt x="228" y="71"/>
                        </a:lnTo>
                        <a:lnTo>
                          <a:pt x="210" y="58"/>
                        </a:lnTo>
                        <a:lnTo>
                          <a:pt x="205" y="53"/>
                        </a:lnTo>
                        <a:close/>
                        <a:moveTo>
                          <a:pt x="281" y="205"/>
                        </a:moveTo>
                        <a:lnTo>
                          <a:pt x="290" y="214"/>
                        </a:lnTo>
                        <a:lnTo>
                          <a:pt x="295" y="210"/>
                        </a:lnTo>
                        <a:lnTo>
                          <a:pt x="290" y="201"/>
                        </a:lnTo>
                        <a:lnTo>
                          <a:pt x="281" y="205"/>
                        </a:lnTo>
                        <a:close/>
                        <a:moveTo>
                          <a:pt x="304" y="201"/>
                        </a:moveTo>
                        <a:lnTo>
                          <a:pt x="299" y="205"/>
                        </a:lnTo>
                        <a:lnTo>
                          <a:pt x="299" y="210"/>
                        </a:lnTo>
                        <a:lnTo>
                          <a:pt x="299" y="214"/>
                        </a:lnTo>
                        <a:lnTo>
                          <a:pt x="304" y="210"/>
                        </a:lnTo>
                        <a:lnTo>
                          <a:pt x="313" y="205"/>
                        </a:lnTo>
                        <a:lnTo>
                          <a:pt x="304" y="201"/>
                        </a:lnTo>
                        <a:close/>
                        <a:moveTo>
                          <a:pt x="313" y="205"/>
                        </a:moveTo>
                        <a:lnTo>
                          <a:pt x="308" y="214"/>
                        </a:lnTo>
                        <a:lnTo>
                          <a:pt x="339" y="214"/>
                        </a:lnTo>
                        <a:lnTo>
                          <a:pt x="344" y="210"/>
                        </a:lnTo>
                        <a:lnTo>
                          <a:pt x="353" y="210"/>
                        </a:lnTo>
                        <a:lnTo>
                          <a:pt x="362" y="214"/>
                        </a:lnTo>
                        <a:lnTo>
                          <a:pt x="397" y="210"/>
                        </a:lnTo>
                        <a:lnTo>
                          <a:pt x="397" y="210"/>
                        </a:lnTo>
                        <a:lnTo>
                          <a:pt x="402" y="210"/>
                        </a:lnTo>
                        <a:lnTo>
                          <a:pt x="411" y="205"/>
                        </a:lnTo>
                        <a:lnTo>
                          <a:pt x="402" y="205"/>
                        </a:lnTo>
                        <a:lnTo>
                          <a:pt x="393" y="201"/>
                        </a:lnTo>
                        <a:lnTo>
                          <a:pt x="384" y="205"/>
                        </a:lnTo>
                        <a:lnTo>
                          <a:pt x="371" y="205"/>
                        </a:lnTo>
                        <a:lnTo>
                          <a:pt x="362" y="205"/>
                        </a:lnTo>
                        <a:lnTo>
                          <a:pt x="353" y="210"/>
                        </a:lnTo>
                        <a:lnTo>
                          <a:pt x="344" y="205"/>
                        </a:lnTo>
                        <a:lnTo>
                          <a:pt x="339" y="201"/>
                        </a:lnTo>
                        <a:lnTo>
                          <a:pt x="326" y="201"/>
                        </a:lnTo>
                        <a:lnTo>
                          <a:pt x="326" y="210"/>
                        </a:lnTo>
                        <a:lnTo>
                          <a:pt x="313" y="205"/>
                        </a:lnTo>
                        <a:close/>
                        <a:moveTo>
                          <a:pt x="339" y="219"/>
                        </a:moveTo>
                        <a:lnTo>
                          <a:pt x="362" y="237"/>
                        </a:lnTo>
                        <a:lnTo>
                          <a:pt x="371" y="232"/>
                        </a:lnTo>
                        <a:lnTo>
                          <a:pt x="357" y="219"/>
                        </a:lnTo>
                        <a:lnTo>
                          <a:pt x="348" y="219"/>
                        </a:lnTo>
                        <a:lnTo>
                          <a:pt x="339" y="219"/>
                        </a:lnTo>
                        <a:close/>
                        <a:moveTo>
                          <a:pt x="366" y="67"/>
                        </a:moveTo>
                        <a:lnTo>
                          <a:pt x="366" y="71"/>
                        </a:lnTo>
                        <a:lnTo>
                          <a:pt x="357" y="76"/>
                        </a:lnTo>
                        <a:lnTo>
                          <a:pt x="353" y="85"/>
                        </a:lnTo>
                        <a:lnTo>
                          <a:pt x="344" y="89"/>
                        </a:lnTo>
                        <a:lnTo>
                          <a:pt x="348" y="94"/>
                        </a:lnTo>
                        <a:lnTo>
                          <a:pt x="339" y="120"/>
                        </a:lnTo>
                        <a:lnTo>
                          <a:pt x="339" y="138"/>
                        </a:lnTo>
                        <a:lnTo>
                          <a:pt x="348" y="134"/>
                        </a:lnTo>
                        <a:lnTo>
                          <a:pt x="353" y="143"/>
                        </a:lnTo>
                        <a:lnTo>
                          <a:pt x="348" y="165"/>
                        </a:lnTo>
                        <a:lnTo>
                          <a:pt x="353" y="170"/>
                        </a:lnTo>
                        <a:lnTo>
                          <a:pt x="362" y="165"/>
                        </a:lnTo>
                        <a:lnTo>
                          <a:pt x="362" y="125"/>
                        </a:lnTo>
                        <a:lnTo>
                          <a:pt x="371" y="125"/>
                        </a:lnTo>
                        <a:lnTo>
                          <a:pt x="366" y="138"/>
                        </a:lnTo>
                        <a:lnTo>
                          <a:pt x="375" y="143"/>
                        </a:lnTo>
                        <a:lnTo>
                          <a:pt x="375" y="152"/>
                        </a:lnTo>
                        <a:lnTo>
                          <a:pt x="380" y="156"/>
                        </a:lnTo>
                        <a:lnTo>
                          <a:pt x="384" y="152"/>
                        </a:lnTo>
                        <a:lnTo>
                          <a:pt x="393" y="152"/>
                        </a:lnTo>
                        <a:lnTo>
                          <a:pt x="384" y="156"/>
                        </a:lnTo>
                        <a:lnTo>
                          <a:pt x="389" y="165"/>
                        </a:lnTo>
                        <a:lnTo>
                          <a:pt x="393" y="170"/>
                        </a:lnTo>
                        <a:lnTo>
                          <a:pt x="397" y="165"/>
                        </a:lnTo>
                        <a:lnTo>
                          <a:pt x="397" y="156"/>
                        </a:lnTo>
                        <a:lnTo>
                          <a:pt x="397" y="147"/>
                        </a:lnTo>
                        <a:lnTo>
                          <a:pt x="389" y="138"/>
                        </a:lnTo>
                        <a:lnTo>
                          <a:pt x="389" y="129"/>
                        </a:lnTo>
                        <a:lnTo>
                          <a:pt x="380" y="120"/>
                        </a:lnTo>
                        <a:lnTo>
                          <a:pt x="371" y="112"/>
                        </a:lnTo>
                        <a:lnTo>
                          <a:pt x="380" y="112"/>
                        </a:lnTo>
                        <a:lnTo>
                          <a:pt x="397" y="98"/>
                        </a:lnTo>
                        <a:lnTo>
                          <a:pt x="402" y="103"/>
                        </a:lnTo>
                        <a:lnTo>
                          <a:pt x="406" y="94"/>
                        </a:lnTo>
                        <a:lnTo>
                          <a:pt x="393" y="94"/>
                        </a:lnTo>
                        <a:lnTo>
                          <a:pt x="380" y="98"/>
                        </a:lnTo>
                        <a:lnTo>
                          <a:pt x="366" y="103"/>
                        </a:lnTo>
                        <a:lnTo>
                          <a:pt x="357" y="94"/>
                        </a:lnTo>
                        <a:lnTo>
                          <a:pt x="362" y="80"/>
                        </a:lnTo>
                        <a:lnTo>
                          <a:pt x="402" y="85"/>
                        </a:lnTo>
                        <a:lnTo>
                          <a:pt x="420" y="76"/>
                        </a:lnTo>
                        <a:lnTo>
                          <a:pt x="433" y="62"/>
                        </a:lnTo>
                        <a:lnTo>
                          <a:pt x="429" y="53"/>
                        </a:lnTo>
                        <a:lnTo>
                          <a:pt x="411" y="71"/>
                        </a:lnTo>
                        <a:lnTo>
                          <a:pt x="366" y="67"/>
                        </a:lnTo>
                        <a:close/>
                        <a:moveTo>
                          <a:pt x="420" y="201"/>
                        </a:moveTo>
                        <a:lnTo>
                          <a:pt x="415" y="210"/>
                        </a:lnTo>
                        <a:lnTo>
                          <a:pt x="433" y="210"/>
                        </a:lnTo>
                        <a:lnTo>
                          <a:pt x="442" y="201"/>
                        </a:lnTo>
                        <a:lnTo>
                          <a:pt x="451" y="201"/>
                        </a:lnTo>
                        <a:lnTo>
                          <a:pt x="456" y="196"/>
                        </a:lnTo>
                        <a:lnTo>
                          <a:pt x="442" y="196"/>
                        </a:lnTo>
                        <a:lnTo>
                          <a:pt x="433" y="205"/>
                        </a:lnTo>
                        <a:lnTo>
                          <a:pt x="420" y="201"/>
                        </a:lnTo>
                        <a:close/>
                        <a:moveTo>
                          <a:pt x="424" y="219"/>
                        </a:moveTo>
                        <a:lnTo>
                          <a:pt x="411" y="219"/>
                        </a:lnTo>
                        <a:lnTo>
                          <a:pt x="402" y="232"/>
                        </a:lnTo>
                        <a:lnTo>
                          <a:pt x="402" y="237"/>
                        </a:lnTo>
                        <a:lnTo>
                          <a:pt x="393" y="246"/>
                        </a:lnTo>
                        <a:lnTo>
                          <a:pt x="402" y="246"/>
                        </a:lnTo>
                        <a:lnTo>
                          <a:pt x="406" y="237"/>
                        </a:lnTo>
                        <a:lnTo>
                          <a:pt x="420" y="232"/>
                        </a:lnTo>
                        <a:lnTo>
                          <a:pt x="424" y="228"/>
                        </a:lnTo>
                        <a:lnTo>
                          <a:pt x="424" y="219"/>
                        </a:lnTo>
                        <a:close/>
                        <a:moveTo>
                          <a:pt x="438" y="129"/>
                        </a:moveTo>
                        <a:lnTo>
                          <a:pt x="447" y="143"/>
                        </a:lnTo>
                        <a:lnTo>
                          <a:pt x="456" y="134"/>
                        </a:lnTo>
                        <a:lnTo>
                          <a:pt x="451" y="129"/>
                        </a:lnTo>
                        <a:lnTo>
                          <a:pt x="438" y="129"/>
                        </a:lnTo>
                        <a:close/>
                        <a:moveTo>
                          <a:pt x="469" y="80"/>
                        </a:moveTo>
                        <a:lnTo>
                          <a:pt x="487" y="80"/>
                        </a:lnTo>
                        <a:lnTo>
                          <a:pt x="482" y="76"/>
                        </a:lnTo>
                        <a:lnTo>
                          <a:pt x="469" y="71"/>
                        </a:lnTo>
                        <a:lnTo>
                          <a:pt x="482" y="62"/>
                        </a:lnTo>
                        <a:lnTo>
                          <a:pt x="478" y="58"/>
                        </a:lnTo>
                        <a:lnTo>
                          <a:pt x="464" y="71"/>
                        </a:lnTo>
                        <a:lnTo>
                          <a:pt x="469" y="62"/>
                        </a:lnTo>
                        <a:lnTo>
                          <a:pt x="469" y="53"/>
                        </a:lnTo>
                        <a:lnTo>
                          <a:pt x="478" y="49"/>
                        </a:lnTo>
                        <a:lnTo>
                          <a:pt x="478" y="45"/>
                        </a:lnTo>
                        <a:lnTo>
                          <a:pt x="464" y="49"/>
                        </a:lnTo>
                        <a:lnTo>
                          <a:pt x="460" y="67"/>
                        </a:lnTo>
                        <a:lnTo>
                          <a:pt x="460" y="76"/>
                        </a:lnTo>
                        <a:lnTo>
                          <a:pt x="464" y="76"/>
                        </a:lnTo>
                        <a:lnTo>
                          <a:pt x="464" y="89"/>
                        </a:lnTo>
                        <a:lnTo>
                          <a:pt x="469" y="98"/>
                        </a:lnTo>
                        <a:lnTo>
                          <a:pt x="460" y="94"/>
                        </a:lnTo>
                        <a:lnTo>
                          <a:pt x="456" y="98"/>
                        </a:lnTo>
                        <a:lnTo>
                          <a:pt x="460" y="103"/>
                        </a:lnTo>
                        <a:lnTo>
                          <a:pt x="469" y="98"/>
                        </a:lnTo>
                        <a:lnTo>
                          <a:pt x="473" y="107"/>
                        </a:lnTo>
                        <a:lnTo>
                          <a:pt x="478" y="107"/>
                        </a:lnTo>
                        <a:lnTo>
                          <a:pt x="473" y="98"/>
                        </a:lnTo>
                        <a:lnTo>
                          <a:pt x="469" y="89"/>
                        </a:lnTo>
                        <a:lnTo>
                          <a:pt x="469" y="80"/>
                        </a:lnTo>
                        <a:close/>
                        <a:moveTo>
                          <a:pt x="505" y="125"/>
                        </a:moveTo>
                        <a:lnTo>
                          <a:pt x="491" y="125"/>
                        </a:lnTo>
                        <a:lnTo>
                          <a:pt x="469" y="125"/>
                        </a:lnTo>
                        <a:lnTo>
                          <a:pt x="464" y="134"/>
                        </a:lnTo>
                        <a:lnTo>
                          <a:pt x="478" y="138"/>
                        </a:lnTo>
                        <a:lnTo>
                          <a:pt x="482" y="134"/>
                        </a:lnTo>
                        <a:lnTo>
                          <a:pt x="500" y="134"/>
                        </a:lnTo>
                        <a:lnTo>
                          <a:pt x="514" y="138"/>
                        </a:lnTo>
                        <a:lnTo>
                          <a:pt x="505" y="125"/>
                        </a:lnTo>
                        <a:close/>
                        <a:moveTo>
                          <a:pt x="523" y="188"/>
                        </a:moveTo>
                        <a:lnTo>
                          <a:pt x="518" y="188"/>
                        </a:lnTo>
                        <a:lnTo>
                          <a:pt x="514" y="201"/>
                        </a:lnTo>
                        <a:lnTo>
                          <a:pt x="509" y="205"/>
                        </a:lnTo>
                        <a:lnTo>
                          <a:pt x="509" y="210"/>
                        </a:lnTo>
                        <a:lnTo>
                          <a:pt x="518" y="205"/>
                        </a:lnTo>
                        <a:lnTo>
                          <a:pt x="514" y="201"/>
                        </a:lnTo>
                        <a:lnTo>
                          <a:pt x="523" y="188"/>
                        </a:lnTo>
                        <a:close/>
                        <a:moveTo>
                          <a:pt x="563" y="161"/>
                        </a:moveTo>
                        <a:lnTo>
                          <a:pt x="563" y="170"/>
                        </a:lnTo>
                        <a:lnTo>
                          <a:pt x="558" y="174"/>
                        </a:lnTo>
                        <a:lnTo>
                          <a:pt x="554" y="188"/>
                        </a:lnTo>
                        <a:lnTo>
                          <a:pt x="563" y="188"/>
                        </a:lnTo>
                        <a:lnTo>
                          <a:pt x="567" y="179"/>
                        </a:lnTo>
                        <a:lnTo>
                          <a:pt x="567" y="165"/>
                        </a:lnTo>
                        <a:lnTo>
                          <a:pt x="563" y="161"/>
                        </a:lnTo>
                        <a:close/>
                        <a:moveTo>
                          <a:pt x="657" y="125"/>
                        </a:moveTo>
                        <a:lnTo>
                          <a:pt x="630" y="116"/>
                        </a:lnTo>
                        <a:lnTo>
                          <a:pt x="612" y="107"/>
                        </a:lnTo>
                        <a:lnTo>
                          <a:pt x="603" y="112"/>
                        </a:lnTo>
                        <a:lnTo>
                          <a:pt x="603" y="116"/>
                        </a:lnTo>
                        <a:lnTo>
                          <a:pt x="590" y="120"/>
                        </a:lnTo>
                        <a:lnTo>
                          <a:pt x="581" y="134"/>
                        </a:lnTo>
                        <a:lnTo>
                          <a:pt x="572" y="134"/>
                        </a:lnTo>
                        <a:lnTo>
                          <a:pt x="563" y="116"/>
                        </a:lnTo>
                        <a:lnTo>
                          <a:pt x="558" y="120"/>
                        </a:lnTo>
                        <a:lnTo>
                          <a:pt x="558" y="103"/>
                        </a:lnTo>
                        <a:lnTo>
                          <a:pt x="554" y="94"/>
                        </a:lnTo>
                        <a:lnTo>
                          <a:pt x="531" y="89"/>
                        </a:lnTo>
                        <a:lnTo>
                          <a:pt x="527" y="89"/>
                        </a:lnTo>
                        <a:lnTo>
                          <a:pt x="509" y="103"/>
                        </a:lnTo>
                        <a:lnTo>
                          <a:pt x="509" y="98"/>
                        </a:lnTo>
                        <a:lnTo>
                          <a:pt x="500" y="98"/>
                        </a:lnTo>
                        <a:lnTo>
                          <a:pt x="509" y="107"/>
                        </a:lnTo>
                        <a:lnTo>
                          <a:pt x="518" y="107"/>
                        </a:lnTo>
                        <a:lnTo>
                          <a:pt x="523" y="116"/>
                        </a:lnTo>
                        <a:lnTo>
                          <a:pt x="549" y="112"/>
                        </a:lnTo>
                        <a:lnTo>
                          <a:pt x="554" y="120"/>
                        </a:lnTo>
                        <a:lnTo>
                          <a:pt x="540" y="120"/>
                        </a:lnTo>
                        <a:lnTo>
                          <a:pt x="536" y="125"/>
                        </a:lnTo>
                        <a:lnTo>
                          <a:pt x="527" y="120"/>
                        </a:lnTo>
                        <a:lnTo>
                          <a:pt x="523" y="129"/>
                        </a:lnTo>
                        <a:lnTo>
                          <a:pt x="536" y="129"/>
                        </a:lnTo>
                        <a:lnTo>
                          <a:pt x="536" y="138"/>
                        </a:lnTo>
                        <a:lnTo>
                          <a:pt x="540" y="147"/>
                        </a:lnTo>
                        <a:lnTo>
                          <a:pt x="545" y="147"/>
                        </a:lnTo>
                        <a:lnTo>
                          <a:pt x="549" y="129"/>
                        </a:lnTo>
                        <a:lnTo>
                          <a:pt x="554" y="138"/>
                        </a:lnTo>
                        <a:lnTo>
                          <a:pt x="612" y="165"/>
                        </a:lnTo>
                        <a:lnTo>
                          <a:pt x="621" y="188"/>
                        </a:lnTo>
                        <a:lnTo>
                          <a:pt x="625" y="192"/>
                        </a:lnTo>
                        <a:lnTo>
                          <a:pt x="625" y="196"/>
                        </a:lnTo>
                        <a:lnTo>
                          <a:pt x="621" y="192"/>
                        </a:lnTo>
                        <a:lnTo>
                          <a:pt x="607" y="210"/>
                        </a:lnTo>
                        <a:lnTo>
                          <a:pt x="625" y="210"/>
                        </a:lnTo>
                        <a:lnTo>
                          <a:pt x="630" y="201"/>
                        </a:lnTo>
                        <a:lnTo>
                          <a:pt x="643" y="201"/>
                        </a:lnTo>
                        <a:lnTo>
                          <a:pt x="652" y="214"/>
                        </a:lnTo>
                        <a:lnTo>
                          <a:pt x="657" y="214"/>
                        </a:lnTo>
                        <a:lnTo>
                          <a:pt x="657" y="12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93" name="Freeform 125">
                    <a:extLst>
                      <a:ext uri="{FF2B5EF4-FFF2-40B4-BE49-F238E27FC236}">
                        <a16:creationId xmlns:a16="http://schemas.microsoft.com/office/drawing/2014/main" id="{95231C68-AA54-499E-AF93-40D40CD063EE}"/>
                      </a:ext>
                    </a:extLst>
                  </p:cNvPr>
                  <p:cNvSpPr>
                    <a:spLocks/>
                  </p:cNvSpPr>
                  <p:nvPr/>
                </p:nvSpPr>
                <p:spPr bwMode="gray">
                  <a:xfrm>
                    <a:off x="3312" y="2154"/>
                    <a:ext cx="277" cy="250"/>
                  </a:xfrm>
                  <a:custGeom>
                    <a:avLst/>
                    <a:gdLst>
                      <a:gd name="T0" fmla="*/ 0 w 277"/>
                      <a:gd name="T1" fmla="*/ 9 h 250"/>
                      <a:gd name="T2" fmla="*/ 14 w 277"/>
                      <a:gd name="T3" fmla="*/ 40 h 250"/>
                      <a:gd name="T4" fmla="*/ 23 w 277"/>
                      <a:gd name="T5" fmla="*/ 71 h 250"/>
                      <a:gd name="T6" fmla="*/ 32 w 277"/>
                      <a:gd name="T7" fmla="*/ 80 h 250"/>
                      <a:gd name="T8" fmla="*/ 32 w 277"/>
                      <a:gd name="T9" fmla="*/ 120 h 250"/>
                      <a:gd name="T10" fmla="*/ 54 w 277"/>
                      <a:gd name="T11" fmla="*/ 152 h 250"/>
                      <a:gd name="T12" fmla="*/ 63 w 277"/>
                      <a:gd name="T13" fmla="*/ 165 h 250"/>
                      <a:gd name="T14" fmla="*/ 72 w 277"/>
                      <a:gd name="T15" fmla="*/ 165 h 250"/>
                      <a:gd name="T16" fmla="*/ 90 w 277"/>
                      <a:gd name="T17" fmla="*/ 165 h 250"/>
                      <a:gd name="T18" fmla="*/ 99 w 277"/>
                      <a:gd name="T19" fmla="*/ 187 h 250"/>
                      <a:gd name="T20" fmla="*/ 108 w 277"/>
                      <a:gd name="T21" fmla="*/ 201 h 250"/>
                      <a:gd name="T22" fmla="*/ 121 w 277"/>
                      <a:gd name="T23" fmla="*/ 214 h 250"/>
                      <a:gd name="T24" fmla="*/ 157 w 277"/>
                      <a:gd name="T25" fmla="*/ 228 h 250"/>
                      <a:gd name="T26" fmla="*/ 161 w 277"/>
                      <a:gd name="T27" fmla="*/ 228 h 250"/>
                      <a:gd name="T28" fmla="*/ 170 w 277"/>
                      <a:gd name="T29" fmla="*/ 219 h 250"/>
                      <a:gd name="T30" fmla="*/ 188 w 277"/>
                      <a:gd name="T31" fmla="*/ 219 h 250"/>
                      <a:gd name="T32" fmla="*/ 192 w 277"/>
                      <a:gd name="T33" fmla="*/ 241 h 250"/>
                      <a:gd name="T34" fmla="*/ 224 w 277"/>
                      <a:gd name="T35" fmla="*/ 250 h 250"/>
                      <a:gd name="T36" fmla="*/ 255 w 277"/>
                      <a:gd name="T37" fmla="*/ 245 h 250"/>
                      <a:gd name="T38" fmla="*/ 264 w 277"/>
                      <a:gd name="T39" fmla="*/ 228 h 250"/>
                      <a:gd name="T40" fmla="*/ 277 w 277"/>
                      <a:gd name="T41" fmla="*/ 214 h 250"/>
                      <a:gd name="T42" fmla="*/ 268 w 277"/>
                      <a:gd name="T43" fmla="*/ 201 h 250"/>
                      <a:gd name="T44" fmla="*/ 242 w 277"/>
                      <a:gd name="T45" fmla="*/ 178 h 250"/>
                      <a:gd name="T46" fmla="*/ 246 w 277"/>
                      <a:gd name="T47" fmla="*/ 161 h 250"/>
                      <a:gd name="T48" fmla="*/ 251 w 277"/>
                      <a:gd name="T49" fmla="*/ 143 h 250"/>
                      <a:gd name="T50" fmla="*/ 242 w 277"/>
                      <a:gd name="T51" fmla="*/ 107 h 250"/>
                      <a:gd name="T52" fmla="*/ 246 w 277"/>
                      <a:gd name="T53" fmla="*/ 71 h 250"/>
                      <a:gd name="T54" fmla="*/ 233 w 277"/>
                      <a:gd name="T55" fmla="*/ 53 h 250"/>
                      <a:gd name="T56" fmla="*/ 197 w 277"/>
                      <a:gd name="T57" fmla="*/ 31 h 250"/>
                      <a:gd name="T58" fmla="*/ 179 w 277"/>
                      <a:gd name="T59" fmla="*/ 31 h 250"/>
                      <a:gd name="T60" fmla="*/ 157 w 277"/>
                      <a:gd name="T61" fmla="*/ 40 h 250"/>
                      <a:gd name="T62" fmla="*/ 148 w 277"/>
                      <a:gd name="T63" fmla="*/ 53 h 250"/>
                      <a:gd name="T64" fmla="*/ 139 w 277"/>
                      <a:gd name="T65" fmla="*/ 49 h 250"/>
                      <a:gd name="T66" fmla="*/ 94 w 277"/>
                      <a:gd name="T67" fmla="*/ 53 h 250"/>
                      <a:gd name="T68" fmla="*/ 76 w 277"/>
                      <a:gd name="T69" fmla="*/ 40 h 250"/>
                      <a:gd name="T70" fmla="*/ 63 w 277"/>
                      <a:gd name="T71" fmla="*/ 18 h 250"/>
                      <a:gd name="T72" fmla="*/ 58 w 277"/>
                      <a:gd name="T73" fmla="*/ 0 h 250"/>
                      <a:gd name="T74" fmla="*/ 36 w 277"/>
                      <a:gd name="T75" fmla="*/ 18 h 250"/>
                      <a:gd name="T76" fmla="*/ 27 w 277"/>
                      <a:gd name="T77" fmla="*/ 13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77" h="250">
                        <a:moveTo>
                          <a:pt x="9" y="0"/>
                        </a:moveTo>
                        <a:lnTo>
                          <a:pt x="0" y="9"/>
                        </a:lnTo>
                        <a:lnTo>
                          <a:pt x="5" y="35"/>
                        </a:lnTo>
                        <a:lnTo>
                          <a:pt x="14" y="40"/>
                        </a:lnTo>
                        <a:lnTo>
                          <a:pt x="14" y="44"/>
                        </a:lnTo>
                        <a:lnTo>
                          <a:pt x="23" y="71"/>
                        </a:lnTo>
                        <a:lnTo>
                          <a:pt x="32" y="71"/>
                        </a:lnTo>
                        <a:lnTo>
                          <a:pt x="32" y="80"/>
                        </a:lnTo>
                        <a:lnTo>
                          <a:pt x="23" y="98"/>
                        </a:lnTo>
                        <a:lnTo>
                          <a:pt x="32" y="120"/>
                        </a:lnTo>
                        <a:lnTo>
                          <a:pt x="54" y="138"/>
                        </a:lnTo>
                        <a:lnTo>
                          <a:pt x="54" y="152"/>
                        </a:lnTo>
                        <a:lnTo>
                          <a:pt x="58" y="156"/>
                        </a:lnTo>
                        <a:lnTo>
                          <a:pt x="63" y="165"/>
                        </a:lnTo>
                        <a:lnTo>
                          <a:pt x="67" y="169"/>
                        </a:lnTo>
                        <a:lnTo>
                          <a:pt x="72" y="165"/>
                        </a:lnTo>
                        <a:lnTo>
                          <a:pt x="81" y="169"/>
                        </a:lnTo>
                        <a:lnTo>
                          <a:pt x="90" y="165"/>
                        </a:lnTo>
                        <a:lnTo>
                          <a:pt x="103" y="187"/>
                        </a:lnTo>
                        <a:lnTo>
                          <a:pt x="99" y="187"/>
                        </a:lnTo>
                        <a:lnTo>
                          <a:pt x="103" y="192"/>
                        </a:lnTo>
                        <a:lnTo>
                          <a:pt x="108" y="201"/>
                        </a:lnTo>
                        <a:lnTo>
                          <a:pt x="121" y="210"/>
                        </a:lnTo>
                        <a:lnTo>
                          <a:pt x="121" y="214"/>
                        </a:lnTo>
                        <a:lnTo>
                          <a:pt x="139" y="223"/>
                        </a:lnTo>
                        <a:lnTo>
                          <a:pt x="157" y="228"/>
                        </a:lnTo>
                        <a:lnTo>
                          <a:pt x="161" y="223"/>
                        </a:lnTo>
                        <a:lnTo>
                          <a:pt x="161" y="228"/>
                        </a:lnTo>
                        <a:lnTo>
                          <a:pt x="179" y="219"/>
                        </a:lnTo>
                        <a:lnTo>
                          <a:pt x="170" y="219"/>
                        </a:lnTo>
                        <a:lnTo>
                          <a:pt x="175" y="214"/>
                        </a:lnTo>
                        <a:lnTo>
                          <a:pt x="188" y="219"/>
                        </a:lnTo>
                        <a:lnTo>
                          <a:pt x="188" y="223"/>
                        </a:lnTo>
                        <a:lnTo>
                          <a:pt x="192" y="241"/>
                        </a:lnTo>
                        <a:lnTo>
                          <a:pt x="206" y="245"/>
                        </a:lnTo>
                        <a:lnTo>
                          <a:pt x="224" y="250"/>
                        </a:lnTo>
                        <a:lnTo>
                          <a:pt x="251" y="250"/>
                        </a:lnTo>
                        <a:lnTo>
                          <a:pt x="255" y="245"/>
                        </a:lnTo>
                        <a:lnTo>
                          <a:pt x="255" y="236"/>
                        </a:lnTo>
                        <a:lnTo>
                          <a:pt x="264" y="228"/>
                        </a:lnTo>
                        <a:lnTo>
                          <a:pt x="277" y="223"/>
                        </a:lnTo>
                        <a:lnTo>
                          <a:pt x="277" y="214"/>
                        </a:lnTo>
                        <a:lnTo>
                          <a:pt x="268" y="214"/>
                        </a:lnTo>
                        <a:lnTo>
                          <a:pt x="268" y="201"/>
                        </a:lnTo>
                        <a:lnTo>
                          <a:pt x="255" y="196"/>
                        </a:lnTo>
                        <a:lnTo>
                          <a:pt x="242" y="178"/>
                        </a:lnTo>
                        <a:lnTo>
                          <a:pt x="242" y="174"/>
                        </a:lnTo>
                        <a:lnTo>
                          <a:pt x="246" y="161"/>
                        </a:lnTo>
                        <a:lnTo>
                          <a:pt x="255" y="156"/>
                        </a:lnTo>
                        <a:lnTo>
                          <a:pt x="251" y="143"/>
                        </a:lnTo>
                        <a:lnTo>
                          <a:pt x="242" y="143"/>
                        </a:lnTo>
                        <a:lnTo>
                          <a:pt x="242" y="107"/>
                        </a:lnTo>
                        <a:lnTo>
                          <a:pt x="237" y="98"/>
                        </a:lnTo>
                        <a:lnTo>
                          <a:pt x="246" y="71"/>
                        </a:lnTo>
                        <a:lnTo>
                          <a:pt x="246" y="53"/>
                        </a:lnTo>
                        <a:lnTo>
                          <a:pt x="233" y="53"/>
                        </a:lnTo>
                        <a:lnTo>
                          <a:pt x="219" y="35"/>
                        </a:lnTo>
                        <a:lnTo>
                          <a:pt x="197" y="31"/>
                        </a:lnTo>
                        <a:lnTo>
                          <a:pt x="188" y="22"/>
                        </a:lnTo>
                        <a:lnTo>
                          <a:pt x="179" y="31"/>
                        </a:lnTo>
                        <a:lnTo>
                          <a:pt x="166" y="31"/>
                        </a:lnTo>
                        <a:lnTo>
                          <a:pt x="157" y="40"/>
                        </a:lnTo>
                        <a:lnTo>
                          <a:pt x="148" y="44"/>
                        </a:lnTo>
                        <a:lnTo>
                          <a:pt x="148" y="53"/>
                        </a:lnTo>
                        <a:lnTo>
                          <a:pt x="139" y="53"/>
                        </a:lnTo>
                        <a:lnTo>
                          <a:pt x="139" y="49"/>
                        </a:lnTo>
                        <a:lnTo>
                          <a:pt x="108" y="58"/>
                        </a:lnTo>
                        <a:lnTo>
                          <a:pt x="94" y="53"/>
                        </a:lnTo>
                        <a:lnTo>
                          <a:pt x="90" y="44"/>
                        </a:lnTo>
                        <a:lnTo>
                          <a:pt x="76" y="40"/>
                        </a:lnTo>
                        <a:lnTo>
                          <a:pt x="76" y="26"/>
                        </a:lnTo>
                        <a:lnTo>
                          <a:pt x="63" y="18"/>
                        </a:lnTo>
                        <a:lnTo>
                          <a:pt x="63" y="4"/>
                        </a:lnTo>
                        <a:lnTo>
                          <a:pt x="58" y="0"/>
                        </a:lnTo>
                        <a:lnTo>
                          <a:pt x="36" y="13"/>
                        </a:lnTo>
                        <a:lnTo>
                          <a:pt x="36" y="18"/>
                        </a:lnTo>
                        <a:lnTo>
                          <a:pt x="32" y="18"/>
                        </a:lnTo>
                        <a:lnTo>
                          <a:pt x="27" y="13"/>
                        </a:lnTo>
                        <a:lnTo>
                          <a:pt x="9"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94" name="Freeform 126">
                    <a:extLst>
                      <a:ext uri="{FF2B5EF4-FFF2-40B4-BE49-F238E27FC236}">
                        <a16:creationId xmlns:a16="http://schemas.microsoft.com/office/drawing/2014/main" id="{FF22C149-EEC7-4897-B7F1-E883ECCE3430}"/>
                      </a:ext>
                    </a:extLst>
                  </p:cNvPr>
                  <p:cNvSpPr>
                    <a:spLocks/>
                  </p:cNvSpPr>
                  <p:nvPr/>
                </p:nvSpPr>
                <p:spPr bwMode="gray">
                  <a:xfrm>
                    <a:off x="3236" y="2198"/>
                    <a:ext cx="139" cy="143"/>
                  </a:xfrm>
                  <a:custGeom>
                    <a:avLst/>
                    <a:gdLst>
                      <a:gd name="T0" fmla="*/ 0 w 139"/>
                      <a:gd name="T1" fmla="*/ 72 h 143"/>
                      <a:gd name="T2" fmla="*/ 9 w 139"/>
                      <a:gd name="T3" fmla="*/ 90 h 143"/>
                      <a:gd name="T4" fmla="*/ 32 w 139"/>
                      <a:gd name="T5" fmla="*/ 94 h 143"/>
                      <a:gd name="T6" fmla="*/ 63 w 139"/>
                      <a:gd name="T7" fmla="*/ 117 h 143"/>
                      <a:gd name="T8" fmla="*/ 63 w 139"/>
                      <a:gd name="T9" fmla="*/ 125 h 143"/>
                      <a:gd name="T10" fmla="*/ 72 w 139"/>
                      <a:gd name="T11" fmla="*/ 125 h 143"/>
                      <a:gd name="T12" fmla="*/ 72 w 139"/>
                      <a:gd name="T13" fmla="*/ 139 h 143"/>
                      <a:gd name="T14" fmla="*/ 85 w 139"/>
                      <a:gd name="T15" fmla="*/ 143 h 143"/>
                      <a:gd name="T16" fmla="*/ 112 w 139"/>
                      <a:gd name="T17" fmla="*/ 143 h 143"/>
                      <a:gd name="T18" fmla="*/ 121 w 139"/>
                      <a:gd name="T19" fmla="*/ 139 h 143"/>
                      <a:gd name="T20" fmla="*/ 121 w 139"/>
                      <a:gd name="T21" fmla="*/ 130 h 143"/>
                      <a:gd name="T22" fmla="*/ 134 w 139"/>
                      <a:gd name="T23" fmla="*/ 125 h 143"/>
                      <a:gd name="T24" fmla="*/ 134 w 139"/>
                      <a:gd name="T25" fmla="*/ 125 h 143"/>
                      <a:gd name="T26" fmla="*/ 139 w 139"/>
                      <a:gd name="T27" fmla="*/ 125 h 143"/>
                      <a:gd name="T28" fmla="*/ 139 w 139"/>
                      <a:gd name="T29" fmla="*/ 121 h 143"/>
                      <a:gd name="T30" fmla="*/ 134 w 139"/>
                      <a:gd name="T31" fmla="*/ 112 h 143"/>
                      <a:gd name="T32" fmla="*/ 130 w 139"/>
                      <a:gd name="T33" fmla="*/ 108 h 143"/>
                      <a:gd name="T34" fmla="*/ 130 w 139"/>
                      <a:gd name="T35" fmla="*/ 94 h 143"/>
                      <a:gd name="T36" fmla="*/ 108 w 139"/>
                      <a:gd name="T37" fmla="*/ 76 h 143"/>
                      <a:gd name="T38" fmla="*/ 99 w 139"/>
                      <a:gd name="T39" fmla="*/ 54 h 143"/>
                      <a:gd name="T40" fmla="*/ 108 w 139"/>
                      <a:gd name="T41" fmla="*/ 36 h 143"/>
                      <a:gd name="T42" fmla="*/ 108 w 139"/>
                      <a:gd name="T43" fmla="*/ 27 h 143"/>
                      <a:gd name="T44" fmla="*/ 99 w 139"/>
                      <a:gd name="T45" fmla="*/ 27 h 143"/>
                      <a:gd name="T46" fmla="*/ 90 w 139"/>
                      <a:gd name="T47" fmla="*/ 0 h 143"/>
                      <a:gd name="T48" fmla="*/ 81 w 139"/>
                      <a:gd name="T49" fmla="*/ 5 h 143"/>
                      <a:gd name="T50" fmla="*/ 63 w 139"/>
                      <a:gd name="T51" fmla="*/ 0 h 143"/>
                      <a:gd name="T52" fmla="*/ 58 w 139"/>
                      <a:gd name="T53" fmla="*/ 5 h 143"/>
                      <a:gd name="T54" fmla="*/ 54 w 139"/>
                      <a:gd name="T55" fmla="*/ 9 h 143"/>
                      <a:gd name="T56" fmla="*/ 41 w 139"/>
                      <a:gd name="T57" fmla="*/ 18 h 143"/>
                      <a:gd name="T58" fmla="*/ 36 w 139"/>
                      <a:gd name="T59" fmla="*/ 45 h 143"/>
                      <a:gd name="T60" fmla="*/ 0 w 139"/>
                      <a:gd name="T61" fmla="*/ 7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9" h="143">
                        <a:moveTo>
                          <a:pt x="0" y="72"/>
                        </a:moveTo>
                        <a:lnTo>
                          <a:pt x="9" y="90"/>
                        </a:lnTo>
                        <a:lnTo>
                          <a:pt x="32" y="94"/>
                        </a:lnTo>
                        <a:lnTo>
                          <a:pt x="63" y="117"/>
                        </a:lnTo>
                        <a:lnTo>
                          <a:pt x="63" y="125"/>
                        </a:lnTo>
                        <a:lnTo>
                          <a:pt x="72" y="125"/>
                        </a:lnTo>
                        <a:lnTo>
                          <a:pt x="72" y="139"/>
                        </a:lnTo>
                        <a:lnTo>
                          <a:pt x="85" y="143"/>
                        </a:lnTo>
                        <a:lnTo>
                          <a:pt x="112" y="143"/>
                        </a:lnTo>
                        <a:lnTo>
                          <a:pt x="121" y="139"/>
                        </a:lnTo>
                        <a:lnTo>
                          <a:pt x="121" y="130"/>
                        </a:lnTo>
                        <a:lnTo>
                          <a:pt x="134" y="125"/>
                        </a:lnTo>
                        <a:lnTo>
                          <a:pt x="134" y="125"/>
                        </a:lnTo>
                        <a:lnTo>
                          <a:pt x="139" y="125"/>
                        </a:lnTo>
                        <a:lnTo>
                          <a:pt x="139" y="121"/>
                        </a:lnTo>
                        <a:lnTo>
                          <a:pt x="134" y="112"/>
                        </a:lnTo>
                        <a:lnTo>
                          <a:pt x="130" y="108"/>
                        </a:lnTo>
                        <a:lnTo>
                          <a:pt x="130" y="94"/>
                        </a:lnTo>
                        <a:lnTo>
                          <a:pt x="108" y="76"/>
                        </a:lnTo>
                        <a:lnTo>
                          <a:pt x="99" y="54"/>
                        </a:lnTo>
                        <a:lnTo>
                          <a:pt x="108" y="36"/>
                        </a:lnTo>
                        <a:lnTo>
                          <a:pt x="108" y="27"/>
                        </a:lnTo>
                        <a:lnTo>
                          <a:pt x="99" y="27"/>
                        </a:lnTo>
                        <a:lnTo>
                          <a:pt x="90" y="0"/>
                        </a:lnTo>
                        <a:lnTo>
                          <a:pt x="81" y="5"/>
                        </a:lnTo>
                        <a:lnTo>
                          <a:pt x="63" y="0"/>
                        </a:lnTo>
                        <a:lnTo>
                          <a:pt x="58" y="5"/>
                        </a:lnTo>
                        <a:lnTo>
                          <a:pt x="54" y="9"/>
                        </a:lnTo>
                        <a:lnTo>
                          <a:pt x="41" y="18"/>
                        </a:lnTo>
                        <a:lnTo>
                          <a:pt x="36" y="45"/>
                        </a:lnTo>
                        <a:lnTo>
                          <a:pt x="0" y="7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95" name="Freeform 127">
                    <a:extLst>
                      <a:ext uri="{FF2B5EF4-FFF2-40B4-BE49-F238E27FC236}">
                        <a16:creationId xmlns:a16="http://schemas.microsoft.com/office/drawing/2014/main" id="{8E508DAE-D37A-4FE7-8693-A27866FF9E53}"/>
                      </a:ext>
                    </a:extLst>
                  </p:cNvPr>
                  <p:cNvSpPr>
                    <a:spLocks/>
                  </p:cNvSpPr>
                  <p:nvPr/>
                </p:nvSpPr>
                <p:spPr bwMode="gray">
                  <a:xfrm>
                    <a:off x="3174" y="2265"/>
                    <a:ext cx="22" cy="67"/>
                  </a:xfrm>
                  <a:custGeom>
                    <a:avLst/>
                    <a:gdLst>
                      <a:gd name="T0" fmla="*/ 0 w 22"/>
                      <a:gd name="T1" fmla="*/ 32 h 67"/>
                      <a:gd name="T2" fmla="*/ 4 w 22"/>
                      <a:gd name="T3" fmla="*/ 36 h 67"/>
                      <a:gd name="T4" fmla="*/ 0 w 22"/>
                      <a:gd name="T5" fmla="*/ 45 h 67"/>
                      <a:gd name="T6" fmla="*/ 9 w 22"/>
                      <a:gd name="T7" fmla="*/ 67 h 67"/>
                      <a:gd name="T8" fmla="*/ 13 w 22"/>
                      <a:gd name="T9" fmla="*/ 63 h 67"/>
                      <a:gd name="T10" fmla="*/ 18 w 22"/>
                      <a:gd name="T11" fmla="*/ 41 h 67"/>
                      <a:gd name="T12" fmla="*/ 18 w 22"/>
                      <a:gd name="T13" fmla="*/ 27 h 67"/>
                      <a:gd name="T14" fmla="*/ 13 w 22"/>
                      <a:gd name="T15" fmla="*/ 23 h 67"/>
                      <a:gd name="T16" fmla="*/ 13 w 22"/>
                      <a:gd name="T17" fmla="*/ 23 h 67"/>
                      <a:gd name="T18" fmla="*/ 22 w 22"/>
                      <a:gd name="T19" fmla="*/ 14 h 67"/>
                      <a:gd name="T20" fmla="*/ 22 w 22"/>
                      <a:gd name="T21" fmla="*/ 0 h 67"/>
                      <a:gd name="T22" fmla="*/ 13 w 22"/>
                      <a:gd name="T23" fmla="*/ 5 h 67"/>
                      <a:gd name="T24" fmla="*/ 9 w 22"/>
                      <a:gd name="T25" fmla="*/ 5 h 67"/>
                      <a:gd name="T26" fmla="*/ 4 w 22"/>
                      <a:gd name="T27" fmla="*/ 5 h 67"/>
                      <a:gd name="T28" fmla="*/ 4 w 22"/>
                      <a:gd name="T29" fmla="*/ 9 h 67"/>
                      <a:gd name="T30" fmla="*/ 0 w 22"/>
                      <a:gd name="T31" fmla="*/ 3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67">
                        <a:moveTo>
                          <a:pt x="0" y="32"/>
                        </a:moveTo>
                        <a:lnTo>
                          <a:pt x="4" y="36"/>
                        </a:lnTo>
                        <a:lnTo>
                          <a:pt x="0" y="45"/>
                        </a:lnTo>
                        <a:lnTo>
                          <a:pt x="9" y="67"/>
                        </a:lnTo>
                        <a:lnTo>
                          <a:pt x="13" y="63"/>
                        </a:lnTo>
                        <a:lnTo>
                          <a:pt x="18" y="41"/>
                        </a:lnTo>
                        <a:lnTo>
                          <a:pt x="18" y="27"/>
                        </a:lnTo>
                        <a:lnTo>
                          <a:pt x="13" y="23"/>
                        </a:lnTo>
                        <a:lnTo>
                          <a:pt x="13" y="23"/>
                        </a:lnTo>
                        <a:lnTo>
                          <a:pt x="22" y="14"/>
                        </a:lnTo>
                        <a:lnTo>
                          <a:pt x="22" y="0"/>
                        </a:lnTo>
                        <a:lnTo>
                          <a:pt x="13" y="5"/>
                        </a:lnTo>
                        <a:lnTo>
                          <a:pt x="9" y="5"/>
                        </a:lnTo>
                        <a:lnTo>
                          <a:pt x="4" y="5"/>
                        </a:lnTo>
                        <a:lnTo>
                          <a:pt x="4" y="9"/>
                        </a:lnTo>
                        <a:lnTo>
                          <a:pt x="0" y="3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96" name="Freeform 128">
                    <a:extLst>
                      <a:ext uri="{FF2B5EF4-FFF2-40B4-BE49-F238E27FC236}">
                        <a16:creationId xmlns:a16="http://schemas.microsoft.com/office/drawing/2014/main" id="{8E2A94C3-9A68-4967-B187-9EA1CCBB7313}"/>
                      </a:ext>
                    </a:extLst>
                  </p:cNvPr>
                  <p:cNvSpPr>
                    <a:spLocks noEditPoints="1"/>
                  </p:cNvSpPr>
                  <p:nvPr/>
                </p:nvSpPr>
                <p:spPr bwMode="gray">
                  <a:xfrm>
                    <a:off x="4447" y="2037"/>
                    <a:ext cx="317" cy="380"/>
                  </a:xfrm>
                  <a:custGeom>
                    <a:avLst/>
                    <a:gdLst>
                      <a:gd name="T0" fmla="*/ 0 w 317"/>
                      <a:gd name="T1" fmla="*/ 380 h 380"/>
                      <a:gd name="T2" fmla="*/ 13 w 317"/>
                      <a:gd name="T3" fmla="*/ 380 h 380"/>
                      <a:gd name="T4" fmla="*/ 9 w 317"/>
                      <a:gd name="T5" fmla="*/ 380 h 380"/>
                      <a:gd name="T6" fmla="*/ 27 w 317"/>
                      <a:gd name="T7" fmla="*/ 376 h 380"/>
                      <a:gd name="T8" fmla="*/ 27 w 317"/>
                      <a:gd name="T9" fmla="*/ 367 h 380"/>
                      <a:gd name="T10" fmla="*/ 58 w 317"/>
                      <a:gd name="T11" fmla="*/ 349 h 380"/>
                      <a:gd name="T12" fmla="*/ 71 w 317"/>
                      <a:gd name="T13" fmla="*/ 340 h 380"/>
                      <a:gd name="T14" fmla="*/ 80 w 317"/>
                      <a:gd name="T15" fmla="*/ 331 h 380"/>
                      <a:gd name="T16" fmla="*/ 76 w 317"/>
                      <a:gd name="T17" fmla="*/ 322 h 380"/>
                      <a:gd name="T18" fmla="*/ 116 w 317"/>
                      <a:gd name="T19" fmla="*/ 228 h 380"/>
                      <a:gd name="T20" fmla="*/ 107 w 317"/>
                      <a:gd name="T21" fmla="*/ 219 h 380"/>
                      <a:gd name="T22" fmla="*/ 85 w 317"/>
                      <a:gd name="T23" fmla="*/ 233 h 380"/>
                      <a:gd name="T24" fmla="*/ 98 w 317"/>
                      <a:gd name="T25" fmla="*/ 251 h 380"/>
                      <a:gd name="T26" fmla="*/ 116 w 317"/>
                      <a:gd name="T27" fmla="*/ 264 h 380"/>
                      <a:gd name="T28" fmla="*/ 174 w 317"/>
                      <a:gd name="T29" fmla="*/ 193 h 380"/>
                      <a:gd name="T30" fmla="*/ 161 w 317"/>
                      <a:gd name="T31" fmla="*/ 188 h 380"/>
                      <a:gd name="T32" fmla="*/ 116 w 317"/>
                      <a:gd name="T33" fmla="*/ 202 h 380"/>
                      <a:gd name="T34" fmla="*/ 112 w 317"/>
                      <a:gd name="T35" fmla="*/ 219 h 380"/>
                      <a:gd name="T36" fmla="*/ 129 w 317"/>
                      <a:gd name="T37" fmla="*/ 215 h 380"/>
                      <a:gd name="T38" fmla="*/ 125 w 317"/>
                      <a:gd name="T39" fmla="*/ 233 h 380"/>
                      <a:gd name="T40" fmla="*/ 143 w 317"/>
                      <a:gd name="T41" fmla="*/ 224 h 380"/>
                      <a:gd name="T42" fmla="*/ 152 w 317"/>
                      <a:gd name="T43" fmla="*/ 215 h 380"/>
                      <a:gd name="T44" fmla="*/ 134 w 317"/>
                      <a:gd name="T45" fmla="*/ 219 h 380"/>
                      <a:gd name="T46" fmla="*/ 161 w 317"/>
                      <a:gd name="T47" fmla="*/ 210 h 380"/>
                      <a:gd name="T48" fmla="*/ 170 w 317"/>
                      <a:gd name="T49" fmla="*/ 215 h 380"/>
                      <a:gd name="T50" fmla="*/ 183 w 317"/>
                      <a:gd name="T51" fmla="*/ 215 h 380"/>
                      <a:gd name="T52" fmla="*/ 214 w 317"/>
                      <a:gd name="T53" fmla="*/ 197 h 380"/>
                      <a:gd name="T54" fmla="*/ 223 w 317"/>
                      <a:gd name="T55" fmla="*/ 210 h 380"/>
                      <a:gd name="T56" fmla="*/ 232 w 317"/>
                      <a:gd name="T57" fmla="*/ 197 h 380"/>
                      <a:gd name="T58" fmla="*/ 246 w 317"/>
                      <a:gd name="T59" fmla="*/ 188 h 380"/>
                      <a:gd name="T60" fmla="*/ 250 w 317"/>
                      <a:gd name="T61" fmla="*/ 170 h 380"/>
                      <a:gd name="T62" fmla="*/ 255 w 317"/>
                      <a:gd name="T63" fmla="*/ 139 h 380"/>
                      <a:gd name="T64" fmla="*/ 259 w 317"/>
                      <a:gd name="T65" fmla="*/ 135 h 380"/>
                      <a:gd name="T66" fmla="*/ 255 w 317"/>
                      <a:gd name="T67" fmla="*/ 94 h 380"/>
                      <a:gd name="T68" fmla="*/ 250 w 317"/>
                      <a:gd name="T69" fmla="*/ 85 h 380"/>
                      <a:gd name="T70" fmla="*/ 241 w 317"/>
                      <a:gd name="T71" fmla="*/ 85 h 380"/>
                      <a:gd name="T72" fmla="*/ 228 w 317"/>
                      <a:gd name="T73" fmla="*/ 112 h 380"/>
                      <a:gd name="T74" fmla="*/ 232 w 317"/>
                      <a:gd name="T75" fmla="*/ 130 h 380"/>
                      <a:gd name="T76" fmla="*/ 192 w 317"/>
                      <a:gd name="T77" fmla="*/ 161 h 380"/>
                      <a:gd name="T78" fmla="*/ 188 w 317"/>
                      <a:gd name="T79" fmla="*/ 161 h 380"/>
                      <a:gd name="T80" fmla="*/ 179 w 317"/>
                      <a:gd name="T81" fmla="*/ 184 h 380"/>
                      <a:gd name="T82" fmla="*/ 255 w 317"/>
                      <a:gd name="T83" fmla="*/ 41 h 380"/>
                      <a:gd name="T84" fmla="*/ 241 w 317"/>
                      <a:gd name="T85" fmla="*/ 45 h 380"/>
                      <a:gd name="T86" fmla="*/ 232 w 317"/>
                      <a:gd name="T87" fmla="*/ 63 h 380"/>
                      <a:gd name="T88" fmla="*/ 241 w 317"/>
                      <a:gd name="T89" fmla="*/ 81 h 380"/>
                      <a:gd name="T90" fmla="*/ 255 w 317"/>
                      <a:gd name="T91" fmla="*/ 72 h 380"/>
                      <a:gd name="T92" fmla="*/ 250 w 317"/>
                      <a:gd name="T93" fmla="*/ 59 h 380"/>
                      <a:gd name="T94" fmla="*/ 255 w 317"/>
                      <a:gd name="T95" fmla="*/ 59 h 380"/>
                      <a:gd name="T96" fmla="*/ 286 w 317"/>
                      <a:gd name="T97" fmla="*/ 72 h 380"/>
                      <a:gd name="T98" fmla="*/ 308 w 317"/>
                      <a:gd name="T99" fmla="*/ 50 h 380"/>
                      <a:gd name="T100" fmla="*/ 308 w 317"/>
                      <a:gd name="T101" fmla="*/ 32 h 380"/>
                      <a:gd name="T102" fmla="*/ 299 w 317"/>
                      <a:gd name="T103" fmla="*/ 32 h 380"/>
                      <a:gd name="T104" fmla="*/ 255 w 317"/>
                      <a:gd name="T105" fmla="*/ 5 h 380"/>
                      <a:gd name="T106" fmla="*/ 259 w 317"/>
                      <a:gd name="T107" fmla="*/ 3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7" h="380">
                        <a:moveTo>
                          <a:pt x="9" y="380"/>
                        </a:moveTo>
                        <a:lnTo>
                          <a:pt x="4" y="376"/>
                        </a:lnTo>
                        <a:lnTo>
                          <a:pt x="0" y="380"/>
                        </a:lnTo>
                        <a:lnTo>
                          <a:pt x="4" y="380"/>
                        </a:lnTo>
                        <a:lnTo>
                          <a:pt x="9" y="380"/>
                        </a:lnTo>
                        <a:lnTo>
                          <a:pt x="13" y="380"/>
                        </a:lnTo>
                        <a:lnTo>
                          <a:pt x="18" y="376"/>
                        </a:lnTo>
                        <a:lnTo>
                          <a:pt x="9" y="376"/>
                        </a:lnTo>
                        <a:lnTo>
                          <a:pt x="9" y="380"/>
                        </a:lnTo>
                        <a:close/>
                        <a:moveTo>
                          <a:pt x="27" y="367"/>
                        </a:moveTo>
                        <a:lnTo>
                          <a:pt x="22" y="371"/>
                        </a:lnTo>
                        <a:lnTo>
                          <a:pt x="27" y="376"/>
                        </a:lnTo>
                        <a:lnTo>
                          <a:pt x="31" y="380"/>
                        </a:lnTo>
                        <a:lnTo>
                          <a:pt x="31" y="376"/>
                        </a:lnTo>
                        <a:lnTo>
                          <a:pt x="27" y="367"/>
                        </a:lnTo>
                        <a:close/>
                        <a:moveTo>
                          <a:pt x="67" y="336"/>
                        </a:moveTo>
                        <a:lnTo>
                          <a:pt x="67" y="340"/>
                        </a:lnTo>
                        <a:lnTo>
                          <a:pt x="58" y="349"/>
                        </a:lnTo>
                        <a:lnTo>
                          <a:pt x="62" y="353"/>
                        </a:lnTo>
                        <a:lnTo>
                          <a:pt x="71" y="349"/>
                        </a:lnTo>
                        <a:lnTo>
                          <a:pt x="71" y="340"/>
                        </a:lnTo>
                        <a:lnTo>
                          <a:pt x="67" y="336"/>
                        </a:lnTo>
                        <a:close/>
                        <a:moveTo>
                          <a:pt x="76" y="322"/>
                        </a:moveTo>
                        <a:lnTo>
                          <a:pt x="80" y="331"/>
                        </a:lnTo>
                        <a:lnTo>
                          <a:pt x="85" y="322"/>
                        </a:lnTo>
                        <a:lnTo>
                          <a:pt x="89" y="313"/>
                        </a:lnTo>
                        <a:lnTo>
                          <a:pt x="76" y="322"/>
                        </a:lnTo>
                        <a:close/>
                        <a:moveTo>
                          <a:pt x="116" y="242"/>
                        </a:moveTo>
                        <a:lnTo>
                          <a:pt x="121" y="237"/>
                        </a:lnTo>
                        <a:lnTo>
                          <a:pt x="116" y="228"/>
                        </a:lnTo>
                        <a:lnTo>
                          <a:pt x="112" y="233"/>
                        </a:lnTo>
                        <a:lnTo>
                          <a:pt x="116" y="224"/>
                        </a:lnTo>
                        <a:lnTo>
                          <a:pt x="107" y="219"/>
                        </a:lnTo>
                        <a:lnTo>
                          <a:pt x="103" y="219"/>
                        </a:lnTo>
                        <a:lnTo>
                          <a:pt x="89" y="224"/>
                        </a:lnTo>
                        <a:lnTo>
                          <a:pt x="85" y="233"/>
                        </a:lnTo>
                        <a:lnTo>
                          <a:pt x="94" y="242"/>
                        </a:lnTo>
                        <a:lnTo>
                          <a:pt x="89" y="251"/>
                        </a:lnTo>
                        <a:lnTo>
                          <a:pt x="98" y="251"/>
                        </a:lnTo>
                        <a:lnTo>
                          <a:pt x="94" y="264"/>
                        </a:lnTo>
                        <a:lnTo>
                          <a:pt x="107" y="273"/>
                        </a:lnTo>
                        <a:lnTo>
                          <a:pt x="116" y="264"/>
                        </a:lnTo>
                        <a:lnTo>
                          <a:pt x="112" y="255"/>
                        </a:lnTo>
                        <a:lnTo>
                          <a:pt x="116" y="242"/>
                        </a:lnTo>
                        <a:close/>
                        <a:moveTo>
                          <a:pt x="174" y="193"/>
                        </a:moveTo>
                        <a:lnTo>
                          <a:pt x="170" y="188"/>
                        </a:lnTo>
                        <a:lnTo>
                          <a:pt x="170" y="184"/>
                        </a:lnTo>
                        <a:lnTo>
                          <a:pt x="161" y="188"/>
                        </a:lnTo>
                        <a:lnTo>
                          <a:pt x="143" y="193"/>
                        </a:lnTo>
                        <a:lnTo>
                          <a:pt x="134" y="188"/>
                        </a:lnTo>
                        <a:lnTo>
                          <a:pt x="116" y="202"/>
                        </a:lnTo>
                        <a:lnTo>
                          <a:pt x="107" y="206"/>
                        </a:lnTo>
                        <a:lnTo>
                          <a:pt x="107" y="215"/>
                        </a:lnTo>
                        <a:lnTo>
                          <a:pt x="112" y="219"/>
                        </a:lnTo>
                        <a:lnTo>
                          <a:pt x="116" y="215"/>
                        </a:lnTo>
                        <a:lnTo>
                          <a:pt x="121" y="219"/>
                        </a:lnTo>
                        <a:lnTo>
                          <a:pt x="129" y="215"/>
                        </a:lnTo>
                        <a:lnTo>
                          <a:pt x="129" y="224"/>
                        </a:lnTo>
                        <a:lnTo>
                          <a:pt x="125" y="228"/>
                        </a:lnTo>
                        <a:lnTo>
                          <a:pt x="125" y="233"/>
                        </a:lnTo>
                        <a:lnTo>
                          <a:pt x="138" y="237"/>
                        </a:lnTo>
                        <a:lnTo>
                          <a:pt x="138" y="228"/>
                        </a:lnTo>
                        <a:lnTo>
                          <a:pt x="143" y="224"/>
                        </a:lnTo>
                        <a:lnTo>
                          <a:pt x="152" y="228"/>
                        </a:lnTo>
                        <a:lnTo>
                          <a:pt x="161" y="219"/>
                        </a:lnTo>
                        <a:lnTo>
                          <a:pt x="152" y="215"/>
                        </a:lnTo>
                        <a:lnTo>
                          <a:pt x="143" y="215"/>
                        </a:lnTo>
                        <a:lnTo>
                          <a:pt x="143" y="219"/>
                        </a:lnTo>
                        <a:lnTo>
                          <a:pt x="134" y="219"/>
                        </a:lnTo>
                        <a:lnTo>
                          <a:pt x="134" y="210"/>
                        </a:lnTo>
                        <a:lnTo>
                          <a:pt x="161" y="206"/>
                        </a:lnTo>
                        <a:lnTo>
                          <a:pt x="161" y="210"/>
                        </a:lnTo>
                        <a:lnTo>
                          <a:pt x="161" y="215"/>
                        </a:lnTo>
                        <a:lnTo>
                          <a:pt x="165" y="210"/>
                        </a:lnTo>
                        <a:lnTo>
                          <a:pt x="170" y="215"/>
                        </a:lnTo>
                        <a:lnTo>
                          <a:pt x="170" y="219"/>
                        </a:lnTo>
                        <a:lnTo>
                          <a:pt x="179" y="228"/>
                        </a:lnTo>
                        <a:lnTo>
                          <a:pt x="183" y="215"/>
                        </a:lnTo>
                        <a:lnTo>
                          <a:pt x="192" y="210"/>
                        </a:lnTo>
                        <a:lnTo>
                          <a:pt x="210" y="206"/>
                        </a:lnTo>
                        <a:lnTo>
                          <a:pt x="214" y="197"/>
                        </a:lnTo>
                        <a:lnTo>
                          <a:pt x="223" y="197"/>
                        </a:lnTo>
                        <a:lnTo>
                          <a:pt x="219" y="206"/>
                        </a:lnTo>
                        <a:lnTo>
                          <a:pt x="223" y="210"/>
                        </a:lnTo>
                        <a:lnTo>
                          <a:pt x="228" y="202"/>
                        </a:lnTo>
                        <a:lnTo>
                          <a:pt x="228" y="193"/>
                        </a:lnTo>
                        <a:lnTo>
                          <a:pt x="232" y="197"/>
                        </a:lnTo>
                        <a:lnTo>
                          <a:pt x="237" y="202"/>
                        </a:lnTo>
                        <a:lnTo>
                          <a:pt x="246" y="197"/>
                        </a:lnTo>
                        <a:lnTo>
                          <a:pt x="246" y="188"/>
                        </a:lnTo>
                        <a:lnTo>
                          <a:pt x="250" y="184"/>
                        </a:lnTo>
                        <a:lnTo>
                          <a:pt x="246" y="179"/>
                        </a:lnTo>
                        <a:lnTo>
                          <a:pt x="250" y="170"/>
                        </a:lnTo>
                        <a:lnTo>
                          <a:pt x="255" y="161"/>
                        </a:lnTo>
                        <a:lnTo>
                          <a:pt x="250" y="148"/>
                        </a:lnTo>
                        <a:lnTo>
                          <a:pt x="255" y="139"/>
                        </a:lnTo>
                        <a:lnTo>
                          <a:pt x="259" y="148"/>
                        </a:lnTo>
                        <a:lnTo>
                          <a:pt x="259" y="143"/>
                        </a:lnTo>
                        <a:lnTo>
                          <a:pt x="259" y="135"/>
                        </a:lnTo>
                        <a:lnTo>
                          <a:pt x="263" y="130"/>
                        </a:lnTo>
                        <a:lnTo>
                          <a:pt x="263" y="99"/>
                        </a:lnTo>
                        <a:lnTo>
                          <a:pt x="255" y="94"/>
                        </a:lnTo>
                        <a:lnTo>
                          <a:pt x="255" y="81"/>
                        </a:lnTo>
                        <a:lnTo>
                          <a:pt x="250" y="76"/>
                        </a:lnTo>
                        <a:lnTo>
                          <a:pt x="250" y="85"/>
                        </a:lnTo>
                        <a:lnTo>
                          <a:pt x="250" y="90"/>
                        </a:lnTo>
                        <a:lnTo>
                          <a:pt x="246" y="90"/>
                        </a:lnTo>
                        <a:lnTo>
                          <a:pt x="241" y="85"/>
                        </a:lnTo>
                        <a:lnTo>
                          <a:pt x="232" y="94"/>
                        </a:lnTo>
                        <a:lnTo>
                          <a:pt x="237" y="99"/>
                        </a:lnTo>
                        <a:lnTo>
                          <a:pt x="228" y="112"/>
                        </a:lnTo>
                        <a:lnTo>
                          <a:pt x="241" y="117"/>
                        </a:lnTo>
                        <a:lnTo>
                          <a:pt x="237" y="126"/>
                        </a:lnTo>
                        <a:lnTo>
                          <a:pt x="232" y="130"/>
                        </a:lnTo>
                        <a:lnTo>
                          <a:pt x="210" y="161"/>
                        </a:lnTo>
                        <a:lnTo>
                          <a:pt x="192" y="170"/>
                        </a:lnTo>
                        <a:lnTo>
                          <a:pt x="192" y="161"/>
                        </a:lnTo>
                        <a:lnTo>
                          <a:pt x="196" y="157"/>
                        </a:lnTo>
                        <a:lnTo>
                          <a:pt x="196" y="157"/>
                        </a:lnTo>
                        <a:lnTo>
                          <a:pt x="188" y="161"/>
                        </a:lnTo>
                        <a:lnTo>
                          <a:pt x="188" y="170"/>
                        </a:lnTo>
                        <a:lnTo>
                          <a:pt x="179" y="179"/>
                        </a:lnTo>
                        <a:lnTo>
                          <a:pt x="179" y="184"/>
                        </a:lnTo>
                        <a:lnTo>
                          <a:pt x="174" y="188"/>
                        </a:lnTo>
                        <a:lnTo>
                          <a:pt x="174" y="193"/>
                        </a:lnTo>
                        <a:close/>
                        <a:moveTo>
                          <a:pt x="255" y="41"/>
                        </a:moveTo>
                        <a:lnTo>
                          <a:pt x="250" y="41"/>
                        </a:lnTo>
                        <a:lnTo>
                          <a:pt x="241" y="41"/>
                        </a:lnTo>
                        <a:lnTo>
                          <a:pt x="241" y="45"/>
                        </a:lnTo>
                        <a:lnTo>
                          <a:pt x="241" y="50"/>
                        </a:lnTo>
                        <a:lnTo>
                          <a:pt x="232" y="54"/>
                        </a:lnTo>
                        <a:lnTo>
                          <a:pt x="232" y="63"/>
                        </a:lnTo>
                        <a:lnTo>
                          <a:pt x="237" y="67"/>
                        </a:lnTo>
                        <a:lnTo>
                          <a:pt x="232" y="76"/>
                        </a:lnTo>
                        <a:lnTo>
                          <a:pt x="241" y="81"/>
                        </a:lnTo>
                        <a:lnTo>
                          <a:pt x="246" y="72"/>
                        </a:lnTo>
                        <a:lnTo>
                          <a:pt x="250" y="76"/>
                        </a:lnTo>
                        <a:lnTo>
                          <a:pt x="255" y="72"/>
                        </a:lnTo>
                        <a:lnTo>
                          <a:pt x="250" y="67"/>
                        </a:lnTo>
                        <a:lnTo>
                          <a:pt x="241" y="63"/>
                        </a:lnTo>
                        <a:lnTo>
                          <a:pt x="250" y="59"/>
                        </a:lnTo>
                        <a:lnTo>
                          <a:pt x="250" y="63"/>
                        </a:lnTo>
                        <a:lnTo>
                          <a:pt x="259" y="63"/>
                        </a:lnTo>
                        <a:lnTo>
                          <a:pt x="255" y="59"/>
                        </a:lnTo>
                        <a:lnTo>
                          <a:pt x="259" y="54"/>
                        </a:lnTo>
                        <a:lnTo>
                          <a:pt x="277" y="67"/>
                        </a:lnTo>
                        <a:lnTo>
                          <a:pt x="286" y="72"/>
                        </a:lnTo>
                        <a:lnTo>
                          <a:pt x="286" y="59"/>
                        </a:lnTo>
                        <a:lnTo>
                          <a:pt x="295" y="45"/>
                        </a:lnTo>
                        <a:lnTo>
                          <a:pt x="308" y="50"/>
                        </a:lnTo>
                        <a:lnTo>
                          <a:pt x="317" y="45"/>
                        </a:lnTo>
                        <a:lnTo>
                          <a:pt x="317" y="41"/>
                        </a:lnTo>
                        <a:lnTo>
                          <a:pt x="308" y="32"/>
                        </a:lnTo>
                        <a:lnTo>
                          <a:pt x="317" y="23"/>
                        </a:lnTo>
                        <a:lnTo>
                          <a:pt x="313" y="18"/>
                        </a:lnTo>
                        <a:lnTo>
                          <a:pt x="299" y="32"/>
                        </a:lnTo>
                        <a:lnTo>
                          <a:pt x="286" y="23"/>
                        </a:lnTo>
                        <a:lnTo>
                          <a:pt x="263" y="0"/>
                        </a:lnTo>
                        <a:lnTo>
                          <a:pt x="255" y="5"/>
                        </a:lnTo>
                        <a:lnTo>
                          <a:pt x="259" y="9"/>
                        </a:lnTo>
                        <a:lnTo>
                          <a:pt x="259" y="14"/>
                        </a:lnTo>
                        <a:lnTo>
                          <a:pt x="259" y="32"/>
                        </a:lnTo>
                        <a:lnTo>
                          <a:pt x="255" y="32"/>
                        </a:lnTo>
                        <a:lnTo>
                          <a:pt x="255" y="41"/>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97" name="Freeform 129">
                    <a:extLst>
                      <a:ext uri="{FF2B5EF4-FFF2-40B4-BE49-F238E27FC236}">
                        <a16:creationId xmlns:a16="http://schemas.microsoft.com/office/drawing/2014/main" id="{82A246F9-565B-45B5-B442-2B38BC0DC5A9}"/>
                      </a:ext>
                    </a:extLst>
                  </p:cNvPr>
                  <p:cNvSpPr>
                    <a:spLocks/>
                  </p:cNvSpPr>
                  <p:nvPr/>
                </p:nvSpPr>
                <p:spPr bwMode="gray">
                  <a:xfrm>
                    <a:off x="3348" y="1805"/>
                    <a:ext cx="585" cy="317"/>
                  </a:xfrm>
                  <a:custGeom>
                    <a:avLst/>
                    <a:gdLst>
                      <a:gd name="T0" fmla="*/ 9 w 585"/>
                      <a:gd name="T1" fmla="*/ 179 h 317"/>
                      <a:gd name="T2" fmla="*/ 31 w 585"/>
                      <a:gd name="T3" fmla="*/ 197 h 317"/>
                      <a:gd name="T4" fmla="*/ 36 w 585"/>
                      <a:gd name="T5" fmla="*/ 206 h 317"/>
                      <a:gd name="T6" fmla="*/ 81 w 585"/>
                      <a:gd name="T7" fmla="*/ 192 h 317"/>
                      <a:gd name="T8" fmla="*/ 76 w 585"/>
                      <a:gd name="T9" fmla="*/ 232 h 317"/>
                      <a:gd name="T10" fmla="*/ 72 w 585"/>
                      <a:gd name="T11" fmla="*/ 250 h 317"/>
                      <a:gd name="T12" fmla="*/ 67 w 585"/>
                      <a:gd name="T13" fmla="*/ 277 h 317"/>
                      <a:gd name="T14" fmla="*/ 85 w 585"/>
                      <a:gd name="T15" fmla="*/ 295 h 317"/>
                      <a:gd name="T16" fmla="*/ 112 w 585"/>
                      <a:gd name="T17" fmla="*/ 291 h 317"/>
                      <a:gd name="T18" fmla="*/ 134 w 585"/>
                      <a:gd name="T19" fmla="*/ 313 h 317"/>
                      <a:gd name="T20" fmla="*/ 183 w 585"/>
                      <a:gd name="T21" fmla="*/ 224 h 317"/>
                      <a:gd name="T22" fmla="*/ 210 w 585"/>
                      <a:gd name="T23" fmla="*/ 206 h 317"/>
                      <a:gd name="T24" fmla="*/ 223 w 585"/>
                      <a:gd name="T25" fmla="*/ 241 h 317"/>
                      <a:gd name="T26" fmla="*/ 223 w 585"/>
                      <a:gd name="T27" fmla="*/ 268 h 317"/>
                      <a:gd name="T28" fmla="*/ 273 w 585"/>
                      <a:gd name="T29" fmla="*/ 282 h 317"/>
                      <a:gd name="T30" fmla="*/ 273 w 585"/>
                      <a:gd name="T31" fmla="*/ 304 h 317"/>
                      <a:gd name="T32" fmla="*/ 322 w 585"/>
                      <a:gd name="T33" fmla="*/ 313 h 317"/>
                      <a:gd name="T34" fmla="*/ 371 w 585"/>
                      <a:gd name="T35" fmla="*/ 286 h 317"/>
                      <a:gd name="T36" fmla="*/ 393 w 585"/>
                      <a:gd name="T37" fmla="*/ 282 h 317"/>
                      <a:gd name="T38" fmla="*/ 460 w 585"/>
                      <a:gd name="T39" fmla="*/ 291 h 317"/>
                      <a:gd name="T40" fmla="*/ 474 w 585"/>
                      <a:gd name="T41" fmla="*/ 291 h 317"/>
                      <a:gd name="T42" fmla="*/ 483 w 585"/>
                      <a:gd name="T43" fmla="*/ 299 h 317"/>
                      <a:gd name="T44" fmla="*/ 478 w 585"/>
                      <a:gd name="T45" fmla="*/ 237 h 317"/>
                      <a:gd name="T46" fmla="*/ 550 w 585"/>
                      <a:gd name="T47" fmla="*/ 201 h 317"/>
                      <a:gd name="T48" fmla="*/ 581 w 585"/>
                      <a:gd name="T49" fmla="*/ 152 h 317"/>
                      <a:gd name="T50" fmla="*/ 554 w 585"/>
                      <a:gd name="T51" fmla="*/ 143 h 317"/>
                      <a:gd name="T52" fmla="*/ 523 w 585"/>
                      <a:gd name="T53" fmla="*/ 112 h 317"/>
                      <a:gd name="T54" fmla="*/ 500 w 585"/>
                      <a:gd name="T55" fmla="*/ 116 h 317"/>
                      <a:gd name="T56" fmla="*/ 483 w 585"/>
                      <a:gd name="T57" fmla="*/ 116 h 317"/>
                      <a:gd name="T58" fmla="*/ 433 w 585"/>
                      <a:gd name="T59" fmla="*/ 27 h 317"/>
                      <a:gd name="T60" fmla="*/ 402 w 585"/>
                      <a:gd name="T61" fmla="*/ 49 h 317"/>
                      <a:gd name="T62" fmla="*/ 389 w 585"/>
                      <a:gd name="T63" fmla="*/ 40 h 317"/>
                      <a:gd name="T64" fmla="*/ 357 w 585"/>
                      <a:gd name="T65" fmla="*/ 36 h 317"/>
                      <a:gd name="T66" fmla="*/ 340 w 585"/>
                      <a:gd name="T67" fmla="*/ 9 h 317"/>
                      <a:gd name="T68" fmla="*/ 308 w 585"/>
                      <a:gd name="T69" fmla="*/ 18 h 317"/>
                      <a:gd name="T70" fmla="*/ 268 w 585"/>
                      <a:gd name="T71" fmla="*/ 22 h 317"/>
                      <a:gd name="T72" fmla="*/ 237 w 585"/>
                      <a:gd name="T73" fmla="*/ 36 h 317"/>
                      <a:gd name="T74" fmla="*/ 219 w 585"/>
                      <a:gd name="T75" fmla="*/ 49 h 317"/>
                      <a:gd name="T76" fmla="*/ 210 w 585"/>
                      <a:gd name="T77" fmla="*/ 63 h 317"/>
                      <a:gd name="T78" fmla="*/ 201 w 585"/>
                      <a:gd name="T79" fmla="*/ 94 h 317"/>
                      <a:gd name="T80" fmla="*/ 215 w 585"/>
                      <a:gd name="T81" fmla="*/ 116 h 317"/>
                      <a:gd name="T82" fmla="*/ 183 w 585"/>
                      <a:gd name="T83" fmla="*/ 116 h 317"/>
                      <a:gd name="T84" fmla="*/ 156 w 585"/>
                      <a:gd name="T85" fmla="*/ 112 h 317"/>
                      <a:gd name="T86" fmla="*/ 134 w 585"/>
                      <a:gd name="T87" fmla="*/ 121 h 317"/>
                      <a:gd name="T88" fmla="*/ 116 w 585"/>
                      <a:gd name="T89" fmla="*/ 121 h 317"/>
                      <a:gd name="T90" fmla="*/ 89 w 585"/>
                      <a:gd name="T91" fmla="*/ 103 h 317"/>
                      <a:gd name="T92" fmla="*/ 72 w 585"/>
                      <a:gd name="T93" fmla="*/ 98 h 317"/>
                      <a:gd name="T94" fmla="*/ 36 w 585"/>
                      <a:gd name="T95" fmla="*/ 121 h 317"/>
                      <a:gd name="T96" fmla="*/ 18 w 585"/>
                      <a:gd name="T97" fmla="*/ 125 h 317"/>
                      <a:gd name="T98" fmla="*/ 5 w 585"/>
                      <a:gd name="T99" fmla="*/ 15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5" h="317">
                        <a:moveTo>
                          <a:pt x="5" y="156"/>
                        </a:moveTo>
                        <a:lnTo>
                          <a:pt x="0" y="170"/>
                        </a:lnTo>
                        <a:lnTo>
                          <a:pt x="9" y="174"/>
                        </a:lnTo>
                        <a:lnTo>
                          <a:pt x="9" y="179"/>
                        </a:lnTo>
                        <a:lnTo>
                          <a:pt x="13" y="188"/>
                        </a:lnTo>
                        <a:lnTo>
                          <a:pt x="13" y="179"/>
                        </a:lnTo>
                        <a:lnTo>
                          <a:pt x="22" y="183"/>
                        </a:lnTo>
                        <a:lnTo>
                          <a:pt x="31" y="197"/>
                        </a:lnTo>
                        <a:lnTo>
                          <a:pt x="36" y="201"/>
                        </a:lnTo>
                        <a:lnTo>
                          <a:pt x="31" y="201"/>
                        </a:lnTo>
                        <a:lnTo>
                          <a:pt x="27" y="206"/>
                        </a:lnTo>
                        <a:lnTo>
                          <a:pt x="36" y="206"/>
                        </a:lnTo>
                        <a:lnTo>
                          <a:pt x="36" y="206"/>
                        </a:lnTo>
                        <a:lnTo>
                          <a:pt x="49" y="201"/>
                        </a:lnTo>
                        <a:lnTo>
                          <a:pt x="67" y="192"/>
                        </a:lnTo>
                        <a:lnTo>
                          <a:pt x="81" y="192"/>
                        </a:lnTo>
                        <a:lnTo>
                          <a:pt x="103" y="201"/>
                        </a:lnTo>
                        <a:lnTo>
                          <a:pt x="98" y="224"/>
                        </a:lnTo>
                        <a:lnTo>
                          <a:pt x="98" y="232"/>
                        </a:lnTo>
                        <a:lnTo>
                          <a:pt x="76" y="232"/>
                        </a:lnTo>
                        <a:lnTo>
                          <a:pt x="67" y="232"/>
                        </a:lnTo>
                        <a:lnTo>
                          <a:pt x="67" y="241"/>
                        </a:lnTo>
                        <a:lnTo>
                          <a:pt x="72" y="241"/>
                        </a:lnTo>
                        <a:lnTo>
                          <a:pt x="72" y="250"/>
                        </a:lnTo>
                        <a:lnTo>
                          <a:pt x="54" y="250"/>
                        </a:lnTo>
                        <a:lnTo>
                          <a:pt x="54" y="255"/>
                        </a:lnTo>
                        <a:lnTo>
                          <a:pt x="63" y="255"/>
                        </a:lnTo>
                        <a:lnTo>
                          <a:pt x="67" y="277"/>
                        </a:lnTo>
                        <a:lnTo>
                          <a:pt x="76" y="277"/>
                        </a:lnTo>
                        <a:lnTo>
                          <a:pt x="81" y="286"/>
                        </a:lnTo>
                        <a:lnTo>
                          <a:pt x="89" y="286"/>
                        </a:lnTo>
                        <a:lnTo>
                          <a:pt x="85" y="295"/>
                        </a:lnTo>
                        <a:lnTo>
                          <a:pt x="89" y="304"/>
                        </a:lnTo>
                        <a:lnTo>
                          <a:pt x="89" y="299"/>
                        </a:lnTo>
                        <a:lnTo>
                          <a:pt x="98" y="295"/>
                        </a:lnTo>
                        <a:lnTo>
                          <a:pt x="112" y="291"/>
                        </a:lnTo>
                        <a:lnTo>
                          <a:pt x="121" y="299"/>
                        </a:lnTo>
                        <a:lnTo>
                          <a:pt x="125" y="308"/>
                        </a:lnTo>
                        <a:lnTo>
                          <a:pt x="130" y="313"/>
                        </a:lnTo>
                        <a:lnTo>
                          <a:pt x="134" y="313"/>
                        </a:lnTo>
                        <a:lnTo>
                          <a:pt x="134" y="241"/>
                        </a:lnTo>
                        <a:lnTo>
                          <a:pt x="174" y="228"/>
                        </a:lnTo>
                        <a:lnTo>
                          <a:pt x="174" y="219"/>
                        </a:lnTo>
                        <a:lnTo>
                          <a:pt x="183" y="224"/>
                        </a:lnTo>
                        <a:lnTo>
                          <a:pt x="183" y="210"/>
                        </a:lnTo>
                        <a:lnTo>
                          <a:pt x="192" y="215"/>
                        </a:lnTo>
                        <a:lnTo>
                          <a:pt x="197" y="206"/>
                        </a:lnTo>
                        <a:lnTo>
                          <a:pt x="210" y="206"/>
                        </a:lnTo>
                        <a:lnTo>
                          <a:pt x="219" y="206"/>
                        </a:lnTo>
                        <a:lnTo>
                          <a:pt x="210" y="224"/>
                        </a:lnTo>
                        <a:lnTo>
                          <a:pt x="215" y="237"/>
                        </a:lnTo>
                        <a:lnTo>
                          <a:pt x="223" y="241"/>
                        </a:lnTo>
                        <a:lnTo>
                          <a:pt x="215" y="246"/>
                        </a:lnTo>
                        <a:lnTo>
                          <a:pt x="215" y="255"/>
                        </a:lnTo>
                        <a:lnTo>
                          <a:pt x="215" y="255"/>
                        </a:lnTo>
                        <a:lnTo>
                          <a:pt x="223" y="268"/>
                        </a:lnTo>
                        <a:lnTo>
                          <a:pt x="255" y="268"/>
                        </a:lnTo>
                        <a:lnTo>
                          <a:pt x="259" y="264"/>
                        </a:lnTo>
                        <a:lnTo>
                          <a:pt x="268" y="273"/>
                        </a:lnTo>
                        <a:lnTo>
                          <a:pt x="273" y="282"/>
                        </a:lnTo>
                        <a:lnTo>
                          <a:pt x="277" y="282"/>
                        </a:lnTo>
                        <a:lnTo>
                          <a:pt x="277" y="295"/>
                        </a:lnTo>
                        <a:lnTo>
                          <a:pt x="273" y="295"/>
                        </a:lnTo>
                        <a:lnTo>
                          <a:pt x="273" y="304"/>
                        </a:lnTo>
                        <a:lnTo>
                          <a:pt x="286" y="304"/>
                        </a:lnTo>
                        <a:lnTo>
                          <a:pt x="286" y="313"/>
                        </a:lnTo>
                        <a:lnTo>
                          <a:pt x="317" y="317"/>
                        </a:lnTo>
                        <a:lnTo>
                          <a:pt x="322" y="313"/>
                        </a:lnTo>
                        <a:lnTo>
                          <a:pt x="340" y="295"/>
                        </a:lnTo>
                        <a:lnTo>
                          <a:pt x="353" y="291"/>
                        </a:lnTo>
                        <a:lnTo>
                          <a:pt x="357" y="286"/>
                        </a:lnTo>
                        <a:lnTo>
                          <a:pt x="371" y="286"/>
                        </a:lnTo>
                        <a:lnTo>
                          <a:pt x="384" y="295"/>
                        </a:lnTo>
                        <a:lnTo>
                          <a:pt x="389" y="295"/>
                        </a:lnTo>
                        <a:lnTo>
                          <a:pt x="389" y="282"/>
                        </a:lnTo>
                        <a:lnTo>
                          <a:pt x="393" y="282"/>
                        </a:lnTo>
                        <a:lnTo>
                          <a:pt x="407" y="286"/>
                        </a:lnTo>
                        <a:lnTo>
                          <a:pt x="411" y="291"/>
                        </a:lnTo>
                        <a:lnTo>
                          <a:pt x="429" y="286"/>
                        </a:lnTo>
                        <a:lnTo>
                          <a:pt x="460" y="291"/>
                        </a:lnTo>
                        <a:lnTo>
                          <a:pt x="469" y="286"/>
                        </a:lnTo>
                        <a:lnTo>
                          <a:pt x="474" y="286"/>
                        </a:lnTo>
                        <a:lnTo>
                          <a:pt x="469" y="291"/>
                        </a:lnTo>
                        <a:lnTo>
                          <a:pt x="474" y="291"/>
                        </a:lnTo>
                        <a:lnTo>
                          <a:pt x="474" y="295"/>
                        </a:lnTo>
                        <a:lnTo>
                          <a:pt x="483" y="295"/>
                        </a:lnTo>
                        <a:lnTo>
                          <a:pt x="483" y="299"/>
                        </a:lnTo>
                        <a:lnTo>
                          <a:pt x="483" y="299"/>
                        </a:lnTo>
                        <a:lnTo>
                          <a:pt x="491" y="273"/>
                        </a:lnTo>
                        <a:lnTo>
                          <a:pt x="487" y="250"/>
                        </a:lnTo>
                        <a:lnTo>
                          <a:pt x="478" y="246"/>
                        </a:lnTo>
                        <a:lnTo>
                          <a:pt x="478" y="237"/>
                        </a:lnTo>
                        <a:lnTo>
                          <a:pt x="514" y="237"/>
                        </a:lnTo>
                        <a:lnTo>
                          <a:pt x="509" y="228"/>
                        </a:lnTo>
                        <a:lnTo>
                          <a:pt x="523" y="197"/>
                        </a:lnTo>
                        <a:lnTo>
                          <a:pt x="550" y="201"/>
                        </a:lnTo>
                        <a:lnTo>
                          <a:pt x="563" y="192"/>
                        </a:lnTo>
                        <a:lnTo>
                          <a:pt x="563" y="174"/>
                        </a:lnTo>
                        <a:lnTo>
                          <a:pt x="572" y="165"/>
                        </a:lnTo>
                        <a:lnTo>
                          <a:pt x="581" y="152"/>
                        </a:lnTo>
                        <a:lnTo>
                          <a:pt x="585" y="152"/>
                        </a:lnTo>
                        <a:lnTo>
                          <a:pt x="585" y="148"/>
                        </a:lnTo>
                        <a:lnTo>
                          <a:pt x="563" y="143"/>
                        </a:lnTo>
                        <a:lnTo>
                          <a:pt x="554" y="143"/>
                        </a:lnTo>
                        <a:lnTo>
                          <a:pt x="550" y="130"/>
                        </a:lnTo>
                        <a:lnTo>
                          <a:pt x="545" y="134"/>
                        </a:lnTo>
                        <a:lnTo>
                          <a:pt x="532" y="116"/>
                        </a:lnTo>
                        <a:lnTo>
                          <a:pt x="523" y="112"/>
                        </a:lnTo>
                        <a:lnTo>
                          <a:pt x="518" y="112"/>
                        </a:lnTo>
                        <a:lnTo>
                          <a:pt x="514" y="116"/>
                        </a:lnTo>
                        <a:lnTo>
                          <a:pt x="509" y="121"/>
                        </a:lnTo>
                        <a:lnTo>
                          <a:pt x="500" y="116"/>
                        </a:lnTo>
                        <a:lnTo>
                          <a:pt x="500" y="107"/>
                        </a:lnTo>
                        <a:lnTo>
                          <a:pt x="491" y="107"/>
                        </a:lnTo>
                        <a:lnTo>
                          <a:pt x="487" y="112"/>
                        </a:lnTo>
                        <a:lnTo>
                          <a:pt x="483" y="116"/>
                        </a:lnTo>
                        <a:lnTo>
                          <a:pt x="451" y="63"/>
                        </a:lnTo>
                        <a:lnTo>
                          <a:pt x="433" y="40"/>
                        </a:lnTo>
                        <a:lnTo>
                          <a:pt x="438" y="31"/>
                        </a:lnTo>
                        <a:lnTo>
                          <a:pt x="433" y="27"/>
                        </a:lnTo>
                        <a:lnTo>
                          <a:pt x="424" y="31"/>
                        </a:lnTo>
                        <a:lnTo>
                          <a:pt x="416" y="36"/>
                        </a:lnTo>
                        <a:lnTo>
                          <a:pt x="411" y="40"/>
                        </a:lnTo>
                        <a:lnTo>
                          <a:pt x="402" y="49"/>
                        </a:lnTo>
                        <a:lnTo>
                          <a:pt x="393" y="45"/>
                        </a:lnTo>
                        <a:lnTo>
                          <a:pt x="384" y="49"/>
                        </a:lnTo>
                        <a:lnTo>
                          <a:pt x="384" y="45"/>
                        </a:lnTo>
                        <a:lnTo>
                          <a:pt x="389" y="40"/>
                        </a:lnTo>
                        <a:lnTo>
                          <a:pt x="375" y="36"/>
                        </a:lnTo>
                        <a:lnTo>
                          <a:pt x="371" y="40"/>
                        </a:lnTo>
                        <a:lnTo>
                          <a:pt x="371" y="31"/>
                        </a:lnTo>
                        <a:lnTo>
                          <a:pt x="357" y="36"/>
                        </a:lnTo>
                        <a:lnTo>
                          <a:pt x="353" y="31"/>
                        </a:lnTo>
                        <a:lnTo>
                          <a:pt x="353" y="22"/>
                        </a:lnTo>
                        <a:lnTo>
                          <a:pt x="349" y="9"/>
                        </a:lnTo>
                        <a:lnTo>
                          <a:pt x="340" y="9"/>
                        </a:lnTo>
                        <a:lnTo>
                          <a:pt x="322" y="5"/>
                        </a:lnTo>
                        <a:lnTo>
                          <a:pt x="317" y="9"/>
                        </a:lnTo>
                        <a:lnTo>
                          <a:pt x="313" y="0"/>
                        </a:lnTo>
                        <a:lnTo>
                          <a:pt x="308" y="18"/>
                        </a:lnTo>
                        <a:lnTo>
                          <a:pt x="304" y="13"/>
                        </a:lnTo>
                        <a:lnTo>
                          <a:pt x="299" y="18"/>
                        </a:lnTo>
                        <a:lnTo>
                          <a:pt x="277" y="22"/>
                        </a:lnTo>
                        <a:lnTo>
                          <a:pt x="268" y="22"/>
                        </a:lnTo>
                        <a:lnTo>
                          <a:pt x="264" y="27"/>
                        </a:lnTo>
                        <a:lnTo>
                          <a:pt x="264" y="22"/>
                        </a:lnTo>
                        <a:lnTo>
                          <a:pt x="246" y="31"/>
                        </a:lnTo>
                        <a:lnTo>
                          <a:pt x="237" y="36"/>
                        </a:lnTo>
                        <a:lnTo>
                          <a:pt x="215" y="36"/>
                        </a:lnTo>
                        <a:lnTo>
                          <a:pt x="210" y="40"/>
                        </a:lnTo>
                        <a:lnTo>
                          <a:pt x="206" y="49"/>
                        </a:lnTo>
                        <a:lnTo>
                          <a:pt x="219" y="49"/>
                        </a:lnTo>
                        <a:lnTo>
                          <a:pt x="210" y="54"/>
                        </a:lnTo>
                        <a:lnTo>
                          <a:pt x="219" y="54"/>
                        </a:lnTo>
                        <a:lnTo>
                          <a:pt x="223" y="63"/>
                        </a:lnTo>
                        <a:lnTo>
                          <a:pt x="210" y="63"/>
                        </a:lnTo>
                        <a:lnTo>
                          <a:pt x="201" y="67"/>
                        </a:lnTo>
                        <a:lnTo>
                          <a:pt x="206" y="76"/>
                        </a:lnTo>
                        <a:lnTo>
                          <a:pt x="192" y="85"/>
                        </a:lnTo>
                        <a:lnTo>
                          <a:pt x="201" y="94"/>
                        </a:lnTo>
                        <a:lnTo>
                          <a:pt x="206" y="103"/>
                        </a:lnTo>
                        <a:lnTo>
                          <a:pt x="215" y="103"/>
                        </a:lnTo>
                        <a:lnTo>
                          <a:pt x="215" y="112"/>
                        </a:lnTo>
                        <a:lnTo>
                          <a:pt x="215" y="116"/>
                        </a:lnTo>
                        <a:lnTo>
                          <a:pt x="201" y="121"/>
                        </a:lnTo>
                        <a:lnTo>
                          <a:pt x="192" y="112"/>
                        </a:lnTo>
                        <a:lnTo>
                          <a:pt x="183" y="125"/>
                        </a:lnTo>
                        <a:lnTo>
                          <a:pt x="183" y="116"/>
                        </a:lnTo>
                        <a:lnTo>
                          <a:pt x="179" y="112"/>
                        </a:lnTo>
                        <a:lnTo>
                          <a:pt x="174" y="107"/>
                        </a:lnTo>
                        <a:lnTo>
                          <a:pt x="165" y="107"/>
                        </a:lnTo>
                        <a:lnTo>
                          <a:pt x="156" y="112"/>
                        </a:lnTo>
                        <a:lnTo>
                          <a:pt x="152" y="107"/>
                        </a:lnTo>
                        <a:lnTo>
                          <a:pt x="143" y="107"/>
                        </a:lnTo>
                        <a:lnTo>
                          <a:pt x="139" y="116"/>
                        </a:lnTo>
                        <a:lnTo>
                          <a:pt x="134" y="121"/>
                        </a:lnTo>
                        <a:lnTo>
                          <a:pt x="125" y="116"/>
                        </a:lnTo>
                        <a:lnTo>
                          <a:pt x="121" y="116"/>
                        </a:lnTo>
                        <a:lnTo>
                          <a:pt x="121" y="121"/>
                        </a:lnTo>
                        <a:lnTo>
                          <a:pt x="116" y="121"/>
                        </a:lnTo>
                        <a:lnTo>
                          <a:pt x="112" y="116"/>
                        </a:lnTo>
                        <a:lnTo>
                          <a:pt x="107" y="103"/>
                        </a:lnTo>
                        <a:lnTo>
                          <a:pt x="94" y="98"/>
                        </a:lnTo>
                        <a:lnTo>
                          <a:pt x="89" y="103"/>
                        </a:lnTo>
                        <a:lnTo>
                          <a:pt x="85" y="94"/>
                        </a:lnTo>
                        <a:lnTo>
                          <a:pt x="76" y="98"/>
                        </a:lnTo>
                        <a:lnTo>
                          <a:pt x="72" y="103"/>
                        </a:lnTo>
                        <a:lnTo>
                          <a:pt x="72" y="98"/>
                        </a:lnTo>
                        <a:lnTo>
                          <a:pt x="67" y="94"/>
                        </a:lnTo>
                        <a:lnTo>
                          <a:pt x="63" y="103"/>
                        </a:lnTo>
                        <a:lnTo>
                          <a:pt x="45" y="116"/>
                        </a:lnTo>
                        <a:lnTo>
                          <a:pt x="36" y="121"/>
                        </a:lnTo>
                        <a:lnTo>
                          <a:pt x="31" y="116"/>
                        </a:lnTo>
                        <a:lnTo>
                          <a:pt x="36" y="134"/>
                        </a:lnTo>
                        <a:lnTo>
                          <a:pt x="31" y="139"/>
                        </a:lnTo>
                        <a:lnTo>
                          <a:pt x="18" y="125"/>
                        </a:lnTo>
                        <a:lnTo>
                          <a:pt x="13" y="125"/>
                        </a:lnTo>
                        <a:lnTo>
                          <a:pt x="13" y="139"/>
                        </a:lnTo>
                        <a:lnTo>
                          <a:pt x="9" y="139"/>
                        </a:lnTo>
                        <a:lnTo>
                          <a:pt x="5" y="152"/>
                        </a:lnTo>
                        <a:lnTo>
                          <a:pt x="5" y="156"/>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98" name="Freeform 130">
                    <a:extLst>
                      <a:ext uri="{FF2B5EF4-FFF2-40B4-BE49-F238E27FC236}">
                        <a16:creationId xmlns:a16="http://schemas.microsoft.com/office/drawing/2014/main" id="{73CBB72F-3C9C-4A6E-80DD-A7EF7A670106}"/>
                      </a:ext>
                    </a:extLst>
                  </p:cNvPr>
                  <p:cNvSpPr>
                    <a:spLocks/>
                  </p:cNvSpPr>
                  <p:nvPr/>
                </p:nvSpPr>
                <p:spPr bwMode="gray">
                  <a:xfrm>
                    <a:off x="3183" y="2270"/>
                    <a:ext cx="62" cy="67"/>
                  </a:xfrm>
                  <a:custGeom>
                    <a:avLst/>
                    <a:gdLst>
                      <a:gd name="T0" fmla="*/ 0 w 62"/>
                      <a:gd name="T1" fmla="*/ 62 h 67"/>
                      <a:gd name="T2" fmla="*/ 0 w 62"/>
                      <a:gd name="T3" fmla="*/ 67 h 67"/>
                      <a:gd name="T4" fmla="*/ 22 w 62"/>
                      <a:gd name="T5" fmla="*/ 67 h 67"/>
                      <a:gd name="T6" fmla="*/ 27 w 62"/>
                      <a:gd name="T7" fmla="*/ 58 h 67"/>
                      <a:gd name="T8" fmla="*/ 40 w 62"/>
                      <a:gd name="T9" fmla="*/ 49 h 67"/>
                      <a:gd name="T10" fmla="*/ 36 w 62"/>
                      <a:gd name="T11" fmla="*/ 31 h 67"/>
                      <a:gd name="T12" fmla="*/ 62 w 62"/>
                      <a:gd name="T13" fmla="*/ 18 h 67"/>
                      <a:gd name="T14" fmla="*/ 53 w 62"/>
                      <a:gd name="T15" fmla="*/ 0 h 67"/>
                      <a:gd name="T16" fmla="*/ 49 w 62"/>
                      <a:gd name="T17" fmla="*/ 0 h 67"/>
                      <a:gd name="T18" fmla="*/ 44 w 62"/>
                      <a:gd name="T19" fmla="*/ 4 h 67"/>
                      <a:gd name="T20" fmla="*/ 27 w 62"/>
                      <a:gd name="T21" fmla="*/ 18 h 67"/>
                      <a:gd name="T22" fmla="*/ 13 w 62"/>
                      <a:gd name="T23" fmla="*/ 9 h 67"/>
                      <a:gd name="T24" fmla="*/ 4 w 62"/>
                      <a:gd name="T25" fmla="*/ 18 h 67"/>
                      <a:gd name="T26" fmla="*/ 4 w 62"/>
                      <a:gd name="T27" fmla="*/ 18 h 67"/>
                      <a:gd name="T28" fmla="*/ 9 w 62"/>
                      <a:gd name="T29" fmla="*/ 22 h 67"/>
                      <a:gd name="T30" fmla="*/ 9 w 62"/>
                      <a:gd name="T31" fmla="*/ 36 h 67"/>
                      <a:gd name="T32" fmla="*/ 4 w 62"/>
                      <a:gd name="T33" fmla="*/ 58 h 67"/>
                      <a:gd name="T34" fmla="*/ 0 w 62"/>
                      <a:gd name="T35" fmla="*/ 6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7">
                        <a:moveTo>
                          <a:pt x="0" y="62"/>
                        </a:moveTo>
                        <a:lnTo>
                          <a:pt x="0" y="67"/>
                        </a:lnTo>
                        <a:lnTo>
                          <a:pt x="22" y="67"/>
                        </a:lnTo>
                        <a:lnTo>
                          <a:pt x="27" y="58"/>
                        </a:lnTo>
                        <a:lnTo>
                          <a:pt x="40" y="49"/>
                        </a:lnTo>
                        <a:lnTo>
                          <a:pt x="36" y="31"/>
                        </a:lnTo>
                        <a:lnTo>
                          <a:pt x="62" y="18"/>
                        </a:lnTo>
                        <a:lnTo>
                          <a:pt x="53" y="0"/>
                        </a:lnTo>
                        <a:lnTo>
                          <a:pt x="49" y="0"/>
                        </a:lnTo>
                        <a:lnTo>
                          <a:pt x="44" y="4"/>
                        </a:lnTo>
                        <a:lnTo>
                          <a:pt x="27" y="18"/>
                        </a:lnTo>
                        <a:lnTo>
                          <a:pt x="13" y="9"/>
                        </a:lnTo>
                        <a:lnTo>
                          <a:pt x="4" y="18"/>
                        </a:lnTo>
                        <a:lnTo>
                          <a:pt x="4" y="18"/>
                        </a:lnTo>
                        <a:lnTo>
                          <a:pt x="9" y="22"/>
                        </a:lnTo>
                        <a:lnTo>
                          <a:pt x="9" y="36"/>
                        </a:lnTo>
                        <a:lnTo>
                          <a:pt x="4" y="58"/>
                        </a:lnTo>
                        <a:lnTo>
                          <a:pt x="0" y="6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99" name="Freeform 131">
                    <a:extLst>
                      <a:ext uri="{FF2B5EF4-FFF2-40B4-BE49-F238E27FC236}">
                        <a16:creationId xmlns:a16="http://schemas.microsoft.com/office/drawing/2014/main" id="{45527762-3814-4E79-87DE-4867495D0186}"/>
                      </a:ext>
                    </a:extLst>
                  </p:cNvPr>
                  <p:cNvSpPr>
                    <a:spLocks/>
                  </p:cNvSpPr>
                  <p:nvPr/>
                </p:nvSpPr>
                <p:spPr bwMode="gray">
                  <a:xfrm>
                    <a:off x="4456" y="2082"/>
                    <a:ext cx="94" cy="107"/>
                  </a:xfrm>
                  <a:custGeom>
                    <a:avLst/>
                    <a:gdLst>
                      <a:gd name="T0" fmla="*/ 0 w 94"/>
                      <a:gd name="T1" fmla="*/ 67 h 107"/>
                      <a:gd name="T2" fmla="*/ 4 w 94"/>
                      <a:gd name="T3" fmla="*/ 67 h 107"/>
                      <a:gd name="T4" fmla="*/ 4 w 94"/>
                      <a:gd name="T5" fmla="*/ 72 h 107"/>
                      <a:gd name="T6" fmla="*/ 13 w 94"/>
                      <a:gd name="T7" fmla="*/ 72 h 107"/>
                      <a:gd name="T8" fmla="*/ 22 w 94"/>
                      <a:gd name="T9" fmla="*/ 72 h 107"/>
                      <a:gd name="T10" fmla="*/ 18 w 94"/>
                      <a:gd name="T11" fmla="*/ 85 h 107"/>
                      <a:gd name="T12" fmla="*/ 22 w 94"/>
                      <a:gd name="T13" fmla="*/ 85 h 107"/>
                      <a:gd name="T14" fmla="*/ 13 w 94"/>
                      <a:gd name="T15" fmla="*/ 90 h 107"/>
                      <a:gd name="T16" fmla="*/ 9 w 94"/>
                      <a:gd name="T17" fmla="*/ 98 h 107"/>
                      <a:gd name="T18" fmla="*/ 13 w 94"/>
                      <a:gd name="T19" fmla="*/ 103 h 107"/>
                      <a:gd name="T20" fmla="*/ 22 w 94"/>
                      <a:gd name="T21" fmla="*/ 107 h 107"/>
                      <a:gd name="T22" fmla="*/ 27 w 94"/>
                      <a:gd name="T23" fmla="*/ 103 h 107"/>
                      <a:gd name="T24" fmla="*/ 36 w 94"/>
                      <a:gd name="T25" fmla="*/ 98 h 107"/>
                      <a:gd name="T26" fmla="*/ 45 w 94"/>
                      <a:gd name="T27" fmla="*/ 98 h 107"/>
                      <a:gd name="T28" fmla="*/ 62 w 94"/>
                      <a:gd name="T29" fmla="*/ 90 h 107"/>
                      <a:gd name="T30" fmla="*/ 62 w 94"/>
                      <a:gd name="T31" fmla="*/ 85 h 107"/>
                      <a:gd name="T32" fmla="*/ 49 w 94"/>
                      <a:gd name="T33" fmla="*/ 81 h 107"/>
                      <a:gd name="T34" fmla="*/ 49 w 94"/>
                      <a:gd name="T35" fmla="*/ 76 h 107"/>
                      <a:gd name="T36" fmla="*/ 58 w 94"/>
                      <a:gd name="T37" fmla="*/ 63 h 107"/>
                      <a:gd name="T38" fmla="*/ 71 w 94"/>
                      <a:gd name="T39" fmla="*/ 58 h 107"/>
                      <a:gd name="T40" fmla="*/ 80 w 94"/>
                      <a:gd name="T41" fmla="*/ 49 h 107"/>
                      <a:gd name="T42" fmla="*/ 85 w 94"/>
                      <a:gd name="T43" fmla="*/ 40 h 107"/>
                      <a:gd name="T44" fmla="*/ 85 w 94"/>
                      <a:gd name="T45" fmla="*/ 22 h 107"/>
                      <a:gd name="T46" fmla="*/ 94 w 94"/>
                      <a:gd name="T47" fmla="*/ 14 h 107"/>
                      <a:gd name="T48" fmla="*/ 85 w 94"/>
                      <a:gd name="T49" fmla="*/ 0 h 107"/>
                      <a:gd name="T50" fmla="*/ 76 w 94"/>
                      <a:gd name="T51" fmla="*/ 9 h 107"/>
                      <a:gd name="T52" fmla="*/ 62 w 94"/>
                      <a:gd name="T53" fmla="*/ 22 h 107"/>
                      <a:gd name="T54" fmla="*/ 62 w 94"/>
                      <a:gd name="T55" fmla="*/ 36 h 107"/>
                      <a:gd name="T56" fmla="*/ 45 w 94"/>
                      <a:gd name="T57" fmla="*/ 27 h 107"/>
                      <a:gd name="T58" fmla="*/ 40 w 94"/>
                      <a:gd name="T59" fmla="*/ 31 h 107"/>
                      <a:gd name="T60" fmla="*/ 27 w 94"/>
                      <a:gd name="T61" fmla="*/ 49 h 107"/>
                      <a:gd name="T62" fmla="*/ 22 w 94"/>
                      <a:gd name="T63" fmla="*/ 49 h 107"/>
                      <a:gd name="T64" fmla="*/ 0 w 94"/>
                      <a:gd name="T65" fmla="*/ 63 h 107"/>
                      <a:gd name="T66" fmla="*/ 0 w 94"/>
                      <a:gd name="T67" fmla="*/ 6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4" h="107">
                        <a:moveTo>
                          <a:pt x="0" y="67"/>
                        </a:moveTo>
                        <a:lnTo>
                          <a:pt x="4" y="67"/>
                        </a:lnTo>
                        <a:lnTo>
                          <a:pt x="4" y="72"/>
                        </a:lnTo>
                        <a:lnTo>
                          <a:pt x="13" y="72"/>
                        </a:lnTo>
                        <a:lnTo>
                          <a:pt x="22" y="72"/>
                        </a:lnTo>
                        <a:lnTo>
                          <a:pt x="18" y="85"/>
                        </a:lnTo>
                        <a:lnTo>
                          <a:pt x="22" y="85"/>
                        </a:lnTo>
                        <a:lnTo>
                          <a:pt x="13" y="90"/>
                        </a:lnTo>
                        <a:lnTo>
                          <a:pt x="9" y="98"/>
                        </a:lnTo>
                        <a:lnTo>
                          <a:pt x="13" y="103"/>
                        </a:lnTo>
                        <a:lnTo>
                          <a:pt x="22" y="107"/>
                        </a:lnTo>
                        <a:lnTo>
                          <a:pt x="27" y="103"/>
                        </a:lnTo>
                        <a:lnTo>
                          <a:pt x="36" y="98"/>
                        </a:lnTo>
                        <a:lnTo>
                          <a:pt x="45" y="98"/>
                        </a:lnTo>
                        <a:lnTo>
                          <a:pt x="62" y="90"/>
                        </a:lnTo>
                        <a:lnTo>
                          <a:pt x="62" y="85"/>
                        </a:lnTo>
                        <a:lnTo>
                          <a:pt x="49" y="81"/>
                        </a:lnTo>
                        <a:lnTo>
                          <a:pt x="49" y="76"/>
                        </a:lnTo>
                        <a:lnTo>
                          <a:pt x="58" y="63"/>
                        </a:lnTo>
                        <a:lnTo>
                          <a:pt x="71" y="58"/>
                        </a:lnTo>
                        <a:lnTo>
                          <a:pt x="80" y="49"/>
                        </a:lnTo>
                        <a:lnTo>
                          <a:pt x="85" y="40"/>
                        </a:lnTo>
                        <a:lnTo>
                          <a:pt x="85" y="22"/>
                        </a:lnTo>
                        <a:lnTo>
                          <a:pt x="94" y="14"/>
                        </a:lnTo>
                        <a:lnTo>
                          <a:pt x="85" y="0"/>
                        </a:lnTo>
                        <a:lnTo>
                          <a:pt x="76" y="9"/>
                        </a:lnTo>
                        <a:lnTo>
                          <a:pt x="62" y="22"/>
                        </a:lnTo>
                        <a:lnTo>
                          <a:pt x="62" y="36"/>
                        </a:lnTo>
                        <a:lnTo>
                          <a:pt x="45" y="27"/>
                        </a:lnTo>
                        <a:lnTo>
                          <a:pt x="40" y="31"/>
                        </a:lnTo>
                        <a:lnTo>
                          <a:pt x="27" y="49"/>
                        </a:lnTo>
                        <a:lnTo>
                          <a:pt x="22" y="49"/>
                        </a:lnTo>
                        <a:lnTo>
                          <a:pt x="0" y="63"/>
                        </a:lnTo>
                        <a:lnTo>
                          <a:pt x="0" y="67"/>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00" name="Freeform 132">
                    <a:extLst>
                      <a:ext uri="{FF2B5EF4-FFF2-40B4-BE49-F238E27FC236}">
                        <a16:creationId xmlns:a16="http://schemas.microsoft.com/office/drawing/2014/main" id="{B3436DB7-2055-4728-B396-EE467BFDDDE5}"/>
                      </a:ext>
                    </a:extLst>
                  </p:cNvPr>
                  <p:cNvSpPr>
                    <a:spLocks/>
                  </p:cNvSpPr>
                  <p:nvPr/>
                </p:nvSpPr>
                <p:spPr bwMode="gray">
                  <a:xfrm>
                    <a:off x="4483" y="2172"/>
                    <a:ext cx="49" cy="75"/>
                  </a:xfrm>
                  <a:custGeom>
                    <a:avLst/>
                    <a:gdLst>
                      <a:gd name="T0" fmla="*/ 9 w 49"/>
                      <a:gd name="T1" fmla="*/ 8 h 75"/>
                      <a:gd name="T2" fmla="*/ 4 w 49"/>
                      <a:gd name="T3" fmla="*/ 17 h 75"/>
                      <a:gd name="T4" fmla="*/ 9 w 49"/>
                      <a:gd name="T5" fmla="*/ 31 h 75"/>
                      <a:gd name="T6" fmla="*/ 0 w 49"/>
                      <a:gd name="T7" fmla="*/ 31 h 75"/>
                      <a:gd name="T8" fmla="*/ 0 w 49"/>
                      <a:gd name="T9" fmla="*/ 35 h 75"/>
                      <a:gd name="T10" fmla="*/ 4 w 49"/>
                      <a:gd name="T11" fmla="*/ 44 h 75"/>
                      <a:gd name="T12" fmla="*/ 4 w 49"/>
                      <a:gd name="T13" fmla="*/ 35 h 75"/>
                      <a:gd name="T14" fmla="*/ 4 w 49"/>
                      <a:gd name="T15" fmla="*/ 53 h 75"/>
                      <a:gd name="T16" fmla="*/ 9 w 49"/>
                      <a:gd name="T17" fmla="*/ 53 h 75"/>
                      <a:gd name="T18" fmla="*/ 4 w 49"/>
                      <a:gd name="T19" fmla="*/ 62 h 75"/>
                      <a:gd name="T20" fmla="*/ 4 w 49"/>
                      <a:gd name="T21" fmla="*/ 75 h 75"/>
                      <a:gd name="T22" fmla="*/ 13 w 49"/>
                      <a:gd name="T23" fmla="*/ 75 h 75"/>
                      <a:gd name="T24" fmla="*/ 18 w 49"/>
                      <a:gd name="T25" fmla="*/ 71 h 75"/>
                      <a:gd name="T26" fmla="*/ 22 w 49"/>
                      <a:gd name="T27" fmla="*/ 75 h 75"/>
                      <a:gd name="T28" fmla="*/ 26 w 49"/>
                      <a:gd name="T29" fmla="*/ 71 h 75"/>
                      <a:gd name="T30" fmla="*/ 26 w 49"/>
                      <a:gd name="T31" fmla="*/ 67 h 75"/>
                      <a:gd name="T32" fmla="*/ 35 w 49"/>
                      <a:gd name="T33" fmla="*/ 71 h 75"/>
                      <a:gd name="T34" fmla="*/ 35 w 49"/>
                      <a:gd name="T35" fmla="*/ 58 h 75"/>
                      <a:gd name="T36" fmla="*/ 40 w 49"/>
                      <a:gd name="T37" fmla="*/ 62 h 75"/>
                      <a:gd name="T38" fmla="*/ 49 w 49"/>
                      <a:gd name="T39" fmla="*/ 53 h 75"/>
                      <a:gd name="T40" fmla="*/ 49 w 49"/>
                      <a:gd name="T41" fmla="*/ 26 h 75"/>
                      <a:gd name="T42" fmla="*/ 35 w 49"/>
                      <a:gd name="T43" fmla="*/ 0 h 75"/>
                      <a:gd name="T44" fmla="*/ 18 w 49"/>
                      <a:gd name="T45" fmla="*/ 8 h 75"/>
                      <a:gd name="T46" fmla="*/ 9 w 49"/>
                      <a:gd name="T47" fmla="*/ 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75">
                        <a:moveTo>
                          <a:pt x="9" y="8"/>
                        </a:moveTo>
                        <a:lnTo>
                          <a:pt x="4" y="17"/>
                        </a:lnTo>
                        <a:lnTo>
                          <a:pt x="9" y="31"/>
                        </a:lnTo>
                        <a:lnTo>
                          <a:pt x="0" y="31"/>
                        </a:lnTo>
                        <a:lnTo>
                          <a:pt x="0" y="35"/>
                        </a:lnTo>
                        <a:lnTo>
                          <a:pt x="4" y="44"/>
                        </a:lnTo>
                        <a:lnTo>
                          <a:pt x="4" y="35"/>
                        </a:lnTo>
                        <a:lnTo>
                          <a:pt x="4" y="53"/>
                        </a:lnTo>
                        <a:lnTo>
                          <a:pt x="9" y="53"/>
                        </a:lnTo>
                        <a:lnTo>
                          <a:pt x="4" y="62"/>
                        </a:lnTo>
                        <a:lnTo>
                          <a:pt x="4" y="75"/>
                        </a:lnTo>
                        <a:lnTo>
                          <a:pt x="13" y="75"/>
                        </a:lnTo>
                        <a:lnTo>
                          <a:pt x="18" y="71"/>
                        </a:lnTo>
                        <a:lnTo>
                          <a:pt x="22" y="75"/>
                        </a:lnTo>
                        <a:lnTo>
                          <a:pt x="26" y="71"/>
                        </a:lnTo>
                        <a:lnTo>
                          <a:pt x="26" y="67"/>
                        </a:lnTo>
                        <a:lnTo>
                          <a:pt x="35" y="71"/>
                        </a:lnTo>
                        <a:lnTo>
                          <a:pt x="35" y="58"/>
                        </a:lnTo>
                        <a:lnTo>
                          <a:pt x="40" y="62"/>
                        </a:lnTo>
                        <a:lnTo>
                          <a:pt x="49" y="53"/>
                        </a:lnTo>
                        <a:lnTo>
                          <a:pt x="49" y="26"/>
                        </a:lnTo>
                        <a:lnTo>
                          <a:pt x="35" y="0"/>
                        </a:lnTo>
                        <a:lnTo>
                          <a:pt x="18" y="8"/>
                        </a:lnTo>
                        <a:lnTo>
                          <a:pt x="9" y="8"/>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01" name="Freeform 133">
                    <a:extLst>
                      <a:ext uri="{FF2B5EF4-FFF2-40B4-BE49-F238E27FC236}">
                        <a16:creationId xmlns:a16="http://schemas.microsoft.com/office/drawing/2014/main" id="{C325A045-9A02-4727-B07A-63240FE99330}"/>
                      </a:ext>
                    </a:extLst>
                  </p:cNvPr>
                  <p:cNvSpPr>
                    <a:spLocks/>
                  </p:cNvSpPr>
                  <p:nvPr/>
                </p:nvSpPr>
                <p:spPr bwMode="gray">
                  <a:xfrm>
                    <a:off x="3348" y="2323"/>
                    <a:ext cx="31" cy="27"/>
                  </a:xfrm>
                  <a:custGeom>
                    <a:avLst/>
                    <a:gdLst>
                      <a:gd name="T0" fmla="*/ 0 w 31"/>
                      <a:gd name="T1" fmla="*/ 18 h 27"/>
                      <a:gd name="T2" fmla="*/ 13 w 31"/>
                      <a:gd name="T3" fmla="*/ 23 h 27"/>
                      <a:gd name="T4" fmla="*/ 18 w 31"/>
                      <a:gd name="T5" fmla="*/ 27 h 27"/>
                      <a:gd name="T6" fmla="*/ 31 w 31"/>
                      <a:gd name="T7" fmla="*/ 23 h 27"/>
                      <a:gd name="T8" fmla="*/ 27 w 31"/>
                      <a:gd name="T9" fmla="*/ 14 h 27"/>
                      <a:gd name="T10" fmla="*/ 18 w 31"/>
                      <a:gd name="T11" fmla="*/ 14 h 27"/>
                      <a:gd name="T12" fmla="*/ 18 w 31"/>
                      <a:gd name="T13" fmla="*/ 9 h 27"/>
                      <a:gd name="T14" fmla="*/ 22 w 31"/>
                      <a:gd name="T15" fmla="*/ 5 h 27"/>
                      <a:gd name="T16" fmla="*/ 22 w 31"/>
                      <a:gd name="T17" fmla="*/ 0 h 27"/>
                      <a:gd name="T18" fmla="*/ 9 w 31"/>
                      <a:gd name="T19" fmla="*/ 5 h 27"/>
                      <a:gd name="T20" fmla="*/ 9 w 31"/>
                      <a:gd name="T21" fmla="*/ 14 h 27"/>
                      <a:gd name="T22" fmla="*/ 0 w 31"/>
                      <a:gd name="T23"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27">
                        <a:moveTo>
                          <a:pt x="0" y="18"/>
                        </a:moveTo>
                        <a:lnTo>
                          <a:pt x="13" y="23"/>
                        </a:lnTo>
                        <a:lnTo>
                          <a:pt x="18" y="27"/>
                        </a:lnTo>
                        <a:lnTo>
                          <a:pt x="31" y="23"/>
                        </a:lnTo>
                        <a:lnTo>
                          <a:pt x="27" y="14"/>
                        </a:lnTo>
                        <a:lnTo>
                          <a:pt x="18" y="14"/>
                        </a:lnTo>
                        <a:lnTo>
                          <a:pt x="18" y="9"/>
                        </a:lnTo>
                        <a:lnTo>
                          <a:pt x="22" y="5"/>
                        </a:lnTo>
                        <a:lnTo>
                          <a:pt x="22" y="0"/>
                        </a:lnTo>
                        <a:lnTo>
                          <a:pt x="9" y="5"/>
                        </a:lnTo>
                        <a:lnTo>
                          <a:pt x="9" y="14"/>
                        </a:lnTo>
                        <a:lnTo>
                          <a:pt x="0" y="18"/>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02" name="Freeform 134">
                    <a:extLst>
                      <a:ext uri="{FF2B5EF4-FFF2-40B4-BE49-F238E27FC236}">
                        <a16:creationId xmlns:a16="http://schemas.microsoft.com/office/drawing/2014/main" id="{C56DF5E6-3604-42BC-9D96-A1A555DA5809}"/>
                      </a:ext>
                    </a:extLst>
                  </p:cNvPr>
                  <p:cNvSpPr>
                    <a:spLocks/>
                  </p:cNvSpPr>
                  <p:nvPr/>
                </p:nvSpPr>
                <p:spPr bwMode="gray">
                  <a:xfrm>
                    <a:off x="3674" y="2087"/>
                    <a:ext cx="157" cy="71"/>
                  </a:xfrm>
                  <a:custGeom>
                    <a:avLst/>
                    <a:gdLst>
                      <a:gd name="T0" fmla="*/ 23 w 157"/>
                      <a:gd name="T1" fmla="*/ 58 h 71"/>
                      <a:gd name="T2" fmla="*/ 18 w 157"/>
                      <a:gd name="T3" fmla="*/ 62 h 71"/>
                      <a:gd name="T4" fmla="*/ 14 w 157"/>
                      <a:gd name="T5" fmla="*/ 53 h 71"/>
                      <a:gd name="T6" fmla="*/ 5 w 157"/>
                      <a:gd name="T7" fmla="*/ 58 h 71"/>
                      <a:gd name="T8" fmla="*/ 0 w 157"/>
                      <a:gd name="T9" fmla="*/ 67 h 71"/>
                      <a:gd name="T10" fmla="*/ 18 w 157"/>
                      <a:gd name="T11" fmla="*/ 67 h 71"/>
                      <a:gd name="T12" fmla="*/ 27 w 157"/>
                      <a:gd name="T13" fmla="*/ 71 h 71"/>
                      <a:gd name="T14" fmla="*/ 36 w 157"/>
                      <a:gd name="T15" fmla="*/ 67 h 71"/>
                      <a:gd name="T16" fmla="*/ 49 w 157"/>
                      <a:gd name="T17" fmla="*/ 71 h 71"/>
                      <a:gd name="T18" fmla="*/ 63 w 157"/>
                      <a:gd name="T19" fmla="*/ 67 h 71"/>
                      <a:gd name="T20" fmla="*/ 76 w 157"/>
                      <a:gd name="T21" fmla="*/ 53 h 71"/>
                      <a:gd name="T22" fmla="*/ 90 w 157"/>
                      <a:gd name="T23" fmla="*/ 44 h 71"/>
                      <a:gd name="T24" fmla="*/ 107 w 157"/>
                      <a:gd name="T25" fmla="*/ 40 h 71"/>
                      <a:gd name="T26" fmla="*/ 143 w 157"/>
                      <a:gd name="T27" fmla="*/ 26 h 71"/>
                      <a:gd name="T28" fmla="*/ 157 w 157"/>
                      <a:gd name="T29" fmla="*/ 17 h 71"/>
                      <a:gd name="T30" fmla="*/ 157 w 157"/>
                      <a:gd name="T31" fmla="*/ 13 h 71"/>
                      <a:gd name="T32" fmla="*/ 148 w 157"/>
                      <a:gd name="T33" fmla="*/ 9 h 71"/>
                      <a:gd name="T34" fmla="*/ 148 w 157"/>
                      <a:gd name="T35" fmla="*/ 4 h 71"/>
                      <a:gd name="T36" fmla="*/ 134 w 157"/>
                      <a:gd name="T37" fmla="*/ 9 h 71"/>
                      <a:gd name="T38" fmla="*/ 85 w 157"/>
                      <a:gd name="T39" fmla="*/ 9 h 71"/>
                      <a:gd name="T40" fmla="*/ 67 w 157"/>
                      <a:gd name="T41" fmla="*/ 0 h 71"/>
                      <a:gd name="T42" fmla="*/ 63 w 157"/>
                      <a:gd name="T43" fmla="*/ 13 h 71"/>
                      <a:gd name="T44" fmla="*/ 45 w 157"/>
                      <a:gd name="T45" fmla="*/ 4 h 71"/>
                      <a:gd name="T46" fmla="*/ 27 w 157"/>
                      <a:gd name="T47" fmla="*/ 9 h 71"/>
                      <a:gd name="T48" fmla="*/ 31 w 157"/>
                      <a:gd name="T49" fmla="*/ 17 h 71"/>
                      <a:gd name="T50" fmla="*/ 18 w 157"/>
                      <a:gd name="T51" fmla="*/ 31 h 71"/>
                      <a:gd name="T52" fmla="*/ 23 w 157"/>
                      <a:gd name="T53" fmla="*/ 35 h 71"/>
                      <a:gd name="T54" fmla="*/ 40 w 157"/>
                      <a:gd name="T55" fmla="*/ 35 h 71"/>
                      <a:gd name="T56" fmla="*/ 58 w 157"/>
                      <a:gd name="T57" fmla="*/ 40 h 71"/>
                      <a:gd name="T58" fmla="*/ 54 w 157"/>
                      <a:gd name="T59" fmla="*/ 49 h 71"/>
                      <a:gd name="T60" fmla="*/ 45 w 157"/>
                      <a:gd name="T61" fmla="*/ 49 h 71"/>
                      <a:gd name="T62" fmla="*/ 31 w 157"/>
                      <a:gd name="T63" fmla="*/ 49 h 71"/>
                      <a:gd name="T64" fmla="*/ 31 w 157"/>
                      <a:gd name="T65" fmla="*/ 62 h 71"/>
                      <a:gd name="T66" fmla="*/ 27 w 157"/>
                      <a:gd name="T67" fmla="*/ 5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7" h="71">
                        <a:moveTo>
                          <a:pt x="27" y="53"/>
                        </a:moveTo>
                        <a:lnTo>
                          <a:pt x="23" y="58"/>
                        </a:lnTo>
                        <a:lnTo>
                          <a:pt x="23" y="62"/>
                        </a:lnTo>
                        <a:lnTo>
                          <a:pt x="18" y="62"/>
                        </a:lnTo>
                        <a:lnTo>
                          <a:pt x="18" y="58"/>
                        </a:lnTo>
                        <a:lnTo>
                          <a:pt x="14" y="53"/>
                        </a:lnTo>
                        <a:lnTo>
                          <a:pt x="5" y="53"/>
                        </a:lnTo>
                        <a:lnTo>
                          <a:pt x="5" y="58"/>
                        </a:lnTo>
                        <a:lnTo>
                          <a:pt x="0" y="62"/>
                        </a:lnTo>
                        <a:lnTo>
                          <a:pt x="0" y="67"/>
                        </a:lnTo>
                        <a:lnTo>
                          <a:pt x="14" y="67"/>
                        </a:lnTo>
                        <a:lnTo>
                          <a:pt x="18" y="67"/>
                        </a:lnTo>
                        <a:lnTo>
                          <a:pt x="23" y="67"/>
                        </a:lnTo>
                        <a:lnTo>
                          <a:pt x="27" y="71"/>
                        </a:lnTo>
                        <a:lnTo>
                          <a:pt x="31" y="67"/>
                        </a:lnTo>
                        <a:lnTo>
                          <a:pt x="36" y="67"/>
                        </a:lnTo>
                        <a:lnTo>
                          <a:pt x="36" y="71"/>
                        </a:lnTo>
                        <a:lnTo>
                          <a:pt x="49" y="71"/>
                        </a:lnTo>
                        <a:lnTo>
                          <a:pt x="54" y="67"/>
                        </a:lnTo>
                        <a:lnTo>
                          <a:pt x="63" y="67"/>
                        </a:lnTo>
                        <a:lnTo>
                          <a:pt x="63" y="58"/>
                        </a:lnTo>
                        <a:lnTo>
                          <a:pt x="76" y="53"/>
                        </a:lnTo>
                        <a:lnTo>
                          <a:pt x="81" y="44"/>
                        </a:lnTo>
                        <a:lnTo>
                          <a:pt x="90" y="44"/>
                        </a:lnTo>
                        <a:lnTo>
                          <a:pt x="98" y="53"/>
                        </a:lnTo>
                        <a:lnTo>
                          <a:pt x="107" y="40"/>
                        </a:lnTo>
                        <a:lnTo>
                          <a:pt x="125" y="40"/>
                        </a:lnTo>
                        <a:lnTo>
                          <a:pt x="143" y="26"/>
                        </a:lnTo>
                        <a:lnTo>
                          <a:pt x="157" y="22"/>
                        </a:lnTo>
                        <a:lnTo>
                          <a:pt x="157" y="17"/>
                        </a:lnTo>
                        <a:lnTo>
                          <a:pt x="157" y="17"/>
                        </a:lnTo>
                        <a:lnTo>
                          <a:pt x="157" y="13"/>
                        </a:lnTo>
                        <a:lnTo>
                          <a:pt x="148" y="13"/>
                        </a:lnTo>
                        <a:lnTo>
                          <a:pt x="148" y="9"/>
                        </a:lnTo>
                        <a:lnTo>
                          <a:pt x="143" y="9"/>
                        </a:lnTo>
                        <a:lnTo>
                          <a:pt x="148" y="4"/>
                        </a:lnTo>
                        <a:lnTo>
                          <a:pt x="143" y="4"/>
                        </a:lnTo>
                        <a:lnTo>
                          <a:pt x="134" y="9"/>
                        </a:lnTo>
                        <a:lnTo>
                          <a:pt x="103" y="4"/>
                        </a:lnTo>
                        <a:lnTo>
                          <a:pt x="85" y="9"/>
                        </a:lnTo>
                        <a:lnTo>
                          <a:pt x="81" y="4"/>
                        </a:lnTo>
                        <a:lnTo>
                          <a:pt x="67" y="0"/>
                        </a:lnTo>
                        <a:lnTo>
                          <a:pt x="63" y="0"/>
                        </a:lnTo>
                        <a:lnTo>
                          <a:pt x="63" y="13"/>
                        </a:lnTo>
                        <a:lnTo>
                          <a:pt x="58" y="13"/>
                        </a:lnTo>
                        <a:lnTo>
                          <a:pt x="45" y="4"/>
                        </a:lnTo>
                        <a:lnTo>
                          <a:pt x="31" y="4"/>
                        </a:lnTo>
                        <a:lnTo>
                          <a:pt x="27" y="9"/>
                        </a:lnTo>
                        <a:lnTo>
                          <a:pt x="31" y="13"/>
                        </a:lnTo>
                        <a:lnTo>
                          <a:pt x="31" y="17"/>
                        </a:lnTo>
                        <a:lnTo>
                          <a:pt x="18" y="26"/>
                        </a:lnTo>
                        <a:lnTo>
                          <a:pt x="18" y="31"/>
                        </a:lnTo>
                        <a:lnTo>
                          <a:pt x="23" y="31"/>
                        </a:lnTo>
                        <a:lnTo>
                          <a:pt x="23" y="35"/>
                        </a:lnTo>
                        <a:lnTo>
                          <a:pt x="36" y="31"/>
                        </a:lnTo>
                        <a:lnTo>
                          <a:pt x="40" y="35"/>
                        </a:lnTo>
                        <a:lnTo>
                          <a:pt x="49" y="40"/>
                        </a:lnTo>
                        <a:lnTo>
                          <a:pt x="58" y="40"/>
                        </a:lnTo>
                        <a:lnTo>
                          <a:pt x="58" y="44"/>
                        </a:lnTo>
                        <a:lnTo>
                          <a:pt x="54" y="49"/>
                        </a:lnTo>
                        <a:lnTo>
                          <a:pt x="49" y="44"/>
                        </a:lnTo>
                        <a:lnTo>
                          <a:pt x="45" y="49"/>
                        </a:lnTo>
                        <a:lnTo>
                          <a:pt x="40" y="53"/>
                        </a:lnTo>
                        <a:lnTo>
                          <a:pt x="31" y="49"/>
                        </a:lnTo>
                        <a:lnTo>
                          <a:pt x="31" y="53"/>
                        </a:lnTo>
                        <a:lnTo>
                          <a:pt x="31" y="62"/>
                        </a:lnTo>
                        <a:lnTo>
                          <a:pt x="27" y="62"/>
                        </a:lnTo>
                        <a:lnTo>
                          <a:pt x="27" y="53"/>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03" name="Freeform 135">
                    <a:extLst>
                      <a:ext uri="{FF2B5EF4-FFF2-40B4-BE49-F238E27FC236}">
                        <a16:creationId xmlns:a16="http://schemas.microsoft.com/office/drawing/2014/main" id="{7B04585A-3B6D-4C47-8DC0-4A574FF87979}"/>
                      </a:ext>
                    </a:extLst>
                  </p:cNvPr>
                  <p:cNvSpPr>
                    <a:spLocks/>
                  </p:cNvSpPr>
                  <p:nvPr/>
                </p:nvSpPr>
                <p:spPr bwMode="gray">
                  <a:xfrm>
                    <a:off x="4116" y="2449"/>
                    <a:ext cx="99" cy="125"/>
                  </a:xfrm>
                  <a:custGeom>
                    <a:avLst/>
                    <a:gdLst>
                      <a:gd name="T0" fmla="*/ 0 w 99"/>
                      <a:gd name="T1" fmla="*/ 31 h 125"/>
                      <a:gd name="T2" fmla="*/ 9 w 99"/>
                      <a:gd name="T3" fmla="*/ 17 h 125"/>
                      <a:gd name="T4" fmla="*/ 14 w 99"/>
                      <a:gd name="T5" fmla="*/ 13 h 125"/>
                      <a:gd name="T6" fmla="*/ 14 w 99"/>
                      <a:gd name="T7" fmla="*/ 22 h 125"/>
                      <a:gd name="T8" fmla="*/ 23 w 99"/>
                      <a:gd name="T9" fmla="*/ 22 h 125"/>
                      <a:gd name="T10" fmla="*/ 23 w 99"/>
                      <a:gd name="T11" fmla="*/ 0 h 125"/>
                      <a:gd name="T12" fmla="*/ 27 w 99"/>
                      <a:gd name="T13" fmla="*/ 0 h 125"/>
                      <a:gd name="T14" fmla="*/ 36 w 99"/>
                      <a:gd name="T15" fmla="*/ 9 h 125"/>
                      <a:gd name="T16" fmla="*/ 41 w 99"/>
                      <a:gd name="T17" fmla="*/ 22 h 125"/>
                      <a:gd name="T18" fmla="*/ 54 w 99"/>
                      <a:gd name="T19" fmla="*/ 22 h 125"/>
                      <a:gd name="T20" fmla="*/ 63 w 99"/>
                      <a:gd name="T21" fmla="*/ 31 h 125"/>
                      <a:gd name="T22" fmla="*/ 58 w 99"/>
                      <a:gd name="T23" fmla="*/ 40 h 125"/>
                      <a:gd name="T24" fmla="*/ 54 w 99"/>
                      <a:gd name="T25" fmla="*/ 35 h 125"/>
                      <a:gd name="T26" fmla="*/ 54 w 99"/>
                      <a:gd name="T27" fmla="*/ 49 h 125"/>
                      <a:gd name="T28" fmla="*/ 67 w 99"/>
                      <a:gd name="T29" fmla="*/ 58 h 125"/>
                      <a:gd name="T30" fmla="*/ 85 w 99"/>
                      <a:gd name="T31" fmla="*/ 89 h 125"/>
                      <a:gd name="T32" fmla="*/ 94 w 99"/>
                      <a:gd name="T33" fmla="*/ 93 h 125"/>
                      <a:gd name="T34" fmla="*/ 99 w 99"/>
                      <a:gd name="T35" fmla="*/ 120 h 125"/>
                      <a:gd name="T36" fmla="*/ 90 w 99"/>
                      <a:gd name="T37" fmla="*/ 116 h 125"/>
                      <a:gd name="T38" fmla="*/ 85 w 99"/>
                      <a:gd name="T39" fmla="*/ 116 h 125"/>
                      <a:gd name="T40" fmla="*/ 81 w 99"/>
                      <a:gd name="T41" fmla="*/ 125 h 125"/>
                      <a:gd name="T42" fmla="*/ 72 w 99"/>
                      <a:gd name="T43" fmla="*/ 125 h 125"/>
                      <a:gd name="T44" fmla="*/ 67 w 99"/>
                      <a:gd name="T45" fmla="*/ 120 h 125"/>
                      <a:gd name="T46" fmla="*/ 76 w 99"/>
                      <a:gd name="T47" fmla="*/ 102 h 125"/>
                      <a:gd name="T48" fmla="*/ 63 w 99"/>
                      <a:gd name="T49" fmla="*/ 89 h 125"/>
                      <a:gd name="T50" fmla="*/ 54 w 99"/>
                      <a:gd name="T51" fmla="*/ 62 h 125"/>
                      <a:gd name="T52" fmla="*/ 45 w 99"/>
                      <a:gd name="T53" fmla="*/ 62 h 125"/>
                      <a:gd name="T54" fmla="*/ 36 w 99"/>
                      <a:gd name="T55" fmla="*/ 71 h 125"/>
                      <a:gd name="T56" fmla="*/ 27 w 99"/>
                      <a:gd name="T57" fmla="*/ 67 h 125"/>
                      <a:gd name="T58" fmla="*/ 14 w 99"/>
                      <a:gd name="T59" fmla="*/ 80 h 125"/>
                      <a:gd name="T60" fmla="*/ 14 w 99"/>
                      <a:gd name="T61" fmla="*/ 44 h 125"/>
                      <a:gd name="T62" fmla="*/ 5 w 99"/>
                      <a:gd name="T63" fmla="*/ 40 h 125"/>
                      <a:gd name="T64" fmla="*/ 9 w 99"/>
                      <a:gd name="T65" fmla="*/ 35 h 125"/>
                      <a:gd name="T66" fmla="*/ 0 w 99"/>
                      <a:gd name="T67" fmla="*/ 3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 h="125">
                        <a:moveTo>
                          <a:pt x="0" y="31"/>
                        </a:moveTo>
                        <a:lnTo>
                          <a:pt x="9" y="17"/>
                        </a:lnTo>
                        <a:lnTo>
                          <a:pt x="14" y="13"/>
                        </a:lnTo>
                        <a:lnTo>
                          <a:pt x="14" y="22"/>
                        </a:lnTo>
                        <a:lnTo>
                          <a:pt x="23" y="22"/>
                        </a:lnTo>
                        <a:lnTo>
                          <a:pt x="23" y="0"/>
                        </a:lnTo>
                        <a:lnTo>
                          <a:pt x="27" y="0"/>
                        </a:lnTo>
                        <a:lnTo>
                          <a:pt x="36" y="9"/>
                        </a:lnTo>
                        <a:lnTo>
                          <a:pt x="41" y="22"/>
                        </a:lnTo>
                        <a:lnTo>
                          <a:pt x="54" y="22"/>
                        </a:lnTo>
                        <a:lnTo>
                          <a:pt x="63" y="31"/>
                        </a:lnTo>
                        <a:lnTo>
                          <a:pt x="58" y="40"/>
                        </a:lnTo>
                        <a:lnTo>
                          <a:pt x="54" y="35"/>
                        </a:lnTo>
                        <a:lnTo>
                          <a:pt x="54" y="49"/>
                        </a:lnTo>
                        <a:lnTo>
                          <a:pt x="67" y="58"/>
                        </a:lnTo>
                        <a:lnTo>
                          <a:pt x="85" y="89"/>
                        </a:lnTo>
                        <a:lnTo>
                          <a:pt x="94" y="93"/>
                        </a:lnTo>
                        <a:lnTo>
                          <a:pt x="99" y="120"/>
                        </a:lnTo>
                        <a:lnTo>
                          <a:pt x="90" y="116"/>
                        </a:lnTo>
                        <a:lnTo>
                          <a:pt x="85" y="116"/>
                        </a:lnTo>
                        <a:lnTo>
                          <a:pt x="81" y="125"/>
                        </a:lnTo>
                        <a:lnTo>
                          <a:pt x="72" y="125"/>
                        </a:lnTo>
                        <a:lnTo>
                          <a:pt x="67" y="120"/>
                        </a:lnTo>
                        <a:lnTo>
                          <a:pt x="76" y="102"/>
                        </a:lnTo>
                        <a:lnTo>
                          <a:pt x="63" y="89"/>
                        </a:lnTo>
                        <a:lnTo>
                          <a:pt x="54" y="62"/>
                        </a:lnTo>
                        <a:lnTo>
                          <a:pt x="45" y="62"/>
                        </a:lnTo>
                        <a:lnTo>
                          <a:pt x="36" y="71"/>
                        </a:lnTo>
                        <a:lnTo>
                          <a:pt x="27" y="67"/>
                        </a:lnTo>
                        <a:lnTo>
                          <a:pt x="14" y="80"/>
                        </a:lnTo>
                        <a:lnTo>
                          <a:pt x="14" y="44"/>
                        </a:lnTo>
                        <a:lnTo>
                          <a:pt x="5" y="40"/>
                        </a:lnTo>
                        <a:lnTo>
                          <a:pt x="9" y="35"/>
                        </a:lnTo>
                        <a:lnTo>
                          <a:pt x="0" y="31"/>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04" name="Freeform 136">
                    <a:extLst>
                      <a:ext uri="{FF2B5EF4-FFF2-40B4-BE49-F238E27FC236}">
                        <a16:creationId xmlns:a16="http://schemas.microsoft.com/office/drawing/2014/main" id="{D46BC236-C750-4F55-803B-BADC04D38A27}"/>
                      </a:ext>
                    </a:extLst>
                  </p:cNvPr>
                  <p:cNvSpPr>
                    <a:spLocks/>
                  </p:cNvSpPr>
                  <p:nvPr/>
                </p:nvSpPr>
                <p:spPr bwMode="gray">
                  <a:xfrm>
                    <a:off x="3183" y="2243"/>
                    <a:ext cx="22" cy="27"/>
                  </a:xfrm>
                  <a:custGeom>
                    <a:avLst/>
                    <a:gdLst>
                      <a:gd name="T0" fmla="*/ 9 w 22"/>
                      <a:gd name="T1" fmla="*/ 0 h 27"/>
                      <a:gd name="T2" fmla="*/ 4 w 22"/>
                      <a:gd name="T3" fmla="*/ 13 h 27"/>
                      <a:gd name="T4" fmla="*/ 4 w 22"/>
                      <a:gd name="T5" fmla="*/ 18 h 27"/>
                      <a:gd name="T6" fmla="*/ 0 w 22"/>
                      <a:gd name="T7" fmla="*/ 27 h 27"/>
                      <a:gd name="T8" fmla="*/ 4 w 22"/>
                      <a:gd name="T9" fmla="*/ 27 h 27"/>
                      <a:gd name="T10" fmla="*/ 13 w 22"/>
                      <a:gd name="T11" fmla="*/ 22 h 27"/>
                      <a:gd name="T12" fmla="*/ 22 w 22"/>
                      <a:gd name="T13" fmla="*/ 9 h 27"/>
                      <a:gd name="T14" fmla="*/ 18 w 22"/>
                      <a:gd name="T15" fmla="*/ 0 h 27"/>
                      <a:gd name="T16" fmla="*/ 9 w 22"/>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7">
                        <a:moveTo>
                          <a:pt x="9" y="0"/>
                        </a:moveTo>
                        <a:lnTo>
                          <a:pt x="4" y="13"/>
                        </a:lnTo>
                        <a:lnTo>
                          <a:pt x="4" y="18"/>
                        </a:lnTo>
                        <a:lnTo>
                          <a:pt x="0" y="27"/>
                        </a:lnTo>
                        <a:lnTo>
                          <a:pt x="4" y="27"/>
                        </a:lnTo>
                        <a:lnTo>
                          <a:pt x="13" y="22"/>
                        </a:lnTo>
                        <a:lnTo>
                          <a:pt x="22" y="9"/>
                        </a:lnTo>
                        <a:lnTo>
                          <a:pt x="18" y="0"/>
                        </a:lnTo>
                        <a:lnTo>
                          <a:pt x="9"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05" name="Freeform 137">
                    <a:extLst>
                      <a:ext uri="{FF2B5EF4-FFF2-40B4-BE49-F238E27FC236}">
                        <a16:creationId xmlns:a16="http://schemas.microsoft.com/office/drawing/2014/main" id="{7E67DD08-25D9-43E3-B8BB-695CAA5C4B30}"/>
                      </a:ext>
                    </a:extLst>
                  </p:cNvPr>
                  <p:cNvSpPr>
                    <a:spLocks noEditPoints="1"/>
                  </p:cNvSpPr>
                  <p:nvPr/>
                </p:nvSpPr>
                <p:spPr bwMode="gray">
                  <a:xfrm>
                    <a:off x="4116" y="2672"/>
                    <a:ext cx="277" cy="98"/>
                  </a:xfrm>
                  <a:custGeom>
                    <a:avLst/>
                    <a:gdLst>
                      <a:gd name="T0" fmla="*/ 0 w 277"/>
                      <a:gd name="T1" fmla="*/ 18 h 98"/>
                      <a:gd name="T2" fmla="*/ 5 w 277"/>
                      <a:gd name="T3" fmla="*/ 36 h 98"/>
                      <a:gd name="T4" fmla="*/ 5 w 277"/>
                      <a:gd name="T5" fmla="*/ 49 h 98"/>
                      <a:gd name="T6" fmla="*/ 14 w 277"/>
                      <a:gd name="T7" fmla="*/ 54 h 98"/>
                      <a:gd name="T8" fmla="*/ 50 w 277"/>
                      <a:gd name="T9" fmla="*/ 89 h 98"/>
                      <a:gd name="T10" fmla="*/ 58 w 277"/>
                      <a:gd name="T11" fmla="*/ 89 h 98"/>
                      <a:gd name="T12" fmla="*/ 54 w 277"/>
                      <a:gd name="T13" fmla="*/ 72 h 98"/>
                      <a:gd name="T14" fmla="*/ 45 w 277"/>
                      <a:gd name="T15" fmla="*/ 40 h 98"/>
                      <a:gd name="T16" fmla="*/ 27 w 277"/>
                      <a:gd name="T17" fmla="*/ 18 h 98"/>
                      <a:gd name="T18" fmla="*/ 14 w 277"/>
                      <a:gd name="T19" fmla="*/ 27 h 98"/>
                      <a:gd name="T20" fmla="*/ 0 w 277"/>
                      <a:gd name="T21" fmla="*/ 18 h 98"/>
                      <a:gd name="T22" fmla="*/ 201 w 277"/>
                      <a:gd name="T23" fmla="*/ 45 h 98"/>
                      <a:gd name="T24" fmla="*/ 210 w 277"/>
                      <a:gd name="T25" fmla="*/ 40 h 98"/>
                      <a:gd name="T26" fmla="*/ 219 w 277"/>
                      <a:gd name="T27" fmla="*/ 31 h 98"/>
                      <a:gd name="T28" fmla="*/ 224 w 277"/>
                      <a:gd name="T29" fmla="*/ 22 h 98"/>
                      <a:gd name="T30" fmla="*/ 246 w 277"/>
                      <a:gd name="T31" fmla="*/ 0 h 98"/>
                      <a:gd name="T32" fmla="*/ 237 w 277"/>
                      <a:gd name="T33" fmla="*/ 13 h 98"/>
                      <a:gd name="T34" fmla="*/ 251 w 277"/>
                      <a:gd name="T35" fmla="*/ 18 h 98"/>
                      <a:gd name="T36" fmla="*/ 255 w 277"/>
                      <a:gd name="T37" fmla="*/ 22 h 98"/>
                      <a:gd name="T38" fmla="*/ 259 w 277"/>
                      <a:gd name="T39" fmla="*/ 22 h 98"/>
                      <a:gd name="T40" fmla="*/ 273 w 277"/>
                      <a:gd name="T41" fmla="*/ 36 h 98"/>
                      <a:gd name="T42" fmla="*/ 255 w 277"/>
                      <a:gd name="T43" fmla="*/ 36 h 98"/>
                      <a:gd name="T44" fmla="*/ 268 w 277"/>
                      <a:gd name="T45" fmla="*/ 45 h 98"/>
                      <a:gd name="T46" fmla="*/ 233 w 277"/>
                      <a:gd name="T47" fmla="*/ 45 h 98"/>
                      <a:gd name="T48" fmla="*/ 210 w 277"/>
                      <a:gd name="T49" fmla="*/ 76 h 98"/>
                      <a:gd name="T50" fmla="*/ 184 w 277"/>
                      <a:gd name="T51" fmla="*/ 89 h 98"/>
                      <a:gd name="T52" fmla="*/ 157 w 277"/>
                      <a:gd name="T53" fmla="*/ 98 h 98"/>
                      <a:gd name="T54" fmla="*/ 134 w 277"/>
                      <a:gd name="T55" fmla="*/ 80 h 98"/>
                      <a:gd name="T56" fmla="*/ 143 w 277"/>
                      <a:gd name="T57" fmla="*/ 85 h 98"/>
                      <a:gd name="T58" fmla="*/ 157 w 277"/>
                      <a:gd name="T59" fmla="*/ 89 h 98"/>
                      <a:gd name="T60" fmla="*/ 161 w 277"/>
                      <a:gd name="T61" fmla="*/ 67 h 98"/>
                      <a:gd name="T62" fmla="*/ 197 w 277"/>
                      <a:gd name="T63" fmla="*/ 4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7" h="98">
                        <a:moveTo>
                          <a:pt x="0" y="18"/>
                        </a:moveTo>
                        <a:lnTo>
                          <a:pt x="0" y="18"/>
                        </a:lnTo>
                        <a:lnTo>
                          <a:pt x="0" y="36"/>
                        </a:lnTo>
                        <a:lnTo>
                          <a:pt x="5" y="36"/>
                        </a:lnTo>
                        <a:lnTo>
                          <a:pt x="5" y="40"/>
                        </a:lnTo>
                        <a:lnTo>
                          <a:pt x="5" y="49"/>
                        </a:lnTo>
                        <a:lnTo>
                          <a:pt x="9" y="49"/>
                        </a:lnTo>
                        <a:lnTo>
                          <a:pt x="14" y="54"/>
                        </a:lnTo>
                        <a:lnTo>
                          <a:pt x="18" y="72"/>
                        </a:lnTo>
                        <a:lnTo>
                          <a:pt x="50" y="89"/>
                        </a:lnTo>
                        <a:lnTo>
                          <a:pt x="54" y="85"/>
                        </a:lnTo>
                        <a:lnTo>
                          <a:pt x="58" y="89"/>
                        </a:lnTo>
                        <a:lnTo>
                          <a:pt x="63" y="89"/>
                        </a:lnTo>
                        <a:lnTo>
                          <a:pt x="54" y="72"/>
                        </a:lnTo>
                        <a:lnTo>
                          <a:pt x="45" y="67"/>
                        </a:lnTo>
                        <a:lnTo>
                          <a:pt x="45" y="40"/>
                        </a:lnTo>
                        <a:lnTo>
                          <a:pt x="32" y="18"/>
                        </a:lnTo>
                        <a:lnTo>
                          <a:pt x="27" y="18"/>
                        </a:lnTo>
                        <a:lnTo>
                          <a:pt x="23" y="27"/>
                        </a:lnTo>
                        <a:lnTo>
                          <a:pt x="14" y="27"/>
                        </a:lnTo>
                        <a:lnTo>
                          <a:pt x="5" y="13"/>
                        </a:lnTo>
                        <a:lnTo>
                          <a:pt x="0" y="18"/>
                        </a:lnTo>
                        <a:close/>
                        <a:moveTo>
                          <a:pt x="197" y="40"/>
                        </a:moveTo>
                        <a:lnTo>
                          <a:pt x="201" y="45"/>
                        </a:lnTo>
                        <a:lnTo>
                          <a:pt x="210" y="49"/>
                        </a:lnTo>
                        <a:lnTo>
                          <a:pt x="210" y="40"/>
                        </a:lnTo>
                        <a:lnTo>
                          <a:pt x="215" y="45"/>
                        </a:lnTo>
                        <a:lnTo>
                          <a:pt x="219" y="31"/>
                        </a:lnTo>
                        <a:lnTo>
                          <a:pt x="215" y="27"/>
                        </a:lnTo>
                        <a:lnTo>
                          <a:pt x="224" y="22"/>
                        </a:lnTo>
                        <a:lnTo>
                          <a:pt x="242" y="0"/>
                        </a:lnTo>
                        <a:lnTo>
                          <a:pt x="246" y="0"/>
                        </a:lnTo>
                        <a:lnTo>
                          <a:pt x="242" y="4"/>
                        </a:lnTo>
                        <a:lnTo>
                          <a:pt x="237" y="13"/>
                        </a:lnTo>
                        <a:lnTo>
                          <a:pt x="242" y="9"/>
                        </a:lnTo>
                        <a:lnTo>
                          <a:pt x="251" y="18"/>
                        </a:lnTo>
                        <a:lnTo>
                          <a:pt x="246" y="22"/>
                        </a:lnTo>
                        <a:lnTo>
                          <a:pt x="255" y="22"/>
                        </a:lnTo>
                        <a:lnTo>
                          <a:pt x="255" y="27"/>
                        </a:lnTo>
                        <a:lnTo>
                          <a:pt x="259" y="22"/>
                        </a:lnTo>
                        <a:lnTo>
                          <a:pt x="277" y="31"/>
                        </a:lnTo>
                        <a:lnTo>
                          <a:pt x="273" y="36"/>
                        </a:lnTo>
                        <a:lnTo>
                          <a:pt x="259" y="31"/>
                        </a:lnTo>
                        <a:lnTo>
                          <a:pt x="255" y="36"/>
                        </a:lnTo>
                        <a:lnTo>
                          <a:pt x="268" y="40"/>
                        </a:lnTo>
                        <a:lnTo>
                          <a:pt x="268" y="45"/>
                        </a:lnTo>
                        <a:lnTo>
                          <a:pt x="251" y="45"/>
                        </a:lnTo>
                        <a:lnTo>
                          <a:pt x="233" y="45"/>
                        </a:lnTo>
                        <a:lnTo>
                          <a:pt x="224" y="49"/>
                        </a:lnTo>
                        <a:lnTo>
                          <a:pt x="210" y="76"/>
                        </a:lnTo>
                        <a:lnTo>
                          <a:pt x="206" y="89"/>
                        </a:lnTo>
                        <a:lnTo>
                          <a:pt x="184" y="89"/>
                        </a:lnTo>
                        <a:lnTo>
                          <a:pt x="175" y="98"/>
                        </a:lnTo>
                        <a:lnTo>
                          <a:pt x="157" y="98"/>
                        </a:lnTo>
                        <a:lnTo>
                          <a:pt x="139" y="85"/>
                        </a:lnTo>
                        <a:lnTo>
                          <a:pt x="134" y="80"/>
                        </a:lnTo>
                        <a:lnTo>
                          <a:pt x="139" y="80"/>
                        </a:lnTo>
                        <a:lnTo>
                          <a:pt x="143" y="85"/>
                        </a:lnTo>
                        <a:lnTo>
                          <a:pt x="148" y="85"/>
                        </a:lnTo>
                        <a:lnTo>
                          <a:pt x="157" y="89"/>
                        </a:lnTo>
                        <a:lnTo>
                          <a:pt x="161" y="76"/>
                        </a:lnTo>
                        <a:lnTo>
                          <a:pt x="161" y="67"/>
                        </a:lnTo>
                        <a:lnTo>
                          <a:pt x="188" y="63"/>
                        </a:lnTo>
                        <a:lnTo>
                          <a:pt x="197" y="49"/>
                        </a:lnTo>
                        <a:lnTo>
                          <a:pt x="197" y="4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06" name="Freeform 138">
                    <a:extLst>
                      <a:ext uri="{FF2B5EF4-FFF2-40B4-BE49-F238E27FC236}">
                        <a16:creationId xmlns:a16="http://schemas.microsoft.com/office/drawing/2014/main" id="{42BE4040-C78E-4563-A911-240D46F6CB74}"/>
                      </a:ext>
                    </a:extLst>
                  </p:cNvPr>
                  <p:cNvSpPr>
                    <a:spLocks noEditPoints="1"/>
                  </p:cNvSpPr>
                  <p:nvPr/>
                </p:nvSpPr>
                <p:spPr bwMode="gray">
                  <a:xfrm>
                    <a:off x="3741" y="2690"/>
                    <a:ext cx="9" cy="40"/>
                  </a:xfrm>
                  <a:custGeom>
                    <a:avLst/>
                    <a:gdLst>
                      <a:gd name="T0" fmla="*/ 0 w 9"/>
                      <a:gd name="T1" fmla="*/ 0 h 40"/>
                      <a:gd name="T2" fmla="*/ 0 w 9"/>
                      <a:gd name="T3" fmla="*/ 0 h 40"/>
                      <a:gd name="T4" fmla="*/ 0 w 9"/>
                      <a:gd name="T5" fmla="*/ 0 h 40"/>
                      <a:gd name="T6" fmla="*/ 0 w 9"/>
                      <a:gd name="T7" fmla="*/ 0 h 40"/>
                      <a:gd name="T8" fmla="*/ 0 w 9"/>
                      <a:gd name="T9" fmla="*/ 18 h 40"/>
                      <a:gd name="T10" fmla="*/ 0 w 9"/>
                      <a:gd name="T11" fmla="*/ 18 h 40"/>
                      <a:gd name="T12" fmla="*/ 0 w 9"/>
                      <a:gd name="T13" fmla="*/ 18 h 40"/>
                      <a:gd name="T14" fmla="*/ 0 w 9"/>
                      <a:gd name="T15" fmla="*/ 18 h 40"/>
                      <a:gd name="T16" fmla="*/ 0 w 9"/>
                      <a:gd name="T17" fmla="*/ 36 h 40"/>
                      <a:gd name="T18" fmla="*/ 0 w 9"/>
                      <a:gd name="T19" fmla="*/ 40 h 40"/>
                      <a:gd name="T20" fmla="*/ 0 w 9"/>
                      <a:gd name="T21" fmla="*/ 40 h 40"/>
                      <a:gd name="T22" fmla="*/ 0 w 9"/>
                      <a:gd name="T23" fmla="*/ 36 h 40"/>
                      <a:gd name="T24" fmla="*/ 5 w 9"/>
                      <a:gd name="T25" fmla="*/ 27 h 40"/>
                      <a:gd name="T26" fmla="*/ 0 w 9"/>
                      <a:gd name="T27" fmla="*/ 27 h 40"/>
                      <a:gd name="T28" fmla="*/ 0 w 9"/>
                      <a:gd name="T29" fmla="*/ 27 h 40"/>
                      <a:gd name="T30" fmla="*/ 5 w 9"/>
                      <a:gd name="T31" fmla="*/ 27 h 40"/>
                      <a:gd name="T32" fmla="*/ 9 w 9"/>
                      <a:gd name="T33" fmla="*/ 40 h 40"/>
                      <a:gd name="T34" fmla="*/ 9 w 9"/>
                      <a:gd name="T35" fmla="*/ 40 h 40"/>
                      <a:gd name="T36" fmla="*/ 9 w 9"/>
                      <a:gd name="T37" fmla="*/ 40 h 40"/>
                      <a:gd name="T38" fmla="*/ 9 w 9"/>
                      <a:gd name="T39" fmla="*/ 40 h 40"/>
                      <a:gd name="T40" fmla="*/ 9 w 9"/>
                      <a:gd name="T41" fmla="*/ 40 h 40"/>
                      <a:gd name="T42" fmla="*/ 9 w 9"/>
                      <a:gd name="T4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 h="40">
                        <a:moveTo>
                          <a:pt x="0" y="0"/>
                        </a:moveTo>
                        <a:lnTo>
                          <a:pt x="0" y="0"/>
                        </a:lnTo>
                        <a:lnTo>
                          <a:pt x="0" y="0"/>
                        </a:lnTo>
                        <a:lnTo>
                          <a:pt x="0" y="0"/>
                        </a:lnTo>
                        <a:close/>
                        <a:moveTo>
                          <a:pt x="0" y="18"/>
                        </a:moveTo>
                        <a:lnTo>
                          <a:pt x="0" y="18"/>
                        </a:lnTo>
                        <a:lnTo>
                          <a:pt x="0" y="18"/>
                        </a:lnTo>
                        <a:lnTo>
                          <a:pt x="0" y="18"/>
                        </a:lnTo>
                        <a:close/>
                        <a:moveTo>
                          <a:pt x="0" y="36"/>
                        </a:moveTo>
                        <a:lnTo>
                          <a:pt x="0" y="40"/>
                        </a:lnTo>
                        <a:lnTo>
                          <a:pt x="0" y="40"/>
                        </a:lnTo>
                        <a:lnTo>
                          <a:pt x="0" y="36"/>
                        </a:lnTo>
                        <a:close/>
                        <a:moveTo>
                          <a:pt x="5" y="27"/>
                        </a:moveTo>
                        <a:lnTo>
                          <a:pt x="0" y="27"/>
                        </a:lnTo>
                        <a:lnTo>
                          <a:pt x="0" y="27"/>
                        </a:lnTo>
                        <a:lnTo>
                          <a:pt x="5" y="27"/>
                        </a:lnTo>
                        <a:close/>
                        <a:moveTo>
                          <a:pt x="9" y="40"/>
                        </a:moveTo>
                        <a:lnTo>
                          <a:pt x="9" y="40"/>
                        </a:lnTo>
                        <a:lnTo>
                          <a:pt x="9" y="40"/>
                        </a:lnTo>
                        <a:lnTo>
                          <a:pt x="9" y="40"/>
                        </a:lnTo>
                        <a:lnTo>
                          <a:pt x="9" y="40"/>
                        </a:lnTo>
                        <a:lnTo>
                          <a:pt x="9" y="4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07" name="Freeform 139">
                    <a:extLst>
                      <a:ext uri="{FF2B5EF4-FFF2-40B4-BE49-F238E27FC236}">
                        <a16:creationId xmlns:a16="http://schemas.microsoft.com/office/drawing/2014/main" id="{A24C1AA4-AAC3-4B87-BE39-213875E12808}"/>
                      </a:ext>
                    </a:extLst>
                  </p:cNvPr>
                  <p:cNvSpPr>
                    <a:spLocks/>
                  </p:cNvSpPr>
                  <p:nvPr/>
                </p:nvSpPr>
                <p:spPr bwMode="gray">
                  <a:xfrm>
                    <a:off x="3942" y="1890"/>
                    <a:ext cx="456" cy="223"/>
                  </a:xfrm>
                  <a:custGeom>
                    <a:avLst/>
                    <a:gdLst>
                      <a:gd name="T0" fmla="*/ 407 w 456"/>
                      <a:gd name="T1" fmla="*/ 54 h 223"/>
                      <a:gd name="T2" fmla="*/ 402 w 456"/>
                      <a:gd name="T3" fmla="*/ 49 h 223"/>
                      <a:gd name="T4" fmla="*/ 393 w 456"/>
                      <a:gd name="T5" fmla="*/ 49 h 223"/>
                      <a:gd name="T6" fmla="*/ 375 w 456"/>
                      <a:gd name="T7" fmla="*/ 40 h 223"/>
                      <a:gd name="T8" fmla="*/ 366 w 456"/>
                      <a:gd name="T9" fmla="*/ 45 h 223"/>
                      <a:gd name="T10" fmla="*/ 353 w 456"/>
                      <a:gd name="T11" fmla="*/ 58 h 223"/>
                      <a:gd name="T12" fmla="*/ 322 w 456"/>
                      <a:gd name="T13" fmla="*/ 67 h 223"/>
                      <a:gd name="T14" fmla="*/ 291 w 456"/>
                      <a:gd name="T15" fmla="*/ 63 h 223"/>
                      <a:gd name="T16" fmla="*/ 250 w 456"/>
                      <a:gd name="T17" fmla="*/ 40 h 223"/>
                      <a:gd name="T18" fmla="*/ 228 w 456"/>
                      <a:gd name="T19" fmla="*/ 45 h 223"/>
                      <a:gd name="T20" fmla="*/ 206 w 456"/>
                      <a:gd name="T21" fmla="*/ 40 h 223"/>
                      <a:gd name="T22" fmla="*/ 201 w 456"/>
                      <a:gd name="T23" fmla="*/ 13 h 223"/>
                      <a:gd name="T24" fmla="*/ 157 w 456"/>
                      <a:gd name="T25" fmla="*/ 0 h 223"/>
                      <a:gd name="T26" fmla="*/ 143 w 456"/>
                      <a:gd name="T27" fmla="*/ 22 h 223"/>
                      <a:gd name="T28" fmla="*/ 148 w 456"/>
                      <a:gd name="T29" fmla="*/ 31 h 223"/>
                      <a:gd name="T30" fmla="*/ 143 w 456"/>
                      <a:gd name="T31" fmla="*/ 54 h 223"/>
                      <a:gd name="T32" fmla="*/ 103 w 456"/>
                      <a:gd name="T33" fmla="*/ 54 h 223"/>
                      <a:gd name="T34" fmla="*/ 85 w 456"/>
                      <a:gd name="T35" fmla="*/ 36 h 223"/>
                      <a:gd name="T36" fmla="*/ 72 w 456"/>
                      <a:gd name="T37" fmla="*/ 36 h 223"/>
                      <a:gd name="T38" fmla="*/ 67 w 456"/>
                      <a:gd name="T39" fmla="*/ 31 h 223"/>
                      <a:gd name="T40" fmla="*/ 40 w 456"/>
                      <a:gd name="T41" fmla="*/ 40 h 223"/>
                      <a:gd name="T42" fmla="*/ 14 w 456"/>
                      <a:gd name="T43" fmla="*/ 58 h 223"/>
                      <a:gd name="T44" fmla="*/ 5 w 456"/>
                      <a:gd name="T45" fmla="*/ 58 h 223"/>
                      <a:gd name="T46" fmla="*/ 0 w 456"/>
                      <a:gd name="T47" fmla="*/ 67 h 223"/>
                      <a:gd name="T48" fmla="*/ 5 w 456"/>
                      <a:gd name="T49" fmla="*/ 80 h 223"/>
                      <a:gd name="T50" fmla="*/ 23 w 456"/>
                      <a:gd name="T51" fmla="*/ 89 h 223"/>
                      <a:gd name="T52" fmla="*/ 45 w 456"/>
                      <a:gd name="T53" fmla="*/ 107 h 223"/>
                      <a:gd name="T54" fmla="*/ 45 w 456"/>
                      <a:gd name="T55" fmla="*/ 147 h 223"/>
                      <a:gd name="T56" fmla="*/ 81 w 456"/>
                      <a:gd name="T57" fmla="*/ 152 h 223"/>
                      <a:gd name="T58" fmla="*/ 103 w 456"/>
                      <a:gd name="T59" fmla="*/ 165 h 223"/>
                      <a:gd name="T60" fmla="*/ 121 w 456"/>
                      <a:gd name="T61" fmla="*/ 197 h 223"/>
                      <a:gd name="T62" fmla="*/ 201 w 456"/>
                      <a:gd name="T63" fmla="*/ 201 h 223"/>
                      <a:gd name="T64" fmla="*/ 210 w 456"/>
                      <a:gd name="T65" fmla="*/ 210 h 223"/>
                      <a:gd name="T66" fmla="*/ 250 w 456"/>
                      <a:gd name="T67" fmla="*/ 223 h 223"/>
                      <a:gd name="T68" fmla="*/ 259 w 456"/>
                      <a:gd name="T69" fmla="*/ 210 h 223"/>
                      <a:gd name="T70" fmla="*/ 291 w 456"/>
                      <a:gd name="T71" fmla="*/ 201 h 223"/>
                      <a:gd name="T72" fmla="*/ 317 w 456"/>
                      <a:gd name="T73" fmla="*/ 201 h 223"/>
                      <a:gd name="T74" fmla="*/ 326 w 456"/>
                      <a:gd name="T75" fmla="*/ 188 h 223"/>
                      <a:gd name="T76" fmla="*/ 344 w 456"/>
                      <a:gd name="T77" fmla="*/ 179 h 223"/>
                      <a:gd name="T78" fmla="*/ 331 w 456"/>
                      <a:gd name="T79" fmla="*/ 161 h 223"/>
                      <a:gd name="T80" fmla="*/ 340 w 456"/>
                      <a:gd name="T81" fmla="*/ 147 h 223"/>
                      <a:gd name="T82" fmla="*/ 349 w 456"/>
                      <a:gd name="T83" fmla="*/ 147 h 223"/>
                      <a:gd name="T84" fmla="*/ 358 w 456"/>
                      <a:gd name="T85" fmla="*/ 156 h 223"/>
                      <a:gd name="T86" fmla="*/ 366 w 456"/>
                      <a:gd name="T87" fmla="*/ 156 h 223"/>
                      <a:gd name="T88" fmla="*/ 380 w 456"/>
                      <a:gd name="T89" fmla="*/ 139 h 223"/>
                      <a:gd name="T90" fmla="*/ 393 w 456"/>
                      <a:gd name="T91" fmla="*/ 143 h 223"/>
                      <a:gd name="T92" fmla="*/ 416 w 456"/>
                      <a:gd name="T93" fmla="*/ 121 h 223"/>
                      <a:gd name="T94" fmla="*/ 438 w 456"/>
                      <a:gd name="T95" fmla="*/ 125 h 223"/>
                      <a:gd name="T96" fmla="*/ 451 w 456"/>
                      <a:gd name="T97" fmla="*/ 116 h 223"/>
                      <a:gd name="T98" fmla="*/ 456 w 456"/>
                      <a:gd name="T99" fmla="*/ 107 h 223"/>
                      <a:gd name="T100" fmla="*/ 442 w 456"/>
                      <a:gd name="T101" fmla="*/ 107 h 223"/>
                      <a:gd name="T102" fmla="*/ 433 w 456"/>
                      <a:gd name="T103" fmla="*/ 89 h 223"/>
                      <a:gd name="T104" fmla="*/ 416 w 456"/>
                      <a:gd name="T105" fmla="*/ 98 h 223"/>
                      <a:gd name="T106" fmla="*/ 407 w 456"/>
                      <a:gd name="T107" fmla="*/ 94 h 223"/>
                      <a:gd name="T108" fmla="*/ 393 w 456"/>
                      <a:gd name="T109" fmla="*/ 98 h 223"/>
                      <a:gd name="T110" fmla="*/ 389 w 456"/>
                      <a:gd name="T111" fmla="*/ 89 h 223"/>
                      <a:gd name="T112" fmla="*/ 402 w 456"/>
                      <a:gd name="T113" fmla="*/ 71 h 223"/>
                      <a:gd name="T114" fmla="*/ 407 w 456"/>
                      <a:gd name="T115" fmla="*/ 5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6" h="223">
                        <a:moveTo>
                          <a:pt x="407" y="54"/>
                        </a:moveTo>
                        <a:lnTo>
                          <a:pt x="402" y="49"/>
                        </a:lnTo>
                        <a:lnTo>
                          <a:pt x="393" y="49"/>
                        </a:lnTo>
                        <a:lnTo>
                          <a:pt x="375" y="40"/>
                        </a:lnTo>
                        <a:lnTo>
                          <a:pt x="366" y="45"/>
                        </a:lnTo>
                        <a:lnTo>
                          <a:pt x="353" y="58"/>
                        </a:lnTo>
                        <a:lnTo>
                          <a:pt x="322" y="67"/>
                        </a:lnTo>
                        <a:lnTo>
                          <a:pt x="291" y="63"/>
                        </a:lnTo>
                        <a:lnTo>
                          <a:pt x="250" y="40"/>
                        </a:lnTo>
                        <a:lnTo>
                          <a:pt x="228" y="45"/>
                        </a:lnTo>
                        <a:lnTo>
                          <a:pt x="206" y="40"/>
                        </a:lnTo>
                        <a:lnTo>
                          <a:pt x="201" y="13"/>
                        </a:lnTo>
                        <a:lnTo>
                          <a:pt x="157" y="0"/>
                        </a:lnTo>
                        <a:lnTo>
                          <a:pt x="143" y="22"/>
                        </a:lnTo>
                        <a:lnTo>
                          <a:pt x="148" y="31"/>
                        </a:lnTo>
                        <a:lnTo>
                          <a:pt x="143" y="54"/>
                        </a:lnTo>
                        <a:lnTo>
                          <a:pt x="103" y="54"/>
                        </a:lnTo>
                        <a:lnTo>
                          <a:pt x="85" y="36"/>
                        </a:lnTo>
                        <a:lnTo>
                          <a:pt x="72" y="36"/>
                        </a:lnTo>
                        <a:lnTo>
                          <a:pt x="67" y="31"/>
                        </a:lnTo>
                        <a:lnTo>
                          <a:pt x="40" y="40"/>
                        </a:lnTo>
                        <a:lnTo>
                          <a:pt x="14" y="58"/>
                        </a:lnTo>
                        <a:lnTo>
                          <a:pt x="5" y="58"/>
                        </a:lnTo>
                        <a:lnTo>
                          <a:pt x="0" y="67"/>
                        </a:lnTo>
                        <a:lnTo>
                          <a:pt x="5" y="80"/>
                        </a:lnTo>
                        <a:lnTo>
                          <a:pt x="23" y="89"/>
                        </a:lnTo>
                        <a:lnTo>
                          <a:pt x="45" y="107"/>
                        </a:lnTo>
                        <a:lnTo>
                          <a:pt x="45" y="147"/>
                        </a:lnTo>
                        <a:lnTo>
                          <a:pt x="81" y="152"/>
                        </a:lnTo>
                        <a:lnTo>
                          <a:pt x="103" y="165"/>
                        </a:lnTo>
                        <a:lnTo>
                          <a:pt x="121" y="197"/>
                        </a:lnTo>
                        <a:lnTo>
                          <a:pt x="201" y="201"/>
                        </a:lnTo>
                        <a:lnTo>
                          <a:pt x="210" y="210"/>
                        </a:lnTo>
                        <a:lnTo>
                          <a:pt x="250" y="223"/>
                        </a:lnTo>
                        <a:lnTo>
                          <a:pt x="259" y="210"/>
                        </a:lnTo>
                        <a:lnTo>
                          <a:pt x="291" y="201"/>
                        </a:lnTo>
                        <a:lnTo>
                          <a:pt x="317" y="201"/>
                        </a:lnTo>
                        <a:lnTo>
                          <a:pt x="326" y="188"/>
                        </a:lnTo>
                        <a:lnTo>
                          <a:pt x="344" y="179"/>
                        </a:lnTo>
                        <a:lnTo>
                          <a:pt x="331" y="161"/>
                        </a:lnTo>
                        <a:lnTo>
                          <a:pt x="340" y="147"/>
                        </a:lnTo>
                        <a:lnTo>
                          <a:pt x="349" y="147"/>
                        </a:lnTo>
                        <a:lnTo>
                          <a:pt x="358" y="156"/>
                        </a:lnTo>
                        <a:lnTo>
                          <a:pt x="366" y="156"/>
                        </a:lnTo>
                        <a:lnTo>
                          <a:pt x="380" y="139"/>
                        </a:lnTo>
                        <a:lnTo>
                          <a:pt x="393" y="143"/>
                        </a:lnTo>
                        <a:lnTo>
                          <a:pt x="416" y="121"/>
                        </a:lnTo>
                        <a:lnTo>
                          <a:pt x="438" y="125"/>
                        </a:lnTo>
                        <a:lnTo>
                          <a:pt x="451" y="116"/>
                        </a:lnTo>
                        <a:lnTo>
                          <a:pt x="456" y="107"/>
                        </a:lnTo>
                        <a:lnTo>
                          <a:pt x="442" y="107"/>
                        </a:lnTo>
                        <a:lnTo>
                          <a:pt x="433" y="89"/>
                        </a:lnTo>
                        <a:lnTo>
                          <a:pt x="416" y="98"/>
                        </a:lnTo>
                        <a:lnTo>
                          <a:pt x="407" y="94"/>
                        </a:lnTo>
                        <a:lnTo>
                          <a:pt x="393" y="98"/>
                        </a:lnTo>
                        <a:lnTo>
                          <a:pt x="389" y="89"/>
                        </a:lnTo>
                        <a:lnTo>
                          <a:pt x="402" y="71"/>
                        </a:lnTo>
                        <a:lnTo>
                          <a:pt x="407" y="5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08" name="Freeform 140">
                    <a:extLst>
                      <a:ext uri="{FF2B5EF4-FFF2-40B4-BE49-F238E27FC236}">
                        <a16:creationId xmlns:a16="http://schemas.microsoft.com/office/drawing/2014/main" id="{05B79126-40B4-4FBC-B50F-186EE5924B56}"/>
                      </a:ext>
                    </a:extLst>
                  </p:cNvPr>
                  <p:cNvSpPr>
                    <a:spLocks noEditPoints="1"/>
                  </p:cNvSpPr>
                  <p:nvPr/>
                </p:nvSpPr>
                <p:spPr bwMode="gray">
                  <a:xfrm>
                    <a:off x="3442" y="2382"/>
                    <a:ext cx="98" cy="151"/>
                  </a:xfrm>
                  <a:custGeom>
                    <a:avLst/>
                    <a:gdLst>
                      <a:gd name="T0" fmla="*/ 0 w 98"/>
                      <a:gd name="T1" fmla="*/ 129 h 151"/>
                      <a:gd name="T2" fmla="*/ 4 w 98"/>
                      <a:gd name="T3" fmla="*/ 151 h 151"/>
                      <a:gd name="T4" fmla="*/ 22 w 98"/>
                      <a:gd name="T5" fmla="*/ 147 h 151"/>
                      <a:gd name="T6" fmla="*/ 36 w 98"/>
                      <a:gd name="T7" fmla="*/ 151 h 151"/>
                      <a:gd name="T8" fmla="*/ 36 w 98"/>
                      <a:gd name="T9" fmla="*/ 134 h 151"/>
                      <a:gd name="T10" fmla="*/ 49 w 98"/>
                      <a:gd name="T11" fmla="*/ 134 h 151"/>
                      <a:gd name="T12" fmla="*/ 54 w 98"/>
                      <a:gd name="T13" fmla="*/ 120 h 151"/>
                      <a:gd name="T14" fmla="*/ 71 w 98"/>
                      <a:gd name="T15" fmla="*/ 120 h 151"/>
                      <a:gd name="T16" fmla="*/ 71 w 98"/>
                      <a:gd name="T17" fmla="*/ 102 h 151"/>
                      <a:gd name="T18" fmla="*/ 80 w 98"/>
                      <a:gd name="T19" fmla="*/ 102 h 151"/>
                      <a:gd name="T20" fmla="*/ 85 w 98"/>
                      <a:gd name="T21" fmla="*/ 98 h 151"/>
                      <a:gd name="T22" fmla="*/ 80 w 98"/>
                      <a:gd name="T23" fmla="*/ 98 h 151"/>
                      <a:gd name="T24" fmla="*/ 89 w 98"/>
                      <a:gd name="T25" fmla="*/ 84 h 151"/>
                      <a:gd name="T26" fmla="*/ 98 w 98"/>
                      <a:gd name="T27" fmla="*/ 67 h 151"/>
                      <a:gd name="T28" fmla="*/ 89 w 98"/>
                      <a:gd name="T29" fmla="*/ 62 h 151"/>
                      <a:gd name="T30" fmla="*/ 80 w 98"/>
                      <a:gd name="T31" fmla="*/ 44 h 151"/>
                      <a:gd name="T32" fmla="*/ 58 w 98"/>
                      <a:gd name="T33" fmla="*/ 40 h 151"/>
                      <a:gd name="T34" fmla="*/ 49 w 98"/>
                      <a:gd name="T35" fmla="*/ 31 h 151"/>
                      <a:gd name="T36" fmla="*/ 45 w 98"/>
                      <a:gd name="T37" fmla="*/ 22 h 151"/>
                      <a:gd name="T38" fmla="*/ 40 w 98"/>
                      <a:gd name="T39" fmla="*/ 26 h 151"/>
                      <a:gd name="T40" fmla="*/ 31 w 98"/>
                      <a:gd name="T41" fmla="*/ 40 h 151"/>
                      <a:gd name="T42" fmla="*/ 31 w 98"/>
                      <a:gd name="T43" fmla="*/ 67 h 151"/>
                      <a:gd name="T44" fmla="*/ 40 w 98"/>
                      <a:gd name="T45" fmla="*/ 62 h 151"/>
                      <a:gd name="T46" fmla="*/ 54 w 98"/>
                      <a:gd name="T47" fmla="*/ 67 h 151"/>
                      <a:gd name="T48" fmla="*/ 58 w 98"/>
                      <a:gd name="T49" fmla="*/ 89 h 151"/>
                      <a:gd name="T50" fmla="*/ 54 w 98"/>
                      <a:gd name="T51" fmla="*/ 102 h 151"/>
                      <a:gd name="T52" fmla="*/ 40 w 98"/>
                      <a:gd name="T53" fmla="*/ 107 h 151"/>
                      <a:gd name="T54" fmla="*/ 0 w 98"/>
                      <a:gd name="T55" fmla="*/ 129 h 151"/>
                      <a:gd name="T56" fmla="*/ 40 w 98"/>
                      <a:gd name="T57" fmla="*/ 8 h 151"/>
                      <a:gd name="T58" fmla="*/ 45 w 98"/>
                      <a:gd name="T59" fmla="*/ 8 h 151"/>
                      <a:gd name="T60" fmla="*/ 49 w 98"/>
                      <a:gd name="T61" fmla="*/ 4 h 151"/>
                      <a:gd name="T62" fmla="*/ 49 w 98"/>
                      <a:gd name="T63" fmla="*/ 0 h 151"/>
                      <a:gd name="T64" fmla="*/ 45 w 98"/>
                      <a:gd name="T65" fmla="*/ 0 h 151"/>
                      <a:gd name="T66" fmla="*/ 40 w 98"/>
                      <a:gd name="T67" fmla="*/ 8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151">
                        <a:moveTo>
                          <a:pt x="0" y="129"/>
                        </a:moveTo>
                        <a:lnTo>
                          <a:pt x="4" y="151"/>
                        </a:lnTo>
                        <a:lnTo>
                          <a:pt x="22" y="147"/>
                        </a:lnTo>
                        <a:lnTo>
                          <a:pt x="36" y="151"/>
                        </a:lnTo>
                        <a:lnTo>
                          <a:pt x="36" y="134"/>
                        </a:lnTo>
                        <a:lnTo>
                          <a:pt x="49" y="134"/>
                        </a:lnTo>
                        <a:lnTo>
                          <a:pt x="54" y="120"/>
                        </a:lnTo>
                        <a:lnTo>
                          <a:pt x="71" y="120"/>
                        </a:lnTo>
                        <a:lnTo>
                          <a:pt x="71" y="102"/>
                        </a:lnTo>
                        <a:lnTo>
                          <a:pt x="80" y="102"/>
                        </a:lnTo>
                        <a:lnTo>
                          <a:pt x="85" y="98"/>
                        </a:lnTo>
                        <a:lnTo>
                          <a:pt x="80" y="98"/>
                        </a:lnTo>
                        <a:lnTo>
                          <a:pt x="89" y="84"/>
                        </a:lnTo>
                        <a:lnTo>
                          <a:pt x="98" y="67"/>
                        </a:lnTo>
                        <a:lnTo>
                          <a:pt x="89" y="62"/>
                        </a:lnTo>
                        <a:lnTo>
                          <a:pt x="80" y="44"/>
                        </a:lnTo>
                        <a:lnTo>
                          <a:pt x="58" y="40"/>
                        </a:lnTo>
                        <a:lnTo>
                          <a:pt x="49" y="31"/>
                        </a:lnTo>
                        <a:lnTo>
                          <a:pt x="45" y="22"/>
                        </a:lnTo>
                        <a:lnTo>
                          <a:pt x="40" y="26"/>
                        </a:lnTo>
                        <a:lnTo>
                          <a:pt x="31" y="40"/>
                        </a:lnTo>
                        <a:lnTo>
                          <a:pt x="31" y="67"/>
                        </a:lnTo>
                        <a:lnTo>
                          <a:pt x="40" y="62"/>
                        </a:lnTo>
                        <a:lnTo>
                          <a:pt x="54" y="67"/>
                        </a:lnTo>
                        <a:lnTo>
                          <a:pt x="58" y="89"/>
                        </a:lnTo>
                        <a:lnTo>
                          <a:pt x="54" y="102"/>
                        </a:lnTo>
                        <a:lnTo>
                          <a:pt x="40" y="107"/>
                        </a:lnTo>
                        <a:lnTo>
                          <a:pt x="0" y="129"/>
                        </a:lnTo>
                        <a:close/>
                        <a:moveTo>
                          <a:pt x="40" y="8"/>
                        </a:moveTo>
                        <a:lnTo>
                          <a:pt x="45" y="8"/>
                        </a:lnTo>
                        <a:lnTo>
                          <a:pt x="49" y="4"/>
                        </a:lnTo>
                        <a:lnTo>
                          <a:pt x="49" y="0"/>
                        </a:lnTo>
                        <a:lnTo>
                          <a:pt x="45" y="0"/>
                        </a:lnTo>
                        <a:lnTo>
                          <a:pt x="40" y="8"/>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09" name="Freeform 141">
                    <a:extLst>
                      <a:ext uri="{FF2B5EF4-FFF2-40B4-BE49-F238E27FC236}">
                        <a16:creationId xmlns:a16="http://schemas.microsoft.com/office/drawing/2014/main" id="{F6B5B47B-2E3C-468B-AA75-624430E42C04}"/>
                      </a:ext>
                    </a:extLst>
                  </p:cNvPr>
                  <p:cNvSpPr>
                    <a:spLocks/>
                  </p:cNvSpPr>
                  <p:nvPr/>
                </p:nvSpPr>
                <p:spPr bwMode="gray">
                  <a:xfrm>
                    <a:off x="3831" y="2319"/>
                    <a:ext cx="116" cy="67"/>
                  </a:xfrm>
                  <a:custGeom>
                    <a:avLst/>
                    <a:gdLst>
                      <a:gd name="T0" fmla="*/ 8 w 116"/>
                      <a:gd name="T1" fmla="*/ 0 h 67"/>
                      <a:gd name="T2" fmla="*/ 26 w 116"/>
                      <a:gd name="T3" fmla="*/ 4 h 67"/>
                      <a:gd name="T4" fmla="*/ 44 w 116"/>
                      <a:gd name="T5" fmla="*/ 22 h 67"/>
                      <a:gd name="T6" fmla="*/ 53 w 116"/>
                      <a:gd name="T7" fmla="*/ 22 h 67"/>
                      <a:gd name="T8" fmla="*/ 75 w 116"/>
                      <a:gd name="T9" fmla="*/ 40 h 67"/>
                      <a:gd name="T10" fmla="*/ 116 w 116"/>
                      <a:gd name="T11" fmla="*/ 45 h 67"/>
                      <a:gd name="T12" fmla="*/ 116 w 116"/>
                      <a:gd name="T13" fmla="*/ 63 h 67"/>
                      <a:gd name="T14" fmla="*/ 107 w 116"/>
                      <a:gd name="T15" fmla="*/ 67 h 67"/>
                      <a:gd name="T16" fmla="*/ 75 w 116"/>
                      <a:gd name="T17" fmla="*/ 63 h 67"/>
                      <a:gd name="T18" fmla="*/ 75 w 116"/>
                      <a:gd name="T19" fmla="*/ 58 h 67"/>
                      <a:gd name="T20" fmla="*/ 67 w 116"/>
                      <a:gd name="T21" fmla="*/ 58 h 67"/>
                      <a:gd name="T22" fmla="*/ 58 w 116"/>
                      <a:gd name="T23" fmla="*/ 49 h 67"/>
                      <a:gd name="T24" fmla="*/ 49 w 116"/>
                      <a:gd name="T25" fmla="*/ 54 h 67"/>
                      <a:gd name="T26" fmla="*/ 35 w 116"/>
                      <a:gd name="T27" fmla="*/ 49 h 67"/>
                      <a:gd name="T28" fmla="*/ 8 w 116"/>
                      <a:gd name="T29" fmla="*/ 36 h 67"/>
                      <a:gd name="T30" fmla="*/ 8 w 116"/>
                      <a:gd name="T31" fmla="*/ 27 h 67"/>
                      <a:gd name="T32" fmla="*/ 0 w 116"/>
                      <a:gd name="T33" fmla="*/ 27 h 67"/>
                      <a:gd name="T34" fmla="*/ 0 w 116"/>
                      <a:gd name="T35" fmla="*/ 9 h 67"/>
                      <a:gd name="T36" fmla="*/ 8 w 116"/>
                      <a:gd name="T37"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67">
                        <a:moveTo>
                          <a:pt x="8" y="0"/>
                        </a:moveTo>
                        <a:lnTo>
                          <a:pt x="26" y="4"/>
                        </a:lnTo>
                        <a:lnTo>
                          <a:pt x="44" y="22"/>
                        </a:lnTo>
                        <a:lnTo>
                          <a:pt x="53" y="22"/>
                        </a:lnTo>
                        <a:lnTo>
                          <a:pt x="75" y="40"/>
                        </a:lnTo>
                        <a:lnTo>
                          <a:pt x="116" y="45"/>
                        </a:lnTo>
                        <a:lnTo>
                          <a:pt x="116" y="63"/>
                        </a:lnTo>
                        <a:lnTo>
                          <a:pt x="107" y="67"/>
                        </a:lnTo>
                        <a:lnTo>
                          <a:pt x="75" y="63"/>
                        </a:lnTo>
                        <a:lnTo>
                          <a:pt x="75" y="58"/>
                        </a:lnTo>
                        <a:lnTo>
                          <a:pt x="67" y="58"/>
                        </a:lnTo>
                        <a:lnTo>
                          <a:pt x="58" y="49"/>
                        </a:lnTo>
                        <a:lnTo>
                          <a:pt x="49" y="54"/>
                        </a:lnTo>
                        <a:lnTo>
                          <a:pt x="35" y="49"/>
                        </a:lnTo>
                        <a:lnTo>
                          <a:pt x="8" y="36"/>
                        </a:lnTo>
                        <a:lnTo>
                          <a:pt x="8" y="27"/>
                        </a:lnTo>
                        <a:lnTo>
                          <a:pt x="0" y="27"/>
                        </a:lnTo>
                        <a:lnTo>
                          <a:pt x="0" y="9"/>
                        </a:lnTo>
                        <a:lnTo>
                          <a:pt x="8"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10" name="Freeform 142">
                    <a:extLst>
                      <a:ext uri="{FF2B5EF4-FFF2-40B4-BE49-F238E27FC236}">
                        <a16:creationId xmlns:a16="http://schemas.microsoft.com/office/drawing/2014/main" id="{499AE6D6-2682-4C52-9DE3-930B8CA13404}"/>
                      </a:ext>
                    </a:extLst>
                  </p:cNvPr>
                  <p:cNvSpPr>
                    <a:spLocks noEditPoints="1"/>
                  </p:cNvSpPr>
                  <p:nvPr/>
                </p:nvSpPr>
                <p:spPr bwMode="gray">
                  <a:xfrm>
                    <a:off x="5032" y="3083"/>
                    <a:ext cx="58" cy="36"/>
                  </a:xfrm>
                  <a:custGeom>
                    <a:avLst/>
                    <a:gdLst>
                      <a:gd name="T0" fmla="*/ 0 w 58"/>
                      <a:gd name="T1" fmla="*/ 0 h 36"/>
                      <a:gd name="T2" fmla="*/ 0 w 58"/>
                      <a:gd name="T3" fmla="*/ 0 h 36"/>
                      <a:gd name="T4" fmla="*/ 9 w 58"/>
                      <a:gd name="T5" fmla="*/ 14 h 36"/>
                      <a:gd name="T6" fmla="*/ 22 w 58"/>
                      <a:gd name="T7" fmla="*/ 27 h 36"/>
                      <a:gd name="T8" fmla="*/ 40 w 58"/>
                      <a:gd name="T9" fmla="*/ 36 h 36"/>
                      <a:gd name="T10" fmla="*/ 45 w 58"/>
                      <a:gd name="T11" fmla="*/ 31 h 36"/>
                      <a:gd name="T12" fmla="*/ 36 w 58"/>
                      <a:gd name="T13" fmla="*/ 27 h 36"/>
                      <a:gd name="T14" fmla="*/ 31 w 58"/>
                      <a:gd name="T15" fmla="*/ 22 h 36"/>
                      <a:gd name="T16" fmla="*/ 18 w 58"/>
                      <a:gd name="T17" fmla="*/ 9 h 36"/>
                      <a:gd name="T18" fmla="*/ 14 w 58"/>
                      <a:gd name="T19" fmla="*/ 9 h 36"/>
                      <a:gd name="T20" fmla="*/ 9 w 58"/>
                      <a:gd name="T21" fmla="*/ 5 h 36"/>
                      <a:gd name="T22" fmla="*/ 5 w 58"/>
                      <a:gd name="T23" fmla="*/ 0 h 36"/>
                      <a:gd name="T24" fmla="*/ 0 w 58"/>
                      <a:gd name="T25" fmla="*/ 0 h 36"/>
                      <a:gd name="T26" fmla="*/ 54 w 58"/>
                      <a:gd name="T27" fmla="*/ 14 h 36"/>
                      <a:gd name="T28" fmla="*/ 49 w 58"/>
                      <a:gd name="T29" fmla="*/ 14 h 36"/>
                      <a:gd name="T30" fmla="*/ 45 w 58"/>
                      <a:gd name="T31" fmla="*/ 9 h 36"/>
                      <a:gd name="T32" fmla="*/ 45 w 58"/>
                      <a:gd name="T33" fmla="*/ 9 h 36"/>
                      <a:gd name="T34" fmla="*/ 45 w 58"/>
                      <a:gd name="T35" fmla="*/ 9 h 36"/>
                      <a:gd name="T36" fmla="*/ 45 w 58"/>
                      <a:gd name="T37" fmla="*/ 14 h 36"/>
                      <a:gd name="T38" fmla="*/ 49 w 58"/>
                      <a:gd name="T39" fmla="*/ 18 h 36"/>
                      <a:gd name="T40" fmla="*/ 54 w 58"/>
                      <a:gd name="T41" fmla="*/ 14 h 36"/>
                      <a:gd name="T42" fmla="*/ 58 w 58"/>
                      <a:gd name="T43" fmla="*/ 22 h 36"/>
                      <a:gd name="T44" fmla="*/ 58 w 58"/>
                      <a:gd name="T45" fmla="*/ 18 h 36"/>
                      <a:gd name="T46" fmla="*/ 54 w 58"/>
                      <a:gd name="T47" fmla="*/ 18 h 36"/>
                      <a:gd name="T48" fmla="*/ 54 w 58"/>
                      <a:gd name="T49" fmla="*/ 18 h 36"/>
                      <a:gd name="T50" fmla="*/ 54 w 58"/>
                      <a:gd name="T51" fmla="*/ 22 h 36"/>
                      <a:gd name="T52" fmla="*/ 58 w 58"/>
                      <a:gd name="T53"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36">
                        <a:moveTo>
                          <a:pt x="0" y="0"/>
                        </a:moveTo>
                        <a:lnTo>
                          <a:pt x="0" y="0"/>
                        </a:lnTo>
                        <a:lnTo>
                          <a:pt x="9" y="14"/>
                        </a:lnTo>
                        <a:lnTo>
                          <a:pt x="22" y="27"/>
                        </a:lnTo>
                        <a:lnTo>
                          <a:pt x="40" y="36"/>
                        </a:lnTo>
                        <a:lnTo>
                          <a:pt x="45" y="31"/>
                        </a:lnTo>
                        <a:lnTo>
                          <a:pt x="36" y="27"/>
                        </a:lnTo>
                        <a:lnTo>
                          <a:pt x="31" y="22"/>
                        </a:lnTo>
                        <a:lnTo>
                          <a:pt x="18" y="9"/>
                        </a:lnTo>
                        <a:lnTo>
                          <a:pt x="14" y="9"/>
                        </a:lnTo>
                        <a:lnTo>
                          <a:pt x="9" y="5"/>
                        </a:lnTo>
                        <a:lnTo>
                          <a:pt x="5" y="0"/>
                        </a:lnTo>
                        <a:lnTo>
                          <a:pt x="0" y="0"/>
                        </a:lnTo>
                        <a:close/>
                        <a:moveTo>
                          <a:pt x="54" y="14"/>
                        </a:moveTo>
                        <a:lnTo>
                          <a:pt x="49" y="14"/>
                        </a:lnTo>
                        <a:lnTo>
                          <a:pt x="45" y="9"/>
                        </a:lnTo>
                        <a:lnTo>
                          <a:pt x="45" y="9"/>
                        </a:lnTo>
                        <a:lnTo>
                          <a:pt x="45" y="9"/>
                        </a:lnTo>
                        <a:lnTo>
                          <a:pt x="45" y="14"/>
                        </a:lnTo>
                        <a:lnTo>
                          <a:pt x="49" y="18"/>
                        </a:lnTo>
                        <a:lnTo>
                          <a:pt x="54" y="14"/>
                        </a:lnTo>
                        <a:close/>
                        <a:moveTo>
                          <a:pt x="58" y="22"/>
                        </a:moveTo>
                        <a:lnTo>
                          <a:pt x="58" y="18"/>
                        </a:lnTo>
                        <a:lnTo>
                          <a:pt x="54" y="18"/>
                        </a:lnTo>
                        <a:lnTo>
                          <a:pt x="54" y="18"/>
                        </a:lnTo>
                        <a:lnTo>
                          <a:pt x="54" y="22"/>
                        </a:lnTo>
                        <a:lnTo>
                          <a:pt x="58" y="2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11" name="Freeform 143">
                    <a:extLst>
                      <a:ext uri="{FF2B5EF4-FFF2-40B4-BE49-F238E27FC236}">
                        <a16:creationId xmlns:a16="http://schemas.microsoft.com/office/drawing/2014/main" id="{BB8F3B64-B98D-42DD-BF87-FC34F71032EB}"/>
                      </a:ext>
                    </a:extLst>
                  </p:cNvPr>
                  <p:cNvSpPr>
                    <a:spLocks noEditPoints="1"/>
                  </p:cNvSpPr>
                  <p:nvPr/>
                </p:nvSpPr>
                <p:spPr bwMode="gray">
                  <a:xfrm>
                    <a:off x="5063" y="2998"/>
                    <a:ext cx="32" cy="49"/>
                  </a:xfrm>
                  <a:custGeom>
                    <a:avLst/>
                    <a:gdLst>
                      <a:gd name="T0" fmla="*/ 5 w 32"/>
                      <a:gd name="T1" fmla="*/ 0 h 49"/>
                      <a:gd name="T2" fmla="*/ 0 w 32"/>
                      <a:gd name="T3" fmla="*/ 5 h 49"/>
                      <a:gd name="T4" fmla="*/ 5 w 32"/>
                      <a:gd name="T5" fmla="*/ 14 h 49"/>
                      <a:gd name="T6" fmla="*/ 14 w 32"/>
                      <a:gd name="T7" fmla="*/ 14 h 49"/>
                      <a:gd name="T8" fmla="*/ 14 w 32"/>
                      <a:gd name="T9" fmla="*/ 5 h 49"/>
                      <a:gd name="T10" fmla="*/ 9 w 32"/>
                      <a:gd name="T11" fmla="*/ 5 h 49"/>
                      <a:gd name="T12" fmla="*/ 5 w 32"/>
                      <a:gd name="T13" fmla="*/ 0 h 49"/>
                      <a:gd name="T14" fmla="*/ 18 w 32"/>
                      <a:gd name="T15" fmla="*/ 18 h 49"/>
                      <a:gd name="T16" fmla="*/ 14 w 32"/>
                      <a:gd name="T17" fmla="*/ 23 h 49"/>
                      <a:gd name="T18" fmla="*/ 23 w 32"/>
                      <a:gd name="T19" fmla="*/ 27 h 49"/>
                      <a:gd name="T20" fmla="*/ 23 w 32"/>
                      <a:gd name="T21" fmla="*/ 27 h 49"/>
                      <a:gd name="T22" fmla="*/ 18 w 32"/>
                      <a:gd name="T23" fmla="*/ 18 h 49"/>
                      <a:gd name="T24" fmla="*/ 27 w 32"/>
                      <a:gd name="T25" fmla="*/ 40 h 49"/>
                      <a:gd name="T26" fmla="*/ 27 w 32"/>
                      <a:gd name="T27" fmla="*/ 45 h 49"/>
                      <a:gd name="T28" fmla="*/ 32 w 32"/>
                      <a:gd name="T29" fmla="*/ 49 h 49"/>
                      <a:gd name="T30" fmla="*/ 32 w 32"/>
                      <a:gd name="T31" fmla="*/ 40 h 49"/>
                      <a:gd name="T32" fmla="*/ 27 w 32"/>
                      <a:gd name="T33" fmla="*/ 4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49">
                        <a:moveTo>
                          <a:pt x="5" y="0"/>
                        </a:moveTo>
                        <a:lnTo>
                          <a:pt x="0" y="5"/>
                        </a:lnTo>
                        <a:lnTo>
                          <a:pt x="5" y="14"/>
                        </a:lnTo>
                        <a:lnTo>
                          <a:pt x="14" y="14"/>
                        </a:lnTo>
                        <a:lnTo>
                          <a:pt x="14" y="5"/>
                        </a:lnTo>
                        <a:lnTo>
                          <a:pt x="9" y="5"/>
                        </a:lnTo>
                        <a:lnTo>
                          <a:pt x="5" y="0"/>
                        </a:lnTo>
                        <a:close/>
                        <a:moveTo>
                          <a:pt x="18" y="18"/>
                        </a:moveTo>
                        <a:lnTo>
                          <a:pt x="14" y="23"/>
                        </a:lnTo>
                        <a:lnTo>
                          <a:pt x="23" y="27"/>
                        </a:lnTo>
                        <a:lnTo>
                          <a:pt x="23" y="27"/>
                        </a:lnTo>
                        <a:lnTo>
                          <a:pt x="18" y="18"/>
                        </a:lnTo>
                        <a:close/>
                        <a:moveTo>
                          <a:pt x="27" y="40"/>
                        </a:moveTo>
                        <a:lnTo>
                          <a:pt x="27" y="45"/>
                        </a:lnTo>
                        <a:lnTo>
                          <a:pt x="32" y="49"/>
                        </a:lnTo>
                        <a:lnTo>
                          <a:pt x="32" y="40"/>
                        </a:lnTo>
                        <a:lnTo>
                          <a:pt x="27" y="4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12" name="Freeform 144">
                    <a:extLst>
                      <a:ext uri="{FF2B5EF4-FFF2-40B4-BE49-F238E27FC236}">
                        <a16:creationId xmlns:a16="http://schemas.microsoft.com/office/drawing/2014/main" id="{8D607D6B-1DA5-41FC-972B-87969AD41F7B}"/>
                      </a:ext>
                    </a:extLst>
                  </p:cNvPr>
                  <p:cNvSpPr>
                    <a:spLocks noEditPoints="1"/>
                  </p:cNvSpPr>
                  <p:nvPr/>
                </p:nvSpPr>
                <p:spPr bwMode="gray">
                  <a:xfrm>
                    <a:off x="4657" y="2645"/>
                    <a:ext cx="366" cy="130"/>
                  </a:xfrm>
                  <a:custGeom>
                    <a:avLst/>
                    <a:gdLst>
                      <a:gd name="T0" fmla="*/ 4 w 366"/>
                      <a:gd name="T1" fmla="*/ 0 h 130"/>
                      <a:gd name="T2" fmla="*/ 0 w 366"/>
                      <a:gd name="T3" fmla="*/ 0 h 130"/>
                      <a:gd name="T4" fmla="*/ 4 w 366"/>
                      <a:gd name="T5" fmla="*/ 0 h 130"/>
                      <a:gd name="T6" fmla="*/ 4 w 366"/>
                      <a:gd name="T7" fmla="*/ 0 h 130"/>
                      <a:gd name="T8" fmla="*/ 232 w 366"/>
                      <a:gd name="T9" fmla="*/ 130 h 130"/>
                      <a:gd name="T10" fmla="*/ 237 w 366"/>
                      <a:gd name="T11" fmla="*/ 130 h 130"/>
                      <a:gd name="T12" fmla="*/ 241 w 366"/>
                      <a:gd name="T13" fmla="*/ 130 h 130"/>
                      <a:gd name="T14" fmla="*/ 237 w 366"/>
                      <a:gd name="T15" fmla="*/ 130 h 130"/>
                      <a:gd name="T16" fmla="*/ 237 w 366"/>
                      <a:gd name="T17" fmla="*/ 125 h 130"/>
                      <a:gd name="T18" fmla="*/ 237 w 366"/>
                      <a:gd name="T19" fmla="*/ 130 h 130"/>
                      <a:gd name="T20" fmla="*/ 232 w 366"/>
                      <a:gd name="T21" fmla="*/ 130 h 130"/>
                      <a:gd name="T22" fmla="*/ 281 w 366"/>
                      <a:gd name="T23" fmla="*/ 116 h 130"/>
                      <a:gd name="T24" fmla="*/ 281 w 366"/>
                      <a:gd name="T25" fmla="*/ 121 h 130"/>
                      <a:gd name="T26" fmla="*/ 286 w 366"/>
                      <a:gd name="T27" fmla="*/ 116 h 130"/>
                      <a:gd name="T28" fmla="*/ 281 w 366"/>
                      <a:gd name="T29" fmla="*/ 116 h 130"/>
                      <a:gd name="T30" fmla="*/ 286 w 366"/>
                      <a:gd name="T31" fmla="*/ 36 h 130"/>
                      <a:gd name="T32" fmla="*/ 286 w 366"/>
                      <a:gd name="T33" fmla="*/ 36 h 130"/>
                      <a:gd name="T34" fmla="*/ 290 w 366"/>
                      <a:gd name="T35" fmla="*/ 31 h 130"/>
                      <a:gd name="T36" fmla="*/ 286 w 366"/>
                      <a:gd name="T37" fmla="*/ 36 h 130"/>
                      <a:gd name="T38" fmla="*/ 362 w 366"/>
                      <a:gd name="T39" fmla="*/ 58 h 130"/>
                      <a:gd name="T40" fmla="*/ 366 w 366"/>
                      <a:gd name="T41" fmla="*/ 58 h 130"/>
                      <a:gd name="T42" fmla="*/ 366 w 366"/>
                      <a:gd name="T43" fmla="*/ 54 h 130"/>
                      <a:gd name="T44" fmla="*/ 362 w 366"/>
                      <a:gd name="T45" fmla="*/ 5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6" h="130">
                        <a:moveTo>
                          <a:pt x="4" y="0"/>
                        </a:moveTo>
                        <a:lnTo>
                          <a:pt x="0" y="0"/>
                        </a:lnTo>
                        <a:lnTo>
                          <a:pt x="4" y="0"/>
                        </a:lnTo>
                        <a:lnTo>
                          <a:pt x="4" y="0"/>
                        </a:lnTo>
                        <a:close/>
                        <a:moveTo>
                          <a:pt x="232" y="130"/>
                        </a:moveTo>
                        <a:lnTo>
                          <a:pt x="237" y="130"/>
                        </a:lnTo>
                        <a:lnTo>
                          <a:pt x="241" y="130"/>
                        </a:lnTo>
                        <a:lnTo>
                          <a:pt x="237" y="130"/>
                        </a:lnTo>
                        <a:lnTo>
                          <a:pt x="237" y="125"/>
                        </a:lnTo>
                        <a:lnTo>
                          <a:pt x="237" y="130"/>
                        </a:lnTo>
                        <a:lnTo>
                          <a:pt x="232" y="130"/>
                        </a:lnTo>
                        <a:close/>
                        <a:moveTo>
                          <a:pt x="281" y="116"/>
                        </a:moveTo>
                        <a:lnTo>
                          <a:pt x="281" y="121"/>
                        </a:lnTo>
                        <a:lnTo>
                          <a:pt x="286" y="116"/>
                        </a:lnTo>
                        <a:lnTo>
                          <a:pt x="281" y="116"/>
                        </a:lnTo>
                        <a:close/>
                        <a:moveTo>
                          <a:pt x="286" y="36"/>
                        </a:moveTo>
                        <a:lnTo>
                          <a:pt x="286" y="36"/>
                        </a:lnTo>
                        <a:lnTo>
                          <a:pt x="290" y="31"/>
                        </a:lnTo>
                        <a:lnTo>
                          <a:pt x="286" y="36"/>
                        </a:lnTo>
                        <a:close/>
                        <a:moveTo>
                          <a:pt x="362" y="58"/>
                        </a:moveTo>
                        <a:lnTo>
                          <a:pt x="366" y="58"/>
                        </a:lnTo>
                        <a:lnTo>
                          <a:pt x="366" y="54"/>
                        </a:lnTo>
                        <a:lnTo>
                          <a:pt x="362" y="58"/>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13" name="Freeform 145">
                    <a:extLst>
                      <a:ext uri="{FF2B5EF4-FFF2-40B4-BE49-F238E27FC236}">
                        <a16:creationId xmlns:a16="http://schemas.microsoft.com/office/drawing/2014/main" id="{D7338D48-FC82-4A0F-A8A7-870B737F1BFE}"/>
                      </a:ext>
                    </a:extLst>
                  </p:cNvPr>
                  <p:cNvSpPr>
                    <a:spLocks/>
                  </p:cNvSpPr>
                  <p:nvPr/>
                </p:nvSpPr>
                <p:spPr bwMode="gray">
                  <a:xfrm>
                    <a:off x="3554" y="2203"/>
                    <a:ext cx="236" cy="228"/>
                  </a:xfrm>
                  <a:custGeom>
                    <a:avLst/>
                    <a:gdLst>
                      <a:gd name="T0" fmla="*/ 9 w 236"/>
                      <a:gd name="T1" fmla="*/ 129 h 228"/>
                      <a:gd name="T2" fmla="*/ 76 w 236"/>
                      <a:gd name="T3" fmla="*/ 129 h 228"/>
                      <a:gd name="T4" fmla="*/ 84 w 236"/>
                      <a:gd name="T5" fmla="*/ 98 h 228"/>
                      <a:gd name="T6" fmla="*/ 107 w 236"/>
                      <a:gd name="T7" fmla="*/ 89 h 228"/>
                      <a:gd name="T8" fmla="*/ 120 w 236"/>
                      <a:gd name="T9" fmla="*/ 89 h 228"/>
                      <a:gd name="T10" fmla="*/ 120 w 236"/>
                      <a:gd name="T11" fmla="*/ 71 h 228"/>
                      <a:gd name="T12" fmla="*/ 129 w 236"/>
                      <a:gd name="T13" fmla="*/ 53 h 228"/>
                      <a:gd name="T14" fmla="*/ 151 w 236"/>
                      <a:gd name="T15" fmla="*/ 31 h 228"/>
                      <a:gd name="T16" fmla="*/ 151 w 236"/>
                      <a:gd name="T17" fmla="*/ 13 h 228"/>
                      <a:gd name="T18" fmla="*/ 192 w 236"/>
                      <a:gd name="T19" fmla="*/ 0 h 228"/>
                      <a:gd name="T20" fmla="*/ 214 w 236"/>
                      <a:gd name="T21" fmla="*/ 0 h 228"/>
                      <a:gd name="T22" fmla="*/ 236 w 236"/>
                      <a:gd name="T23" fmla="*/ 9 h 228"/>
                      <a:gd name="T24" fmla="*/ 218 w 236"/>
                      <a:gd name="T25" fmla="*/ 36 h 228"/>
                      <a:gd name="T26" fmla="*/ 183 w 236"/>
                      <a:gd name="T27" fmla="*/ 53 h 228"/>
                      <a:gd name="T28" fmla="*/ 210 w 236"/>
                      <a:gd name="T29" fmla="*/ 80 h 228"/>
                      <a:gd name="T30" fmla="*/ 192 w 236"/>
                      <a:gd name="T31" fmla="*/ 112 h 228"/>
                      <a:gd name="T32" fmla="*/ 165 w 236"/>
                      <a:gd name="T33" fmla="*/ 143 h 228"/>
                      <a:gd name="T34" fmla="*/ 143 w 236"/>
                      <a:gd name="T35" fmla="*/ 161 h 228"/>
                      <a:gd name="T36" fmla="*/ 125 w 236"/>
                      <a:gd name="T37" fmla="*/ 170 h 228"/>
                      <a:gd name="T38" fmla="*/ 134 w 236"/>
                      <a:gd name="T39" fmla="*/ 179 h 228"/>
                      <a:gd name="T40" fmla="*/ 143 w 236"/>
                      <a:gd name="T41" fmla="*/ 192 h 228"/>
                      <a:gd name="T42" fmla="*/ 138 w 236"/>
                      <a:gd name="T43" fmla="*/ 214 h 228"/>
                      <a:gd name="T44" fmla="*/ 107 w 236"/>
                      <a:gd name="T45" fmla="*/ 228 h 228"/>
                      <a:gd name="T46" fmla="*/ 89 w 236"/>
                      <a:gd name="T47" fmla="*/ 205 h 228"/>
                      <a:gd name="T48" fmla="*/ 84 w 236"/>
                      <a:gd name="T49" fmla="*/ 205 h 228"/>
                      <a:gd name="T50" fmla="*/ 80 w 236"/>
                      <a:gd name="T51" fmla="*/ 196 h 228"/>
                      <a:gd name="T52" fmla="*/ 53 w 236"/>
                      <a:gd name="T53" fmla="*/ 201 h 228"/>
                      <a:gd name="T54" fmla="*/ 40 w 236"/>
                      <a:gd name="T55" fmla="*/ 196 h 228"/>
                      <a:gd name="T56" fmla="*/ 26 w 236"/>
                      <a:gd name="T57" fmla="*/ 196 h 228"/>
                      <a:gd name="T58" fmla="*/ 13 w 236"/>
                      <a:gd name="T59" fmla="*/ 201 h 228"/>
                      <a:gd name="T60" fmla="*/ 13 w 236"/>
                      <a:gd name="T61" fmla="*/ 187 h 228"/>
                      <a:gd name="T62" fmla="*/ 35 w 236"/>
                      <a:gd name="T63" fmla="*/ 174 h 228"/>
                      <a:gd name="T64" fmla="*/ 26 w 236"/>
                      <a:gd name="T65" fmla="*/ 165 h 228"/>
                      <a:gd name="T66" fmla="*/ 13 w 236"/>
                      <a:gd name="T67" fmla="*/ 147 h 228"/>
                      <a:gd name="T68" fmla="*/ 0 w 236"/>
                      <a:gd name="T69" fmla="*/ 125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6" h="228">
                        <a:moveTo>
                          <a:pt x="0" y="125"/>
                        </a:moveTo>
                        <a:lnTo>
                          <a:pt x="9" y="129"/>
                        </a:lnTo>
                        <a:lnTo>
                          <a:pt x="22" y="134"/>
                        </a:lnTo>
                        <a:lnTo>
                          <a:pt x="76" y="129"/>
                        </a:lnTo>
                        <a:lnTo>
                          <a:pt x="80" y="107"/>
                        </a:lnTo>
                        <a:lnTo>
                          <a:pt x="84" y="98"/>
                        </a:lnTo>
                        <a:lnTo>
                          <a:pt x="98" y="98"/>
                        </a:lnTo>
                        <a:lnTo>
                          <a:pt x="107" y="89"/>
                        </a:lnTo>
                        <a:lnTo>
                          <a:pt x="116" y="94"/>
                        </a:lnTo>
                        <a:lnTo>
                          <a:pt x="120" y="89"/>
                        </a:lnTo>
                        <a:lnTo>
                          <a:pt x="120" y="76"/>
                        </a:lnTo>
                        <a:lnTo>
                          <a:pt x="120" y="71"/>
                        </a:lnTo>
                        <a:lnTo>
                          <a:pt x="134" y="62"/>
                        </a:lnTo>
                        <a:lnTo>
                          <a:pt x="129" y="53"/>
                        </a:lnTo>
                        <a:lnTo>
                          <a:pt x="143" y="49"/>
                        </a:lnTo>
                        <a:lnTo>
                          <a:pt x="151" y="31"/>
                        </a:lnTo>
                        <a:lnTo>
                          <a:pt x="147" y="22"/>
                        </a:lnTo>
                        <a:lnTo>
                          <a:pt x="151" y="13"/>
                        </a:lnTo>
                        <a:lnTo>
                          <a:pt x="169" y="4"/>
                        </a:lnTo>
                        <a:lnTo>
                          <a:pt x="192" y="0"/>
                        </a:lnTo>
                        <a:lnTo>
                          <a:pt x="196" y="0"/>
                        </a:lnTo>
                        <a:lnTo>
                          <a:pt x="214" y="0"/>
                        </a:lnTo>
                        <a:lnTo>
                          <a:pt x="223" y="13"/>
                        </a:lnTo>
                        <a:lnTo>
                          <a:pt x="236" y="9"/>
                        </a:lnTo>
                        <a:lnTo>
                          <a:pt x="232" y="40"/>
                        </a:lnTo>
                        <a:lnTo>
                          <a:pt x="218" y="36"/>
                        </a:lnTo>
                        <a:lnTo>
                          <a:pt x="187" y="36"/>
                        </a:lnTo>
                        <a:lnTo>
                          <a:pt x="183" y="53"/>
                        </a:lnTo>
                        <a:lnTo>
                          <a:pt x="187" y="67"/>
                        </a:lnTo>
                        <a:lnTo>
                          <a:pt x="210" y="80"/>
                        </a:lnTo>
                        <a:lnTo>
                          <a:pt x="201" y="94"/>
                        </a:lnTo>
                        <a:lnTo>
                          <a:pt x="192" y="112"/>
                        </a:lnTo>
                        <a:lnTo>
                          <a:pt x="183" y="134"/>
                        </a:lnTo>
                        <a:lnTo>
                          <a:pt x="165" y="143"/>
                        </a:lnTo>
                        <a:lnTo>
                          <a:pt x="160" y="152"/>
                        </a:lnTo>
                        <a:lnTo>
                          <a:pt x="143" y="161"/>
                        </a:lnTo>
                        <a:lnTo>
                          <a:pt x="134" y="156"/>
                        </a:lnTo>
                        <a:lnTo>
                          <a:pt x="125" y="170"/>
                        </a:lnTo>
                        <a:lnTo>
                          <a:pt x="120" y="179"/>
                        </a:lnTo>
                        <a:lnTo>
                          <a:pt x="134" y="179"/>
                        </a:lnTo>
                        <a:lnTo>
                          <a:pt x="129" y="187"/>
                        </a:lnTo>
                        <a:lnTo>
                          <a:pt x="143" y="192"/>
                        </a:lnTo>
                        <a:lnTo>
                          <a:pt x="151" y="214"/>
                        </a:lnTo>
                        <a:lnTo>
                          <a:pt x="138" y="214"/>
                        </a:lnTo>
                        <a:lnTo>
                          <a:pt x="111" y="219"/>
                        </a:lnTo>
                        <a:lnTo>
                          <a:pt x="107" y="228"/>
                        </a:lnTo>
                        <a:lnTo>
                          <a:pt x="89" y="219"/>
                        </a:lnTo>
                        <a:lnTo>
                          <a:pt x="89" y="205"/>
                        </a:lnTo>
                        <a:lnTo>
                          <a:pt x="89" y="205"/>
                        </a:lnTo>
                        <a:lnTo>
                          <a:pt x="84" y="205"/>
                        </a:lnTo>
                        <a:lnTo>
                          <a:pt x="84" y="201"/>
                        </a:lnTo>
                        <a:lnTo>
                          <a:pt x="80" y="196"/>
                        </a:lnTo>
                        <a:lnTo>
                          <a:pt x="67" y="192"/>
                        </a:lnTo>
                        <a:lnTo>
                          <a:pt x="53" y="201"/>
                        </a:lnTo>
                        <a:lnTo>
                          <a:pt x="49" y="196"/>
                        </a:lnTo>
                        <a:lnTo>
                          <a:pt x="40" y="196"/>
                        </a:lnTo>
                        <a:lnTo>
                          <a:pt x="40" y="201"/>
                        </a:lnTo>
                        <a:lnTo>
                          <a:pt x="26" y="196"/>
                        </a:lnTo>
                        <a:lnTo>
                          <a:pt x="22" y="201"/>
                        </a:lnTo>
                        <a:lnTo>
                          <a:pt x="13" y="201"/>
                        </a:lnTo>
                        <a:lnTo>
                          <a:pt x="13" y="196"/>
                        </a:lnTo>
                        <a:lnTo>
                          <a:pt x="13" y="187"/>
                        </a:lnTo>
                        <a:lnTo>
                          <a:pt x="22" y="179"/>
                        </a:lnTo>
                        <a:lnTo>
                          <a:pt x="35" y="174"/>
                        </a:lnTo>
                        <a:lnTo>
                          <a:pt x="35" y="165"/>
                        </a:lnTo>
                        <a:lnTo>
                          <a:pt x="26" y="165"/>
                        </a:lnTo>
                        <a:lnTo>
                          <a:pt x="26" y="152"/>
                        </a:lnTo>
                        <a:lnTo>
                          <a:pt x="13" y="147"/>
                        </a:lnTo>
                        <a:lnTo>
                          <a:pt x="0" y="129"/>
                        </a:lnTo>
                        <a:lnTo>
                          <a:pt x="0" y="12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14" name="Freeform 146">
                    <a:extLst>
                      <a:ext uri="{FF2B5EF4-FFF2-40B4-BE49-F238E27FC236}">
                        <a16:creationId xmlns:a16="http://schemas.microsoft.com/office/drawing/2014/main" id="{A03D1DE7-CE26-4A81-A22E-F18191ED0EDD}"/>
                      </a:ext>
                    </a:extLst>
                  </p:cNvPr>
                  <p:cNvSpPr>
                    <a:spLocks noEditPoints="1"/>
                  </p:cNvSpPr>
                  <p:nvPr/>
                </p:nvSpPr>
                <p:spPr bwMode="gray">
                  <a:xfrm>
                    <a:off x="4358" y="2502"/>
                    <a:ext cx="134" cy="206"/>
                  </a:xfrm>
                  <a:custGeom>
                    <a:avLst/>
                    <a:gdLst>
                      <a:gd name="T0" fmla="*/ 31 w 134"/>
                      <a:gd name="T1" fmla="*/ 125 h 206"/>
                      <a:gd name="T2" fmla="*/ 9 w 134"/>
                      <a:gd name="T3" fmla="*/ 152 h 206"/>
                      <a:gd name="T4" fmla="*/ 17 w 134"/>
                      <a:gd name="T5" fmla="*/ 148 h 206"/>
                      <a:gd name="T6" fmla="*/ 40 w 134"/>
                      <a:gd name="T7" fmla="*/ 116 h 206"/>
                      <a:gd name="T8" fmla="*/ 44 w 134"/>
                      <a:gd name="T9" fmla="*/ 206 h 206"/>
                      <a:gd name="T10" fmla="*/ 40 w 134"/>
                      <a:gd name="T11" fmla="*/ 201 h 206"/>
                      <a:gd name="T12" fmla="*/ 58 w 134"/>
                      <a:gd name="T13" fmla="*/ 107 h 206"/>
                      <a:gd name="T14" fmla="*/ 58 w 134"/>
                      <a:gd name="T15" fmla="*/ 85 h 206"/>
                      <a:gd name="T16" fmla="*/ 40 w 134"/>
                      <a:gd name="T17" fmla="*/ 40 h 206"/>
                      <a:gd name="T18" fmla="*/ 49 w 134"/>
                      <a:gd name="T19" fmla="*/ 63 h 206"/>
                      <a:gd name="T20" fmla="*/ 58 w 134"/>
                      <a:gd name="T21" fmla="*/ 81 h 206"/>
                      <a:gd name="T22" fmla="*/ 76 w 134"/>
                      <a:gd name="T23" fmla="*/ 76 h 206"/>
                      <a:gd name="T24" fmla="*/ 102 w 134"/>
                      <a:gd name="T25" fmla="*/ 90 h 206"/>
                      <a:gd name="T26" fmla="*/ 102 w 134"/>
                      <a:gd name="T27" fmla="*/ 81 h 206"/>
                      <a:gd name="T28" fmla="*/ 102 w 134"/>
                      <a:gd name="T29" fmla="*/ 76 h 206"/>
                      <a:gd name="T30" fmla="*/ 89 w 134"/>
                      <a:gd name="T31" fmla="*/ 76 h 206"/>
                      <a:gd name="T32" fmla="*/ 67 w 134"/>
                      <a:gd name="T33" fmla="*/ 67 h 206"/>
                      <a:gd name="T34" fmla="*/ 71 w 134"/>
                      <a:gd name="T35" fmla="*/ 76 h 206"/>
                      <a:gd name="T36" fmla="*/ 62 w 134"/>
                      <a:gd name="T37" fmla="*/ 54 h 206"/>
                      <a:gd name="T38" fmla="*/ 67 w 134"/>
                      <a:gd name="T39" fmla="*/ 36 h 206"/>
                      <a:gd name="T40" fmla="*/ 76 w 134"/>
                      <a:gd name="T41" fmla="*/ 9 h 206"/>
                      <a:gd name="T42" fmla="*/ 58 w 134"/>
                      <a:gd name="T43" fmla="*/ 5 h 206"/>
                      <a:gd name="T44" fmla="*/ 49 w 134"/>
                      <a:gd name="T45" fmla="*/ 49 h 206"/>
                      <a:gd name="T46" fmla="*/ 67 w 134"/>
                      <a:gd name="T47" fmla="*/ 134 h 206"/>
                      <a:gd name="T48" fmla="*/ 84 w 134"/>
                      <a:gd name="T49" fmla="*/ 112 h 206"/>
                      <a:gd name="T50" fmla="*/ 71 w 134"/>
                      <a:gd name="T51" fmla="*/ 107 h 206"/>
                      <a:gd name="T52" fmla="*/ 89 w 134"/>
                      <a:gd name="T53" fmla="*/ 112 h 206"/>
                      <a:gd name="T54" fmla="*/ 98 w 134"/>
                      <a:gd name="T55" fmla="*/ 107 h 206"/>
                      <a:gd name="T56" fmla="*/ 84 w 134"/>
                      <a:gd name="T57" fmla="*/ 103 h 206"/>
                      <a:gd name="T58" fmla="*/ 89 w 134"/>
                      <a:gd name="T59" fmla="*/ 157 h 206"/>
                      <a:gd name="T60" fmla="*/ 71 w 134"/>
                      <a:gd name="T61" fmla="*/ 161 h 206"/>
                      <a:gd name="T62" fmla="*/ 67 w 134"/>
                      <a:gd name="T63" fmla="*/ 188 h 206"/>
                      <a:gd name="T64" fmla="*/ 76 w 134"/>
                      <a:gd name="T65" fmla="*/ 170 h 206"/>
                      <a:gd name="T66" fmla="*/ 89 w 134"/>
                      <a:gd name="T67" fmla="*/ 174 h 206"/>
                      <a:gd name="T68" fmla="*/ 102 w 134"/>
                      <a:gd name="T69" fmla="*/ 174 h 206"/>
                      <a:gd name="T70" fmla="*/ 116 w 134"/>
                      <a:gd name="T71" fmla="*/ 192 h 206"/>
                      <a:gd name="T72" fmla="*/ 125 w 134"/>
                      <a:gd name="T73" fmla="*/ 183 h 206"/>
                      <a:gd name="T74" fmla="*/ 120 w 134"/>
                      <a:gd name="T75" fmla="*/ 170 h 206"/>
                      <a:gd name="T76" fmla="*/ 134 w 134"/>
                      <a:gd name="T77" fmla="*/ 170 h 206"/>
                      <a:gd name="T78" fmla="*/ 129 w 134"/>
                      <a:gd name="T79" fmla="*/ 139 h 206"/>
                      <a:gd name="T80" fmla="*/ 125 w 134"/>
                      <a:gd name="T81" fmla="*/ 134 h 206"/>
                      <a:gd name="T82" fmla="*/ 116 w 134"/>
                      <a:gd name="T83" fmla="*/ 152 h 206"/>
                      <a:gd name="T84" fmla="*/ 102 w 134"/>
                      <a:gd name="T85" fmla="*/ 152 h 206"/>
                      <a:gd name="T86" fmla="*/ 84 w 134"/>
                      <a:gd name="T87" fmla="*/ 121 h 206"/>
                      <a:gd name="T88" fmla="*/ 71 w 134"/>
                      <a:gd name="T89" fmla="*/ 139 h 206"/>
                      <a:gd name="T90" fmla="*/ 84 w 134"/>
                      <a:gd name="T91" fmla="*/ 152 h 206"/>
                      <a:gd name="T92" fmla="*/ 93 w 134"/>
                      <a:gd name="T93" fmla="*/ 125 h 206"/>
                      <a:gd name="T94" fmla="*/ 89 w 134"/>
                      <a:gd name="T95" fmla="*/ 139 h 206"/>
                      <a:gd name="T96" fmla="*/ 98 w 134"/>
                      <a:gd name="T97" fmla="*/ 116 h 206"/>
                      <a:gd name="T98" fmla="*/ 102 w 134"/>
                      <a:gd name="T99" fmla="*/ 125 h 206"/>
                      <a:gd name="T100" fmla="*/ 120 w 134"/>
                      <a:gd name="T101" fmla="*/ 139 h 206"/>
                      <a:gd name="T102" fmla="*/ 116 w 134"/>
                      <a:gd name="T103" fmla="*/ 121 h 206"/>
                      <a:gd name="T104" fmla="*/ 102 w 134"/>
                      <a:gd name="T105" fmla="*/ 112 h 206"/>
                      <a:gd name="T106" fmla="*/ 111 w 134"/>
                      <a:gd name="T107" fmla="*/ 112 h 206"/>
                      <a:gd name="T108" fmla="*/ 125 w 134"/>
                      <a:gd name="T109" fmla="*/ 121 h 206"/>
                      <a:gd name="T110" fmla="*/ 102 w 134"/>
                      <a:gd name="T111" fmla="*/ 103 h 206"/>
                      <a:gd name="T112" fmla="*/ 93 w 134"/>
                      <a:gd name="T113" fmla="*/ 143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4" h="206">
                        <a:moveTo>
                          <a:pt x="40" y="116"/>
                        </a:moveTo>
                        <a:lnTo>
                          <a:pt x="35" y="125"/>
                        </a:lnTo>
                        <a:lnTo>
                          <a:pt x="31" y="125"/>
                        </a:lnTo>
                        <a:lnTo>
                          <a:pt x="26" y="134"/>
                        </a:lnTo>
                        <a:lnTo>
                          <a:pt x="22" y="134"/>
                        </a:lnTo>
                        <a:lnTo>
                          <a:pt x="9" y="152"/>
                        </a:lnTo>
                        <a:lnTo>
                          <a:pt x="0" y="161"/>
                        </a:lnTo>
                        <a:lnTo>
                          <a:pt x="9" y="157"/>
                        </a:lnTo>
                        <a:lnTo>
                          <a:pt x="17" y="148"/>
                        </a:lnTo>
                        <a:lnTo>
                          <a:pt x="26" y="152"/>
                        </a:lnTo>
                        <a:lnTo>
                          <a:pt x="40" y="130"/>
                        </a:lnTo>
                        <a:lnTo>
                          <a:pt x="40" y="116"/>
                        </a:lnTo>
                        <a:close/>
                        <a:moveTo>
                          <a:pt x="40" y="201"/>
                        </a:moveTo>
                        <a:lnTo>
                          <a:pt x="40" y="206"/>
                        </a:lnTo>
                        <a:lnTo>
                          <a:pt x="44" y="206"/>
                        </a:lnTo>
                        <a:lnTo>
                          <a:pt x="49" y="201"/>
                        </a:lnTo>
                        <a:lnTo>
                          <a:pt x="49" y="201"/>
                        </a:lnTo>
                        <a:lnTo>
                          <a:pt x="40" y="201"/>
                        </a:lnTo>
                        <a:close/>
                        <a:moveTo>
                          <a:pt x="44" y="85"/>
                        </a:moveTo>
                        <a:lnTo>
                          <a:pt x="53" y="90"/>
                        </a:lnTo>
                        <a:lnTo>
                          <a:pt x="58" y="107"/>
                        </a:lnTo>
                        <a:lnTo>
                          <a:pt x="62" y="103"/>
                        </a:lnTo>
                        <a:lnTo>
                          <a:pt x="62" y="90"/>
                        </a:lnTo>
                        <a:lnTo>
                          <a:pt x="58" y="85"/>
                        </a:lnTo>
                        <a:lnTo>
                          <a:pt x="44" y="85"/>
                        </a:lnTo>
                        <a:close/>
                        <a:moveTo>
                          <a:pt x="49" y="49"/>
                        </a:moveTo>
                        <a:lnTo>
                          <a:pt x="40" y="40"/>
                        </a:lnTo>
                        <a:lnTo>
                          <a:pt x="35" y="49"/>
                        </a:lnTo>
                        <a:lnTo>
                          <a:pt x="40" y="67"/>
                        </a:lnTo>
                        <a:lnTo>
                          <a:pt x="49" y="63"/>
                        </a:lnTo>
                        <a:lnTo>
                          <a:pt x="53" y="72"/>
                        </a:lnTo>
                        <a:lnTo>
                          <a:pt x="49" y="76"/>
                        </a:lnTo>
                        <a:lnTo>
                          <a:pt x="58" y="81"/>
                        </a:lnTo>
                        <a:lnTo>
                          <a:pt x="67" y="76"/>
                        </a:lnTo>
                        <a:lnTo>
                          <a:pt x="80" y="90"/>
                        </a:lnTo>
                        <a:lnTo>
                          <a:pt x="76" y="76"/>
                        </a:lnTo>
                        <a:lnTo>
                          <a:pt x="89" y="90"/>
                        </a:lnTo>
                        <a:lnTo>
                          <a:pt x="102" y="103"/>
                        </a:lnTo>
                        <a:lnTo>
                          <a:pt x="102" y="90"/>
                        </a:lnTo>
                        <a:lnTo>
                          <a:pt x="98" y="90"/>
                        </a:lnTo>
                        <a:lnTo>
                          <a:pt x="93" y="81"/>
                        </a:lnTo>
                        <a:lnTo>
                          <a:pt x="102" y="81"/>
                        </a:lnTo>
                        <a:lnTo>
                          <a:pt x="102" y="85"/>
                        </a:lnTo>
                        <a:lnTo>
                          <a:pt x="102" y="76"/>
                        </a:lnTo>
                        <a:lnTo>
                          <a:pt x="102" y="76"/>
                        </a:lnTo>
                        <a:lnTo>
                          <a:pt x="102" y="81"/>
                        </a:lnTo>
                        <a:lnTo>
                          <a:pt x="93" y="81"/>
                        </a:lnTo>
                        <a:lnTo>
                          <a:pt x="89" y="76"/>
                        </a:lnTo>
                        <a:lnTo>
                          <a:pt x="76" y="72"/>
                        </a:lnTo>
                        <a:lnTo>
                          <a:pt x="71" y="72"/>
                        </a:lnTo>
                        <a:lnTo>
                          <a:pt x="67" y="67"/>
                        </a:lnTo>
                        <a:lnTo>
                          <a:pt x="71" y="58"/>
                        </a:lnTo>
                        <a:lnTo>
                          <a:pt x="67" y="63"/>
                        </a:lnTo>
                        <a:lnTo>
                          <a:pt x="71" y="76"/>
                        </a:lnTo>
                        <a:lnTo>
                          <a:pt x="62" y="72"/>
                        </a:lnTo>
                        <a:lnTo>
                          <a:pt x="58" y="58"/>
                        </a:lnTo>
                        <a:lnTo>
                          <a:pt x="62" y="54"/>
                        </a:lnTo>
                        <a:lnTo>
                          <a:pt x="62" y="49"/>
                        </a:lnTo>
                        <a:lnTo>
                          <a:pt x="67" y="45"/>
                        </a:lnTo>
                        <a:lnTo>
                          <a:pt x="67" y="36"/>
                        </a:lnTo>
                        <a:lnTo>
                          <a:pt x="76" y="23"/>
                        </a:lnTo>
                        <a:lnTo>
                          <a:pt x="71" y="14"/>
                        </a:lnTo>
                        <a:lnTo>
                          <a:pt x="76" y="9"/>
                        </a:lnTo>
                        <a:lnTo>
                          <a:pt x="71" y="0"/>
                        </a:lnTo>
                        <a:lnTo>
                          <a:pt x="67" y="9"/>
                        </a:lnTo>
                        <a:lnTo>
                          <a:pt x="58" y="5"/>
                        </a:lnTo>
                        <a:lnTo>
                          <a:pt x="49" y="0"/>
                        </a:lnTo>
                        <a:lnTo>
                          <a:pt x="44" y="36"/>
                        </a:lnTo>
                        <a:lnTo>
                          <a:pt x="49" y="49"/>
                        </a:lnTo>
                        <a:close/>
                        <a:moveTo>
                          <a:pt x="67" y="112"/>
                        </a:moveTo>
                        <a:lnTo>
                          <a:pt x="71" y="112"/>
                        </a:lnTo>
                        <a:lnTo>
                          <a:pt x="67" y="134"/>
                        </a:lnTo>
                        <a:lnTo>
                          <a:pt x="76" y="125"/>
                        </a:lnTo>
                        <a:lnTo>
                          <a:pt x="84" y="121"/>
                        </a:lnTo>
                        <a:lnTo>
                          <a:pt x="84" y="112"/>
                        </a:lnTo>
                        <a:lnTo>
                          <a:pt x="80" y="116"/>
                        </a:lnTo>
                        <a:lnTo>
                          <a:pt x="76" y="112"/>
                        </a:lnTo>
                        <a:lnTo>
                          <a:pt x="71" y="107"/>
                        </a:lnTo>
                        <a:lnTo>
                          <a:pt x="67" y="112"/>
                        </a:lnTo>
                        <a:close/>
                        <a:moveTo>
                          <a:pt x="84" y="103"/>
                        </a:moveTo>
                        <a:lnTo>
                          <a:pt x="89" y="112"/>
                        </a:lnTo>
                        <a:lnTo>
                          <a:pt x="93" y="107"/>
                        </a:lnTo>
                        <a:lnTo>
                          <a:pt x="98" y="112"/>
                        </a:lnTo>
                        <a:lnTo>
                          <a:pt x="98" y="107"/>
                        </a:lnTo>
                        <a:lnTo>
                          <a:pt x="93" y="99"/>
                        </a:lnTo>
                        <a:lnTo>
                          <a:pt x="93" y="103"/>
                        </a:lnTo>
                        <a:lnTo>
                          <a:pt x="84" y="103"/>
                        </a:lnTo>
                        <a:close/>
                        <a:moveTo>
                          <a:pt x="93" y="166"/>
                        </a:moveTo>
                        <a:lnTo>
                          <a:pt x="93" y="157"/>
                        </a:lnTo>
                        <a:lnTo>
                          <a:pt x="89" y="157"/>
                        </a:lnTo>
                        <a:lnTo>
                          <a:pt x="80" y="157"/>
                        </a:lnTo>
                        <a:lnTo>
                          <a:pt x="80" y="161"/>
                        </a:lnTo>
                        <a:lnTo>
                          <a:pt x="71" y="161"/>
                        </a:lnTo>
                        <a:lnTo>
                          <a:pt x="67" y="174"/>
                        </a:lnTo>
                        <a:lnTo>
                          <a:pt x="62" y="183"/>
                        </a:lnTo>
                        <a:lnTo>
                          <a:pt x="67" y="188"/>
                        </a:lnTo>
                        <a:lnTo>
                          <a:pt x="71" y="183"/>
                        </a:lnTo>
                        <a:lnTo>
                          <a:pt x="67" y="179"/>
                        </a:lnTo>
                        <a:lnTo>
                          <a:pt x="76" y="170"/>
                        </a:lnTo>
                        <a:lnTo>
                          <a:pt x="76" y="174"/>
                        </a:lnTo>
                        <a:lnTo>
                          <a:pt x="80" y="170"/>
                        </a:lnTo>
                        <a:lnTo>
                          <a:pt x="89" y="174"/>
                        </a:lnTo>
                        <a:lnTo>
                          <a:pt x="89" y="166"/>
                        </a:lnTo>
                        <a:lnTo>
                          <a:pt x="98" y="166"/>
                        </a:lnTo>
                        <a:lnTo>
                          <a:pt x="102" y="174"/>
                        </a:lnTo>
                        <a:lnTo>
                          <a:pt x="98" y="183"/>
                        </a:lnTo>
                        <a:lnTo>
                          <a:pt x="111" y="197"/>
                        </a:lnTo>
                        <a:lnTo>
                          <a:pt x="116" y="192"/>
                        </a:lnTo>
                        <a:lnTo>
                          <a:pt x="120" y="201"/>
                        </a:lnTo>
                        <a:lnTo>
                          <a:pt x="125" y="197"/>
                        </a:lnTo>
                        <a:lnTo>
                          <a:pt x="125" y="183"/>
                        </a:lnTo>
                        <a:lnTo>
                          <a:pt x="116" y="179"/>
                        </a:lnTo>
                        <a:lnTo>
                          <a:pt x="125" y="179"/>
                        </a:lnTo>
                        <a:lnTo>
                          <a:pt x="120" y="170"/>
                        </a:lnTo>
                        <a:lnTo>
                          <a:pt x="125" y="170"/>
                        </a:lnTo>
                        <a:lnTo>
                          <a:pt x="129" y="192"/>
                        </a:lnTo>
                        <a:lnTo>
                          <a:pt x="134" y="170"/>
                        </a:lnTo>
                        <a:lnTo>
                          <a:pt x="134" y="152"/>
                        </a:lnTo>
                        <a:lnTo>
                          <a:pt x="129" y="148"/>
                        </a:lnTo>
                        <a:lnTo>
                          <a:pt x="129" y="139"/>
                        </a:lnTo>
                        <a:lnTo>
                          <a:pt x="129" y="139"/>
                        </a:lnTo>
                        <a:lnTo>
                          <a:pt x="125" y="143"/>
                        </a:lnTo>
                        <a:lnTo>
                          <a:pt x="125" y="134"/>
                        </a:lnTo>
                        <a:lnTo>
                          <a:pt x="125" y="134"/>
                        </a:lnTo>
                        <a:lnTo>
                          <a:pt x="120" y="152"/>
                        </a:lnTo>
                        <a:lnTo>
                          <a:pt x="116" y="152"/>
                        </a:lnTo>
                        <a:lnTo>
                          <a:pt x="111" y="148"/>
                        </a:lnTo>
                        <a:lnTo>
                          <a:pt x="111" y="157"/>
                        </a:lnTo>
                        <a:lnTo>
                          <a:pt x="102" y="152"/>
                        </a:lnTo>
                        <a:lnTo>
                          <a:pt x="93" y="166"/>
                        </a:lnTo>
                        <a:close/>
                        <a:moveTo>
                          <a:pt x="93" y="125"/>
                        </a:moveTo>
                        <a:lnTo>
                          <a:pt x="84" y="121"/>
                        </a:lnTo>
                        <a:lnTo>
                          <a:pt x="80" y="125"/>
                        </a:lnTo>
                        <a:lnTo>
                          <a:pt x="80" y="130"/>
                        </a:lnTo>
                        <a:lnTo>
                          <a:pt x="71" y="139"/>
                        </a:lnTo>
                        <a:lnTo>
                          <a:pt x="76" y="148"/>
                        </a:lnTo>
                        <a:lnTo>
                          <a:pt x="80" y="148"/>
                        </a:lnTo>
                        <a:lnTo>
                          <a:pt x="84" y="152"/>
                        </a:lnTo>
                        <a:lnTo>
                          <a:pt x="89" y="148"/>
                        </a:lnTo>
                        <a:lnTo>
                          <a:pt x="84" y="139"/>
                        </a:lnTo>
                        <a:lnTo>
                          <a:pt x="93" y="125"/>
                        </a:lnTo>
                        <a:close/>
                        <a:moveTo>
                          <a:pt x="98" y="116"/>
                        </a:moveTo>
                        <a:lnTo>
                          <a:pt x="93" y="130"/>
                        </a:lnTo>
                        <a:lnTo>
                          <a:pt x="89" y="139"/>
                        </a:lnTo>
                        <a:lnTo>
                          <a:pt x="89" y="148"/>
                        </a:lnTo>
                        <a:lnTo>
                          <a:pt x="98" y="125"/>
                        </a:lnTo>
                        <a:lnTo>
                          <a:pt x="98" y="116"/>
                        </a:lnTo>
                        <a:close/>
                        <a:moveTo>
                          <a:pt x="102" y="112"/>
                        </a:moveTo>
                        <a:lnTo>
                          <a:pt x="102" y="116"/>
                        </a:lnTo>
                        <a:lnTo>
                          <a:pt x="102" y="125"/>
                        </a:lnTo>
                        <a:lnTo>
                          <a:pt x="107" y="125"/>
                        </a:lnTo>
                        <a:lnTo>
                          <a:pt x="111" y="139"/>
                        </a:lnTo>
                        <a:lnTo>
                          <a:pt x="120" y="139"/>
                        </a:lnTo>
                        <a:lnTo>
                          <a:pt x="116" y="130"/>
                        </a:lnTo>
                        <a:lnTo>
                          <a:pt x="111" y="121"/>
                        </a:lnTo>
                        <a:lnTo>
                          <a:pt x="116" y="121"/>
                        </a:lnTo>
                        <a:lnTo>
                          <a:pt x="111" y="116"/>
                        </a:lnTo>
                        <a:lnTo>
                          <a:pt x="107" y="116"/>
                        </a:lnTo>
                        <a:lnTo>
                          <a:pt x="102" y="112"/>
                        </a:lnTo>
                        <a:close/>
                        <a:moveTo>
                          <a:pt x="102" y="103"/>
                        </a:moveTo>
                        <a:lnTo>
                          <a:pt x="107" y="107"/>
                        </a:lnTo>
                        <a:lnTo>
                          <a:pt x="111" y="112"/>
                        </a:lnTo>
                        <a:lnTo>
                          <a:pt x="120" y="125"/>
                        </a:lnTo>
                        <a:lnTo>
                          <a:pt x="129" y="125"/>
                        </a:lnTo>
                        <a:lnTo>
                          <a:pt x="125" y="121"/>
                        </a:lnTo>
                        <a:lnTo>
                          <a:pt x="120" y="107"/>
                        </a:lnTo>
                        <a:lnTo>
                          <a:pt x="116" y="99"/>
                        </a:lnTo>
                        <a:lnTo>
                          <a:pt x="102" y="103"/>
                        </a:lnTo>
                        <a:close/>
                        <a:moveTo>
                          <a:pt x="102" y="134"/>
                        </a:moveTo>
                        <a:lnTo>
                          <a:pt x="98" y="139"/>
                        </a:lnTo>
                        <a:lnTo>
                          <a:pt x="93" y="143"/>
                        </a:lnTo>
                        <a:lnTo>
                          <a:pt x="107" y="143"/>
                        </a:lnTo>
                        <a:lnTo>
                          <a:pt x="102" y="13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15" name="Freeform 147">
                    <a:extLst>
                      <a:ext uri="{FF2B5EF4-FFF2-40B4-BE49-F238E27FC236}">
                        <a16:creationId xmlns:a16="http://schemas.microsoft.com/office/drawing/2014/main" id="{698C51E7-FA24-4CF1-8F42-A85DD19CC89F}"/>
                      </a:ext>
                    </a:extLst>
                  </p:cNvPr>
                  <p:cNvSpPr>
                    <a:spLocks/>
                  </p:cNvSpPr>
                  <p:nvPr/>
                </p:nvSpPr>
                <p:spPr bwMode="gray">
                  <a:xfrm>
                    <a:off x="4469" y="2904"/>
                    <a:ext cx="36" cy="23"/>
                  </a:xfrm>
                  <a:custGeom>
                    <a:avLst/>
                    <a:gdLst>
                      <a:gd name="T0" fmla="*/ 0 w 36"/>
                      <a:gd name="T1" fmla="*/ 23 h 23"/>
                      <a:gd name="T2" fmla="*/ 36 w 36"/>
                      <a:gd name="T3" fmla="*/ 0 h 23"/>
                      <a:gd name="T4" fmla="*/ 32 w 36"/>
                      <a:gd name="T5" fmla="*/ 0 h 23"/>
                      <a:gd name="T6" fmla="*/ 5 w 36"/>
                      <a:gd name="T7" fmla="*/ 5 h 23"/>
                      <a:gd name="T8" fmla="*/ 0 w 36"/>
                      <a:gd name="T9" fmla="*/ 14 h 23"/>
                      <a:gd name="T10" fmla="*/ 0 w 36"/>
                      <a:gd name="T11" fmla="*/ 23 h 23"/>
                    </a:gdLst>
                    <a:ahLst/>
                    <a:cxnLst>
                      <a:cxn ang="0">
                        <a:pos x="T0" y="T1"/>
                      </a:cxn>
                      <a:cxn ang="0">
                        <a:pos x="T2" y="T3"/>
                      </a:cxn>
                      <a:cxn ang="0">
                        <a:pos x="T4" y="T5"/>
                      </a:cxn>
                      <a:cxn ang="0">
                        <a:pos x="T6" y="T7"/>
                      </a:cxn>
                      <a:cxn ang="0">
                        <a:pos x="T8" y="T9"/>
                      </a:cxn>
                      <a:cxn ang="0">
                        <a:pos x="T10" y="T11"/>
                      </a:cxn>
                    </a:cxnLst>
                    <a:rect l="0" t="0" r="r" b="b"/>
                    <a:pathLst>
                      <a:path w="36" h="23">
                        <a:moveTo>
                          <a:pt x="0" y="23"/>
                        </a:moveTo>
                        <a:lnTo>
                          <a:pt x="36" y="0"/>
                        </a:lnTo>
                        <a:lnTo>
                          <a:pt x="32" y="0"/>
                        </a:lnTo>
                        <a:lnTo>
                          <a:pt x="5" y="5"/>
                        </a:lnTo>
                        <a:lnTo>
                          <a:pt x="0" y="14"/>
                        </a:lnTo>
                        <a:lnTo>
                          <a:pt x="0" y="23"/>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16" name="Freeform 148">
                    <a:extLst>
                      <a:ext uri="{FF2B5EF4-FFF2-40B4-BE49-F238E27FC236}">
                        <a16:creationId xmlns:a16="http://schemas.microsoft.com/office/drawing/2014/main" id="{9EDB6B83-80C2-453D-A653-B2B5B3DA2AC7}"/>
                      </a:ext>
                    </a:extLst>
                  </p:cNvPr>
                  <p:cNvSpPr>
                    <a:spLocks/>
                  </p:cNvSpPr>
                  <p:nvPr/>
                </p:nvSpPr>
                <p:spPr bwMode="gray">
                  <a:xfrm>
                    <a:off x="3411" y="2382"/>
                    <a:ext cx="13" cy="26"/>
                  </a:xfrm>
                  <a:custGeom>
                    <a:avLst/>
                    <a:gdLst>
                      <a:gd name="T0" fmla="*/ 0 w 13"/>
                      <a:gd name="T1" fmla="*/ 22 h 26"/>
                      <a:gd name="T2" fmla="*/ 9 w 13"/>
                      <a:gd name="T3" fmla="*/ 26 h 26"/>
                      <a:gd name="T4" fmla="*/ 13 w 13"/>
                      <a:gd name="T5" fmla="*/ 26 h 26"/>
                      <a:gd name="T6" fmla="*/ 13 w 13"/>
                      <a:gd name="T7" fmla="*/ 8 h 26"/>
                      <a:gd name="T8" fmla="*/ 9 w 13"/>
                      <a:gd name="T9" fmla="*/ 0 h 26"/>
                      <a:gd name="T10" fmla="*/ 4 w 13"/>
                      <a:gd name="T11" fmla="*/ 0 h 26"/>
                      <a:gd name="T12" fmla="*/ 4 w 13"/>
                      <a:gd name="T13" fmla="*/ 8 h 26"/>
                      <a:gd name="T14" fmla="*/ 0 w 13"/>
                      <a:gd name="T15" fmla="*/ 8 h 26"/>
                      <a:gd name="T16" fmla="*/ 0 w 13"/>
                      <a:gd name="T17"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6">
                        <a:moveTo>
                          <a:pt x="0" y="22"/>
                        </a:moveTo>
                        <a:lnTo>
                          <a:pt x="9" y="26"/>
                        </a:lnTo>
                        <a:lnTo>
                          <a:pt x="13" y="26"/>
                        </a:lnTo>
                        <a:lnTo>
                          <a:pt x="13" y="8"/>
                        </a:lnTo>
                        <a:lnTo>
                          <a:pt x="9" y="0"/>
                        </a:lnTo>
                        <a:lnTo>
                          <a:pt x="4" y="0"/>
                        </a:lnTo>
                        <a:lnTo>
                          <a:pt x="4" y="8"/>
                        </a:lnTo>
                        <a:lnTo>
                          <a:pt x="0" y="8"/>
                        </a:lnTo>
                        <a:lnTo>
                          <a:pt x="0" y="2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17" name="Freeform 149">
                    <a:extLst>
                      <a:ext uri="{FF2B5EF4-FFF2-40B4-BE49-F238E27FC236}">
                        <a16:creationId xmlns:a16="http://schemas.microsoft.com/office/drawing/2014/main" id="{15822000-99D7-47EB-8708-6BF2BAD07D1F}"/>
                      </a:ext>
                    </a:extLst>
                  </p:cNvPr>
                  <p:cNvSpPr>
                    <a:spLocks noEditPoints="1"/>
                  </p:cNvSpPr>
                  <p:nvPr/>
                </p:nvSpPr>
                <p:spPr bwMode="gray">
                  <a:xfrm>
                    <a:off x="2959" y="911"/>
                    <a:ext cx="2448" cy="1211"/>
                  </a:xfrm>
                  <a:custGeom>
                    <a:avLst/>
                    <a:gdLst>
                      <a:gd name="T0" fmla="*/ 23 w 2448"/>
                      <a:gd name="T1" fmla="*/ 907 h 1211"/>
                      <a:gd name="T2" fmla="*/ 152 w 2448"/>
                      <a:gd name="T3" fmla="*/ 764 h 1211"/>
                      <a:gd name="T4" fmla="*/ 157 w 2448"/>
                      <a:gd name="T5" fmla="*/ 630 h 1211"/>
                      <a:gd name="T6" fmla="*/ 170 w 2448"/>
                      <a:gd name="T7" fmla="*/ 429 h 1211"/>
                      <a:gd name="T8" fmla="*/ 300 w 2448"/>
                      <a:gd name="T9" fmla="*/ 505 h 1211"/>
                      <a:gd name="T10" fmla="*/ 224 w 2448"/>
                      <a:gd name="T11" fmla="*/ 613 h 1211"/>
                      <a:gd name="T12" fmla="*/ 318 w 2448"/>
                      <a:gd name="T13" fmla="*/ 577 h 1211"/>
                      <a:gd name="T14" fmla="*/ 385 w 2448"/>
                      <a:gd name="T15" fmla="*/ 541 h 1211"/>
                      <a:gd name="T16" fmla="*/ 577 w 2448"/>
                      <a:gd name="T17" fmla="*/ 474 h 1211"/>
                      <a:gd name="T18" fmla="*/ 697 w 2448"/>
                      <a:gd name="T19" fmla="*/ 358 h 1211"/>
                      <a:gd name="T20" fmla="*/ 755 w 2448"/>
                      <a:gd name="T21" fmla="*/ 568 h 1211"/>
                      <a:gd name="T22" fmla="*/ 796 w 2448"/>
                      <a:gd name="T23" fmla="*/ 318 h 1211"/>
                      <a:gd name="T24" fmla="*/ 867 w 2448"/>
                      <a:gd name="T25" fmla="*/ 318 h 1211"/>
                      <a:gd name="T26" fmla="*/ 965 w 2448"/>
                      <a:gd name="T27" fmla="*/ 170 h 1211"/>
                      <a:gd name="T28" fmla="*/ 1229 w 2448"/>
                      <a:gd name="T29" fmla="*/ 41 h 1211"/>
                      <a:gd name="T30" fmla="*/ 1314 w 2448"/>
                      <a:gd name="T31" fmla="*/ 242 h 1211"/>
                      <a:gd name="T32" fmla="*/ 1573 w 2448"/>
                      <a:gd name="T33" fmla="*/ 349 h 1211"/>
                      <a:gd name="T34" fmla="*/ 1823 w 2448"/>
                      <a:gd name="T35" fmla="*/ 309 h 1211"/>
                      <a:gd name="T36" fmla="*/ 2073 w 2448"/>
                      <a:gd name="T37" fmla="*/ 438 h 1211"/>
                      <a:gd name="T38" fmla="*/ 2377 w 2448"/>
                      <a:gd name="T39" fmla="*/ 537 h 1211"/>
                      <a:gd name="T40" fmla="*/ 2310 w 2448"/>
                      <a:gd name="T41" fmla="*/ 595 h 1211"/>
                      <a:gd name="T42" fmla="*/ 2095 w 2448"/>
                      <a:gd name="T43" fmla="*/ 782 h 1211"/>
                      <a:gd name="T44" fmla="*/ 2011 w 2448"/>
                      <a:gd name="T45" fmla="*/ 957 h 1211"/>
                      <a:gd name="T46" fmla="*/ 2055 w 2448"/>
                      <a:gd name="T47" fmla="*/ 724 h 1211"/>
                      <a:gd name="T48" fmla="*/ 1854 w 2448"/>
                      <a:gd name="T49" fmla="*/ 782 h 1211"/>
                      <a:gd name="T50" fmla="*/ 1716 w 2448"/>
                      <a:gd name="T51" fmla="*/ 1091 h 1211"/>
                      <a:gd name="T52" fmla="*/ 1649 w 2448"/>
                      <a:gd name="T53" fmla="*/ 1068 h 1211"/>
                      <a:gd name="T54" fmla="*/ 1448 w 2448"/>
                      <a:gd name="T55" fmla="*/ 979 h 1211"/>
                      <a:gd name="T56" fmla="*/ 1140 w 2448"/>
                      <a:gd name="T57" fmla="*/ 979 h 1211"/>
                      <a:gd name="T58" fmla="*/ 934 w 2448"/>
                      <a:gd name="T59" fmla="*/ 1028 h 1211"/>
                      <a:gd name="T60" fmla="*/ 800 w 2448"/>
                      <a:gd name="T61" fmla="*/ 934 h 1211"/>
                      <a:gd name="T62" fmla="*/ 697 w 2448"/>
                      <a:gd name="T63" fmla="*/ 912 h 1211"/>
                      <a:gd name="T64" fmla="*/ 590 w 2448"/>
                      <a:gd name="T65" fmla="*/ 961 h 1211"/>
                      <a:gd name="T66" fmla="*/ 532 w 2448"/>
                      <a:gd name="T67" fmla="*/ 1001 h 1211"/>
                      <a:gd name="T68" fmla="*/ 434 w 2448"/>
                      <a:gd name="T69" fmla="*/ 1010 h 1211"/>
                      <a:gd name="T70" fmla="*/ 420 w 2448"/>
                      <a:gd name="T71" fmla="*/ 1091 h 1211"/>
                      <a:gd name="T72" fmla="*/ 411 w 2448"/>
                      <a:gd name="T73" fmla="*/ 1211 h 1211"/>
                      <a:gd name="T74" fmla="*/ 322 w 2448"/>
                      <a:gd name="T75" fmla="*/ 1171 h 1211"/>
                      <a:gd name="T76" fmla="*/ 273 w 2448"/>
                      <a:gd name="T77" fmla="*/ 1091 h 1211"/>
                      <a:gd name="T78" fmla="*/ 260 w 2448"/>
                      <a:gd name="T79" fmla="*/ 1019 h 1211"/>
                      <a:gd name="T80" fmla="*/ 170 w 2448"/>
                      <a:gd name="T81" fmla="*/ 957 h 1211"/>
                      <a:gd name="T82" fmla="*/ 139 w 2448"/>
                      <a:gd name="T83" fmla="*/ 881 h 1211"/>
                      <a:gd name="T84" fmla="*/ 188 w 2448"/>
                      <a:gd name="T85" fmla="*/ 764 h 1211"/>
                      <a:gd name="T86" fmla="*/ 429 w 2448"/>
                      <a:gd name="T87" fmla="*/ 443 h 1211"/>
                      <a:gd name="T88" fmla="*/ 711 w 2448"/>
                      <a:gd name="T89" fmla="*/ 67 h 1211"/>
                      <a:gd name="T90" fmla="*/ 528 w 2448"/>
                      <a:gd name="T91" fmla="*/ 188 h 1211"/>
                      <a:gd name="T92" fmla="*/ 537 w 2448"/>
                      <a:gd name="T93" fmla="*/ 376 h 1211"/>
                      <a:gd name="T94" fmla="*/ 483 w 2448"/>
                      <a:gd name="T95" fmla="*/ 353 h 1211"/>
                      <a:gd name="T96" fmla="*/ 550 w 2448"/>
                      <a:gd name="T97" fmla="*/ 385 h 1211"/>
                      <a:gd name="T98" fmla="*/ 1296 w 2448"/>
                      <a:gd name="T99" fmla="*/ 890 h 1211"/>
                      <a:gd name="T100" fmla="*/ 1693 w 2448"/>
                      <a:gd name="T101" fmla="*/ 121 h 1211"/>
                      <a:gd name="T102" fmla="*/ 1760 w 2448"/>
                      <a:gd name="T103" fmla="*/ 130 h 1211"/>
                      <a:gd name="T104" fmla="*/ 1734 w 2448"/>
                      <a:gd name="T105" fmla="*/ 242 h 1211"/>
                      <a:gd name="T106" fmla="*/ 1756 w 2448"/>
                      <a:gd name="T107" fmla="*/ 939 h 1211"/>
                      <a:gd name="T108" fmla="*/ 1792 w 2448"/>
                      <a:gd name="T109" fmla="*/ 1055 h 1211"/>
                      <a:gd name="T110" fmla="*/ 1823 w 2448"/>
                      <a:gd name="T111" fmla="*/ 1144 h 1211"/>
                      <a:gd name="T112" fmla="*/ 1832 w 2448"/>
                      <a:gd name="T113" fmla="*/ 188 h 1211"/>
                      <a:gd name="T114" fmla="*/ 1903 w 2448"/>
                      <a:gd name="T115" fmla="*/ 1086 h 1211"/>
                      <a:gd name="T116" fmla="*/ 1953 w 2448"/>
                      <a:gd name="T117" fmla="*/ 1015 h 1211"/>
                      <a:gd name="T118" fmla="*/ 2091 w 2448"/>
                      <a:gd name="T119" fmla="*/ 903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8" h="1211">
                        <a:moveTo>
                          <a:pt x="23" y="894"/>
                        </a:moveTo>
                        <a:lnTo>
                          <a:pt x="27" y="894"/>
                        </a:lnTo>
                        <a:lnTo>
                          <a:pt x="27" y="899"/>
                        </a:lnTo>
                        <a:lnTo>
                          <a:pt x="41" y="903"/>
                        </a:lnTo>
                        <a:lnTo>
                          <a:pt x="50" y="903"/>
                        </a:lnTo>
                        <a:lnTo>
                          <a:pt x="50" y="907"/>
                        </a:lnTo>
                        <a:lnTo>
                          <a:pt x="50" y="921"/>
                        </a:lnTo>
                        <a:lnTo>
                          <a:pt x="27" y="921"/>
                        </a:lnTo>
                        <a:lnTo>
                          <a:pt x="9" y="916"/>
                        </a:lnTo>
                        <a:lnTo>
                          <a:pt x="0" y="916"/>
                        </a:lnTo>
                        <a:lnTo>
                          <a:pt x="9" y="912"/>
                        </a:lnTo>
                        <a:lnTo>
                          <a:pt x="5" y="912"/>
                        </a:lnTo>
                        <a:lnTo>
                          <a:pt x="5" y="907"/>
                        </a:lnTo>
                        <a:lnTo>
                          <a:pt x="14" y="903"/>
                        </a:lnTo>
                        <a:lnTo>
                          <a:pt x="18" y="894"/>
                        </a:lnTo>
                        <a:lnTo>
                          <a:pt x="14" y="907"/>
                        </a:lnTo>
                        <a:lnTo>
                          <a:pt x="23" y="907"/>
                        </a:lnTo>
                        <a:lnTo>
                          <a:pt x="27" y="903"/>
                        </a:lnTo>
                        <a:lnTo>
                          <a:pt x="23" y="894"/>
                        </a:lnTo>
                        <a:close/>
                        <a:moveTo>
                          <a:pt x="117" y="840"/>
                        </a:moveTo>
                        <a:lnTo>
                          <a:pt x="126" y="836"/>
                        </a:lnTo>
                        <a:lnTo>
                          <a:pt x="130" y="832"/>
                        </a:lnTo>
                        <a:lnTo>
                          <a:pt x="121" y="823"/>
                        </a:lnTo>
                        <a:lnTo>
                          <a:pt x="117" y="814"/>
                        </a:lnTo>
                        <a:lnTo>
                          <a:pt x="117" y="809"/>
                        </a:lnTo>
                        <a:lnTo>
                          <a:pt x="117" y="800"/>
                        </a:lnTo>
                        <a:lnTo>
                          <a:pt x="126" y="796"/>
                        </a:lnTo>
                        <a:lnTo>
                          <a:pt x="130" y="787"/>
                        </a:lnTo>
                        <a:lnTo>
                          <a:pt x="126" y="778"/>
                        </a:lnTo>
                        <a:lnTo>
                          <a:pt x="126" y="773"/>
                        </a:lnTo>
                        <a:lnTo>
                          <a:pt x="130" y="778"/>
                        </a:lnTo>
                        <a:lnTo>
                          <a:pt x="139" y="769"/>
                        </a:lnTo>
                        <a:lnTo>
                          <a:pt x="148" y="773"/>
                        </a:lnTo>
                        <a:lnTo>
                          <a:pt x="152" y="764"/>
                        </a:lnTo>
                        <a:lnTo>
                          <a:pt x="148" y="764"/>
                        </a:lnTo>
                        <a:lnTo>
                          <a:pt x="134" y="764"/>
                        </a:lnTo>
                        <a:lnTo>
                          <a:pt x="130" y="756"/>
                        </a:lnTo>
                        <a:lnTo>
                          <a:pt x="134" y="756"/>
                        </a:lnTo>
                        <a:lnTo>
                          <a:pt x="134" y="747"/>
                        </a:lnTo>
                        <a:lnTo>
                          <a:pt x="130" y="756"/>
                        </a:lnTo>
                        <a:lnTo>
                          <a:pt x="126" y="756"/>
                        </a:lnTo>
                        <a:lnTo>
                          <a:pt x="134" y="747"/>
                        </a:lnTo>
                        <a:lnTo>
                          <a:pt x="143" y="738"/>
                        </a:lnTo>
                        <a:lnTo>
                          <a:pt x="148" y="724"/>
                        </a:lnTo>
                        <a:lnTo>
                          <a:pt x="175" y="697"/>
                        </a:lnTo>
                        <a:lnTo>
                          <a:pt x="179" y="689"/>
                        </a:lnTo>
                        <a:lnTo>
                          <a:pt x="161" y="671"/>
                        </a:lnTo>
                        <a:lnTo>
                          <a:pt x="148" y="657"/>
                        </a:lnTo>
                        <a:lnTo>
                          <a:pt x="161" y="644"/>
                        </a:lnTo>
                        <a:lnTo>
                          <a:pt x="148" y="635"/>
                        </a:lnTo>
                        <a:lnTo>
                          <a:pt x="157" y="630"/>
                        </a:lnTo>
                        <a:lnTo>
                          <a:pt x="148" y="626"/>
                        </a:lnTo>
                        <a:lnTo>
                          <a:pt x="148" y="581"/>
                        </a:lnTo>
                        <a:lnTo>
                          <a:pt x="157" y="577"/>
                        </a:lnTo>
                        <a:lnTo>
                          <a:pt x="148" y="563"/>
                        </a:lnTo>
                        <a:lnTo>
                          <a:pt x="143" y="546"/>
                        </a:lnTo>
                        <a:lnTo>
                          <a:pt x="134" y="532"/>
                        </a:lnTo>
                        <a:lnTo>
                          <a:pt x="148" y="505"/>
                        </a:lnTo>
                        <a:lnTo>
                          <a:pt x="148" y="496"/>
                        </a:lnTo>
                        <a:lnTo>
                          <a:pt x="134" y="487"/>
                        </a:lnTo>
                        <a:lnTo>
                          <a:pt x="130" y="470"/>
                        </a:lnTo>
                        <a:lnTo>
                          <a:pt x="139" y="452"/>
                        </a:lnTo>
                        <a:lnTo>
                          <a:pt x="148" y="438"/>
                        </a:lnTo>
                        <a:lnTo>
                          <a:pt x="148" y="429"/>
                        </a:lnTo>
                        <a:lnTo>
                          <a:pt x="148" y="429"/>
                        </a:lnTo>
                        <a:lnTo>
                          <a:pt x="157" y="438"/>
                        </a:lnTo>
                        <a:lnTo>
                          <a:pt x="161" y="425"/>
                        </a:lnTo>
                        <a:lnTo>
                          <a:pt x="170" y="429"/>
                        </a:lnTo>
                        <a:lnTo>
                          <a:pt x="175" y="425"/>
                        </a:lnTo>
                        <a:lnTo>
                          <a:pt x="175" y="416"/>
                        </a:lnTo>
                        <a:lnTo>
                          <a:pt x="197" y="425"/>
                        </a:lnTo>
                        <a:lnTo>
                          <a:pt x="193" y="434"/>
                        </a:lnTo>
                        <a:lnTo>
                          <a:pt x="179" y="429"/>
                        </a:lnTo>
                        <a:lnTo>
                          <a:pt x="179" y="434"/>
                        </a:lnTo>
                        <a:lnTo>
                          <a:pt x="201" y="443"/>
                        </a:lnTo>
                        <a:lnTo>
                          <a:pt x="197" y="456"/>
                        </a:lnTo>
                        <a:lnTo>
                          <a:pt x="206" y="452"/>
                        </a:lnTo>
                        <a:lnTo>
                          <a:pt x="224" y="452"/>
                        </a:lnTo>
                        <a:lnTo>
                          <a:pt x="228" y="447"/>
                        </a:lnTo>
                        <a:lnTo>
                          <a:pt x="233" y="447"/>
                        </a:lnTo>
                        <a:lnTo>
                          <a:pt x="246" y="456"/>
                        </a:lnTo>
                        <a:lnTo>
                          <a:pt x="273" y="483"/>
                        </a:lnTo>
                        <a:lnTo>
                          <a:pt x="277" y="478"/>
                        </a:lnTo>
                        <a:lnTo>
                          <a:pt x="300" y="496"/>
                        </a:lnTo>
                        <a:lnTo>
                          <a:pt x="300" y="505"/>
                        </a:lnTo>
                        <a:lnTo>
                          <a:pt x="309" y="510"/>
                        </a:lnTo>
                        <a:lnTo>
                          <a:pt x="309" y="537"/>
                        </a:lnTo>
                        <a:lnTo>
                          <a:pt x="300" y="563"/>
                        </a:lnTo>
                        <a:lnTo>
                          <a:pt x="282" y="572"/>
                        </a:lnTo>
                        <a:lnTo>
                          <a:pt x="246" y="568"/>
                        </a:lnTo>
                        <a:lnTo>
                          <a:pt x="219" y="559"/>
                        </a:lnTo>
                        <a:lnTo>
                          <a:pt x="201" y="550"/>
                        </a:lnTo>
                        <a:lnTo>
                          <a:pt x="193" y="537"/>
                        </a:lnTo>
                        <a:lnTo>
                          <a:pt x="184" y="537"/>
                        </a:lnTo>
                        <a:lnTo>
                          <a:pt x="188" y="550"/>
                        </a:lnTo>
                        <a:lnTo>
                          <a:pt x="197" y="554"/>
                        </a:lnTo>
                        <a:lnTo>
                          <a:pt x="197" y="559"/>
                        </a:lnTo>
                        <a:lnTo>
                          <a:pt x="206" y="563"/>
                        </a:lnTo>
                        <a:lnTo>
                          <a:pt x="219" y="568"/>
                        </a:lnTo>
                        <a:lnTo>
                          <a:pt x="224" y="581"/>
                        </a:lnTo>
                        <a:lnTo>
                          <a:pt x="219" y="604"/>
                        </a:lnTo>
                        <a:lnTo>
                          <a:pt x="224" y="613"/>
                        </a:lnTo>
                        <a:lnTo>
                          <a:pt x="219" y="630"/>
                        </a:lnTo>
                        <a:lnTo>
                          <a:pt x="233" y="630"/>
                        </a:lnTo>
                        <a:lnTo>
                          <a:pt x="246" y="644"/>
                        </a:lnTo>
                        <a:lnTo>
                          <a:pt x="268" y="644"/>
                        </a:lnTo>
                        <a:lnTo>
                          <a:pt x="268" y="630"/>
                        </a:lnTo>
                        <a:lnTo>
                          <a:pt x="255" y="630"/>
                        </a:lnTo>
                        <a:lnTo>
                          <a:pt x="246" y="617"/>
                        </a:lnTo>
                        <a:lnTo>
                          <a:pt x="251" y="604"/>
                        </a:lnTo>
                        <a:lnTo>
                          <a:pt x="260" y="608"/>
                        </a:lnTo>
                        <a:lnTo>
                          <a:pt x="291" y="626"/>
                        </a:lnTo>
                        <a:lnTo>
                          <a:pt x="304" y="626"/>
                        </a:lnTo>
                        <a:lnTo>
                          <a:pt x="300" y="617"/>
                        </a:lnTo>
                        <a:lnTo>
                          <a:pt x="291" y="604"/>
                        </a:lnTo>
                        <a:lnTo>
                          <a:pt x="291" y="595"/>
                        </a:lnTo>
                        <a:lnTo>
                          <a:pt x="300" y="586"/>
                        </a:lnTo>
                        <a:lnTo>
                          <a:pt x="304" y="577"/>
                        </a:lnTo>
                        <a:lnTo>
                          <a:pt x="318" y="577"/>
                        </a:lnTo>
                        <a:lnTo>
                          <a:pt x="327" y="559"/>
                        </a:lnTo>
                        <a:lnTo>
                          <a:pt x="358" y="572"/>
                        </a:lnTo>
                        <a:lnTo>
                          <a:pt x="362" y="546"/>
                        </a:lnTo>
                        <a:lnTo>
                          <a:pt x="362" y="528"/>
                        </a:lnTo>
                        <a:lnTo>
                          <a:pt x="349" y="528"/>
                        </a:lnTo>
                        <a:lnTo>
                          <a:pt x="349" y="505"/>
                        </a:lnTo>
                        <a:lnTo>
                          <a:pt x="353" y="487"/>
                        </a:lnTo>
                        <a:lnTo>
                          <a:pt x="340" y="474"/>
                        </a:lnTo>
                        <a:lnTo>
                          <a:pt x="344" y="470"/>
                        </a:lnTo>
                        <a:lnTo>
                          <a:pt x="358" y="474"/>
                        </a:lnTo>
                        <a:lnTo>
                          <a:pt x="371" y="474"/>
                        </a:lnTo>
                        <a:lnTo>
                          <a:pt x="389" y="492"/>
                        </a:lnTo>
                        <a:lnTo>
                          <a:pt x="394" y="501"/>
                        </a:lnTo>
                        <a:lnTo>
                          <a:pt x="376" y="505"/>
                        </a:lnTo>
                        <a:lnTo>
                          <a:pt x="371" y="519"/>
                        </a:lnTo>
                        <a:lnTo>
                          <a:pt x="376" y="523"/>
                        </a:lnTo>
                        <a:lnTo>
                          <a:pt x="385" y="541"/>
                        </a:lnTo>
                        <a:lnTo>
                          <a:pt x="407" y="541"/>
                        </a:lnTo>
                        <a:lnTo>
                          <a:pt x="411" y="510"/>
                        </a:lnTo>
                        <a:lnTo>
                          <a:pt x="447" y="483"/>
                        </a:lnTo>
                        <a:lnTo>
                          <a:pt x="456" y="483"/>
                        </a:lnTo>
                        <a:lnTo>
                          <a:pt x="487" y="461"/>
                        </a:lnTo>
                        <a:lnTo>
                          <a:pt x="501" y="461"/>
                        </a:lnTo>
                        <a:lnTo>
                          <a:pt x="492" y="474"/>
                        </a:lnTo>
                        <a:lnTo>
                          <a:pt x="496" y="483"/>
                        </a:lnTo>
                        <a:lnTo>
                          <a:pt x="487" y="487"/>
                        </a:lnTo>
                        <a:lnTo>
                          <a:pt x="501" y="492"/>
                        </a:lnTo>
                        <a:lnTo>
                          <a:pt x="523" y="474"/>
                        </a:lnTo>
                        <a:lnTo>
                          <a:pt x="541" y="474"/>
                        </a:lnTo>
                        <a:lnTo>
                          <a:pt x="559" y="461"/>
                        </a:lnTo>
                        <a:lnTo>
                          <a:pt x="568" y="461"/>
                        </a:lnTo>
                        <a:lnTo>
                          <a:pt x="568" y="483"/>
                        </a:lnTo>
                        <a:lnTo>
                          <a:pt x="581" y="483"/>
                        </a:lnTo>
                        <a:lnTo>
                          <a:pt x="577" y="474"/>
                        </a:lnTo>
                        <a:lnTo>
                          <a:pt x="595" y="465"/>
                        </a:lnTo>
                        <a:lnTo>
                          <a:pt x="586" y="438"/>
                        </a:lnTo>
                        <a:lnTo>
                          <a:pt x="595" y="429"/>
                        </a:lnTo>
                        <a:lnTo>
                          <a:pt x="630" y="434"/>
                        </a:lnTo>
                        <a:lnTo>
                          <a:pt x="662" y="456"/>
                        </a:lnTo>
                        <a:lnTo>
                          <a:pt x="693" y="478"/>
                        </a:lnTo>
                        <a:lnTo>
                          <a:pt x="702" y="496"/>
                        </a:lnTo>
                        <a:lnTo>
                          <a:pt x="711" y="470"/>
                        </a:lnTo>
                        <a:lnTo>
                          <a:pt x="702" y="470"/>
                        </a:lnTo>
                        <a:lnTo>
                          <a:pt x="693" y="443"/>
                        </a:lnTo>
                        <a:lnTo>
                          <a:pt x="679" y="443"/>
                        </a:lnTo>
                        <a:lnTo>
                          <a:pt x="679" y="420"/>
                        </a:lnTo>
                        <a:lnTo>
                          <a:pt x="684" y="411"/>
                        </a:lnTo>
                        <a:lnTo>
                          <a:pt x="684" y="389"/>
                        </a:lnTo>
                        <a:lnTo>
                          <a:pt x="675" y="394"/>
                        </a:lnTo>
                        <a:lnTo>
                          <a:pt x="684" y="362"/>
                        </a:lnTo>
                        <a:lnTo>
                          <a:pt x="697" y="358"/>
                        </a:lnTo>
                        <a:lnTo>
                          <a:pt x="706" y="331"/>
                        </a:lnTo>
                        <a:lnTo>
                          <a:pt x="711" y="295"/>
                        </a:lnTo>
                        <a:lnTo>
                          <a:pt x="720" y="282"/>
                        </a:lnTo>
                        <a:lnTo>
                          <a:pt x="751" y="282"/>
                        </a:lnTo>
                        <a:lnTo>
                          <a:pt x="760" y="291"/>
                        </a:lnTo>
                        <a:lnTo>
                          <a:pt x="755" y="340"/>
                        </a:lnTo>
                        <a:lnTo>
                          <a:pt x="746" y="340"/>
                        </a:lnTo>
                        <a:lnTo>
                          <a:pt x="769" y="376"/>
                        </a:lnTo>
                        <a:lnTo>
                          <a:pt x="760" y="456"/>
                        </a:lnTo>
                        <a:lnTo>
                          <a:pt x="773" y="478"/>
                        </a:lnTo>
                        <a:lnTo>
                          <a:pt x="764" y="492"/>
                        </a:lnTo>
                        <a:lnTo>
                          <a:pt x="769" y="510"/>
                        </a:lnTo>
                        <a:lnTo>
                          <a:pt x="755" y="537"/>
                        </a:lnTo>
                        <a:lnTo>
                          <a:pt x="746" y="546"/>
                        </a:lnTo>
                        <a:lnTo>
                          <a:pt x="738" y="554"/>
                        </a:lnTo>
                        <a:lnTo>
                          <a:pt x="742" y="563"/>
                        </a:lnTo>
                        <a:lnTo>
                          <a:pt x="755" y="568"/>
                        </a:lnTo>
                        <a:lnTo>
                          <a:pt x="760" y="554"/>
                        </a:lnTo>
                        <a:lnTo>
                          <a:pt x="778" y="541"/>
                        </a:lnTo>
                        <a:lnTo>
                          <a:pt x="782" y="514"/>
                        </a:lnTo>
                        <a:lnTo>
                          <a:pt x="791" y="510"/>
                        </a:lnTo>
                        <a:lnTo>
                          <a:pt x="791" y="478"/>
                        </a:lnTo>
                        <a:lnTo>
                          <a:pt x="818" y="465"/>
                        </a:lnTo>
                        <a:lnTo>
                          <a:pt x="827" y="505"/>
                        </a:lnTo>
                        <a:lnTo>
                          <a:pt x="840" y="487"/>
                        </a:lnTo>
                        <a:lnTo>
                          <a:pt x="836" y="465"/>
                        </a:lnTo>
                        <a:lnTo>
                          <a:pt x="809" y="456"/>
                        </a:lnTo>
                        <a:lnTo>
                          <a:pt x="778" y="461"/>
                        </a:lnTo>
                        <a:lnTo>
                          <a:pt x="773" y="416"/>
                        </a:lnTo>
                        <a:lnTo>
                          <a:pt x="787" y="398"/>
                        </a:lnTo>
                        <a:lnTo>
                          <a:pt x="778" y="362"/>
                        </a:lnTo>
                        <a:lnTo>
                          <a:pt x="769" y="358"/>
                        </a:lnTo>
                        <a:lnTo>
                          <a:pt x="778" y="335"/>
                        </a:lnTo>
                        <a:lnTo>
                          <a:pt x="796" y="318"/>
                        </a:lnTo>
                        <a:lnTo>
                          <a:pt x="796" y="286"/>
                        </a:lnTo>
                        <a:lnTo>
                          <a:pt x="800" y="282"/>
                        </a:lnTo>
                        <a:lnTo>
                          <a:pt x="809" y="309"/>
                        </a:lnTo>
                        <a:lnTo>
                          <a:pt x="805" y="358"/>
                        </a:lnTo>
                        <a:lnTo>
                          <a:pt x="836" y="367"/>
                        </a:lnTo>
                        <a:lnTo>
                          <a:pt x="840" y="380"/>
                        </a:lnTo>
                        <a:lnTo>
                          <a:pt x="849" y="376"/>
                        </a:lnTo>
                        <a:lnTo>
                          <a:pt x="836" y="358"/>
                        </a:lnTo>
                        <a:lnTo>
                          <a:pt x="813" y="344"/>
                        </a:lnTo>
                        <a:lnTo>
                          <a:pt x="818" y="327"/>
                        </a:lnTo>
                        <a:lnTo>
                          <a:pt x="836" y="335"/>
                        </a:lnTo>
                        <a:lnTo>
                          <a:pt x="845" y="322"/>
                        </a:lnTo>
                        <a:lnTo>
                          <a:pt x="831" y="322"/>
                        </a:lnTo>
                        <a:lnTo>
                          <a:pt x="831" y="313"/>
                        </a:lnTo>
                        <a:lnTo>
                          <a:pt x="845" y="304"/>
                        </a:lnTo>
                        <a:lnTo>
                          <a:pt x="863" y="309"/>
                        </a:lnTo>
                        <a:lnTo>
                          <a:pt x="867" y="318"/>
                        </a:lnTo>
                        <a:lnTo>
                          <a:pt x="880" y="318"/>
                        </a:lnTo>
                        <a:lnTo>
                          <a:pt x="894" y="340"/>
                        </a:lnTo>
                        <a:lnTo>
                          <a:pt x="912" y="335"/>
                        </a:lnTo>
                        <a:lnTo>
                          <a:pt x="912" y="353"/>
                        </a:lnTo>
                        <a:lnTo>
                          <a:pt x="903" y="362"/>
                        </a:lnTo>
                        <a:lnTo>
                          <a:pt x="898" y="389"/>
                        </a:lnTo>
                        <a:lnTo>
                          <a:pt x="921" y="389"/>
                        </a:lnTo>
                        <a:lnTo>
                          <a:pt x="916" y="367"/>
                        </a:lnTo>
                        <a:lnTo>
                          <a:pt x="925" y="335"/>
                        </a:lnTo>
                        <a:lnTo>
                          <a:pt x="912" y="327"/>
                        </a:lnTo>
                        <a:lnTo>
                          <a:pt x="880" y="291"/>
                        </a:lnTo>
                        <a:lnTo>
                          <a:pt x="880" y="242"/>
                        </a:lnTo>
                        <a:lnTo>
                          <a:pt x="965" y="233"/>
                        </a:lnTo>
                        <a:lnTo>
                          <a:pt x="961" y="215"/>
                        </a:lnTo>
                        <a:lnTo>
                          <a:pt x="952" y="215"/>
                        </a:lnTo>
                        <a:lnTo>
                          <a:pt x="947" y="192"/>
                        </a:lnTo>
                        <a:lnTo>
                          <a:pt x="965" y="170"/>
                        </a:lnTo>
                        <a:lnTo>
                          <a:pt x="983" y="175"/>
                        </a:lnTo>
                        <a:lnTo>
                          <a:pt x="1001" y="157"/>
                        </a:lnTo>
                        <a:lnTo>
                          <a:pt x="1055" y="130"/>
                        </a:lnTo>
                        <a:lnTo>
                          <a:pt x="1050" y="117"/>
                        </a:lnTo>
                        <a:lnTo>
                          <a:pt x="1090" y="85"/>
                        </a:lnTo>
                        <a:lnTo>
                          <a:pt x="1113" y="90"/>
                        </a:lnTo>
                        <a:lnTo>
                          <a:pt x="1090" y="117"/>
                        </a:lnTo>
                        <a:lnTo>
                          <a:pt x="1108" y="117"/>
                        </a:lnTo>
                        <a:lnTo>
                          <a:pt x="1135" y="94"/>
                        </a:lnTo>
                        <a:lnTo>
                          <a:pt x="1144" y="94"/>
                        </a:lnTo>
                        <a:lnTo>
                          <a:pt x="1135" y="81"/>
                        </a:lnTo>
                        <a:lnTo>
                          <a:pt x="1166" y="76"/>
                        </a:lnTo>
                        <a:lnTo>
                          <a:pt x="1175" y="41"/>
                        </a:lnTo>
                        <a:lnTo>
                          <a:pt x="1198" y="14"/>
                        </a:lnTo>
                        <a:lnTo>
                          <a:pt x="1224" y="0"/>
                        </a:lnTo>
                        <a:lnTo>
                          <a:pt x="1247" y="18"/>
                        </a:lnTo>
                        <a:lnTo>
                          <a:pt x="1229" y="41"/>
                        </a:lnTo>
                        <a:lnTo>
                          <a:pt x="1256" y="54"/>
                        </a:lnTo>
                        <a:lnTo>
                          <a:pt x="1242" y="81"/>
                        </a:lnTo>
                        <a:lnTo>
                          <a:pt x="1260" y="81"/>
                        </a:lnTo>
                        <a:lnTo>
                          <a:pt x="1274" y="63"/>
                        </a:lnTo>
                        <a:lnTo>
                          <a:pt x="1323" y="58"/>
                        </a:lnTo>
                        <a:lnTo>
                          <a:pt x="1345" y="76"/>
                        </a:lnTo>
                        <a:lnTo>
                          <a:pt x="1349" y="94"/>
                        </a:lnTo>
                        <a:lnTo>
                          <a:pt x="1345" y="166"/>
                        </a:lnTo>
                        <a:lnTo>
                          <a:pt x="1332" y="184"/>
                        </a:lnTo>
                        <a:lnTo>
                          <a:pt x="1287" y="224"/>
                        </a:lnTo>
                        <a:lnTo>
                          <a:pt x="1269" y="255"/>
                        </a:lnTo>
                        <a:lnTo>
                          <a:pt x="1251" y="268"/>
                        </a:lnTo>
                        <a:lnTo>
                          <a:pt x="1251" y="273"/>
                        </a:lnTo>
                        <a:lnTo>
                          <a:pt x="1287" y="260"/>
                        </a:lnTo>
                        <a:lnTo>
                          <a:pt x="1300" y="233"/>
                        </a:lnTo>
                        <a:lnTo>
                          <a:pt x="1314" y="228"/>
                        </a:lnTo>
                        <a:lnTo>
                          <a:pt x="1314" y="242"/>
                        </a:lnTo>
                        <a:lnTo>
                          <a:pt x="1336" y="246"/>
                        </a:lnTo>
                        <a:lnTo>
                          <a:pt x="1341" y="233"/>
                        </a:lnTo>
                        <a:lnTo>
                          <a:pt x="1349" y="255"/>
                        </a:lnTo>
                        <a:lnTo>
                          <a:pt x="1372" y="242"/>
                        </a:lnTo>
                        <a:lnTo>
                          <a:pt x="1421" y="251"/>
                        </a:lnTo>
                        <a:lnTo>
                          <a:pt x="1416" y="273"/>
                        </a:lnTo>
                        <a:lnTo>
                          <a:pt x="1466" y="282"/>
                        </a:lnTo>
                        <a:lnTo>
                          <a:pt x="1479" y="286"/>
                        </a:lnTo>
                        <a:lnTo>
                          <a:pt x="1488" y="268"/>
                        </a:lnTo>
                        <a:lnTo>
                          <a:pt x="1475" y="255"/>
                        </a:lnTo>
                        <a:lnTo>
                          <a:pt x="1497" y="237"/>
                        </a:lnTo>
                        <a:lnTo>
                          <a:pt x="1528" y="255"/>
                        </a:lnTo>
                        <a:lnTo>
                          <a:pt x="1573" y="277"/>
                        </a:lnTo>
                        <a:lnTo>
                          <a:pt x="1564" y="335"/>
                        </a:lnTo>
                        <a:lnTo>
                          <a:pt x="1573" y="335"/>
                        </a:lnTo>
                        <a:lnTo>
                          <a:pt x="1577" y="344"/>
                        </a:lnTo>
                        <a:lnTo>
                          <a:pt x="1573" y="349"/>
                        </a:lnTo>
                        <a:lnTo>
                          <a:pt x="1582" y="371"/>
                        </a:lnTo>
                        <a:lnTo>
                          <a:pt x="1595" y="380"/>
                        </a:lnTo>
                        <a:lnTo>
                          <a:pt x="1600" y="394"/>
                        </a:lnTo>
                        <a:lnTo>
                          <a:pt x="1613" y="367"/>
                        </a:lnTo>
                        <a:lnTo>
                          <a:pt x="1617" y="331"/>
                        </a:lnTo>
                        <a:lnTo>
                          <a:pt x="1626" y="331"/>
                        </a:lnTo>
                        <a:lnTo>
                          <a:pt x="1635" y="358"/>
                        </a:lnTo>
                        <a:lnTo>
                          <a:pt x="1653" y="353"/>
                        </a:lnTo>
                        <a:lnTo>
                          <a:pt x="1662" y="344"/>
                        </a:lnTo>
                        <a:lnTo>
                          <a:pt x="1725" y="353"/>
                        </a:lnTo>
                        <a:lnTo>
                          <a:pt x="1720" y="331"/>
                        </a:lnTo>
                        <a:lnTo>
                          <a:pt x="1725" y="318"/>
                        </a:lnTo>
                        <a:lnTo>
                          <a:pt x="1711" y="318"/>
                        </a:lnTo>
                        <a:lnTo>
                          <a:pt x="1716" y="304"/>
                        </a:lnTo>
                        <a:lnTo>
                          <a:pt x="1734" y="304"/>
                        </a:lnTo>
                        <a:lnTo>
                          <a:pt x="1734" y="286"/>
                        </a:lnTo>
                        <a:lnTo>
                          <a:pt x="1823" y="309"/>
                        </a:lnTo>
                        <a:lnTo>
                          <a:pt x="1787" y="304"/>
                        </a:lnTo>
                        <a:lnTo>
                          <a:pt x="1783" y="322"/>
                        </a:lnTo>
                        <a:lnTo>
                          <a:pt x="1823" y="313"/>
                        </a:lnTo>
                        <a:lnTo>
                          <a:pt x="1796" y="344"/>
                        </a:lnTo>
                        <a:lnTo>
                          <a:pt x="1814" y="335"/>
                        </a:lnTo>
                        <a:lnTo>
                          <a:pt x="1832" y="313"/>
                        </a:lnTo>
                        <a:lnTo>
                          <a:pt x="1859" y="313"/>
                        </a:lnTo>
                        <a:lnTo>
                          <a:pt x="1868" y="331"/>
                        </a:lnTo>
                        <a:lnTo>
                          <a:pt x="1854" y="340"/>
                        </a:lnTo>
                        <a:lnTo>
                          <a:pt x="1868" y="349"/>
                        </a:lnTo>
                        <a:lnTo>
                          <a:pt x="1903" y="380"/>
                        </a:lnTo>
                        <a:lnTo>
                          <a:pt x="1975" y="376"/>
                        </a:lnTo>
                        <a:lnTo>
                          <a:pt x="1997" y="380"/>
                        </a:lnTo>
                        <a:lnTo>
                          <a:pt x="2011" y="411"/>
                        </a:lnTo>
                        <a:lnTo>
                          <a:pt x="2011" y="438"/>
                        </a:lnTo>
                        <a:lnTo>
                          <a:pt x="2037" y="443"/>
                        </a:lnTo>
                        <a:lnTo>
                          <a:pt x="2073" y="438"/>
                        </a:lnTo>
                        <a:lnTo>
                          <a:pt x="2078" y="447"/>
                        </a:lnTo>
                        <a:lnTo>
                          <a:pt x="2091" y="443"/>
                        </a:lnTo>
                        <a:lnTo>
                          <a:pt x="2104" y="447"/>
                        </a:lnTo>
                        <a:lnTo>
                          <a:pt x="2122" y="434"/>
                        </a:lnTo>
                        <a:lnTo>
                          <a:pt x="2122" y="420"/>
                        </a:lnTo>
                        <a:lnTo>
                          <a:pt x="2140" y="429"/>
                        </a:lnTo>
                        <a:lnTo>
                          <a:pt x="2127" y="443"/>
                        </a:lnTo>
                        <a:lnTo>
                          <a:pt x="2140" y="478"/>
                        </a:lnTo>
                        <a:lnTo>
                          <a:pt x="2167" y="470"/>
                        </a:lnTo>
                        <a:lnTo>
                          <a:pt x="2167" y="443"/>
                        </a:lnTo>
                        <a:lnTo>
                          <a:pt x="2158" y="438"/>
                        </a:lnTo>
                        <a:lnTo>
                          <a:pt x="2158" y="420"/>
                        </a:lnTo>
                        <a:lnTo>
                          <a:pt x="2203" y="429"/>
                        </a:lnTo>
                        <a:lnTo>
                          <a:pt x="2243" y="434"/>
                        </a:lnTo>
                        <a:lnTo>
                          <a:pt x="2283" y="452"/>
                        </a:lnTo>
                        <a:lnTo>
                          <a:pt x="2368" y="519"/>
                        </a:lnTo>
                        <a:lnTo>
                          <a:pt x="2377" y="537"/>
                        </a:lnTo>
                        <a:lnTo>
                          <a:pt x="2372" y="554"/>
                        </a:lnTo>
                        <a:lnTo>
                          <a:pt x="2386" y="559"/>
                        </a:lnTo>
                        <a:lnTo>
                          <a:pt x="2381" y="537"/>
                        </a:lnTo>
                        <a:lnTo>
                          <a:pt x="2422" y="541"/>
                        </a:lnTo>
                        <a:lnTo>
                          <a:pt x="2448" y="577"/>
                        </a:lnTo>
                        <a:lnTo>
                          <a:pt x="2435" y="595"/>
                        </a:lnTo>
                        <a:lnTo>
                          <a:pt x="2417" y="595"/>
                        </a:lnTo>
                        <a:lnTo>
                          <a:pt x="2417" y="617"/>
                        </a:lnTo>
                        <a:lnTo>
                          <a:pt x="2404" y="639"/>
                        </a:lnTo>
                        <a:lnTo>
                          <a:pt x="2377" y="626"/>
                        </a:lnTo>
                        <a:lnTo>
                          <a:pt x="2363" y="626"/>
                        </a:lnTo>
                        <a:lnTo>
                          <a:pt x="2359" y="604"/>
                        </a:lnTo>
                        <a:lnTo>
                          <a:pt x="2346" y="599"/>
                        </a:lnTo>
                        <a:lnTo>
                          <a:pt x="2319" y="599"/>
                        </a:lnTo>
                        <a:lnTo>
                          <a:pt x="2319" y="577"/>
                        </a:lnTo>
                        <a:lnTo>
                          <a:pt x="2305" y="581"/>
                        </a:lnTo>
                        <a:lnTo>
                          <a:pt x="2310" y="595"/>
                        </a:lnTo>
                        <a:lnTo>
                          <a:pt x="2305" y="608"/>
                        </a:lnTo>
                        <a:lnTo>
                          <a:pt x="2279" y="635"/>
                        </a:lnTo>
                        <a:lnTo>
                          <a:pt x="2256" y="621"/>
                        </a:lnTo>
                        <a:lnTo>
                          <a:pt x="2256" y="626"/>
                        </a:lnTo>
                        <a:lnTo>
                          <a:pt x="2274" y="644"/>
                        </a:lnTo>
                        <a:lnTo>
                          <a:pt x="2279" y="671"/>
                        </a:lnTo>
                        <a:lnTo>
                          <a:pt x="2292" y="684"/>
                        </a:lnTo>
                        <a:lnTo>
                          <a:pt x="2283" y="702"/>
                        </a:lnTo>
                        <a:lnTo>
                          <a:pt x="2261" y="693"/>
                        </a:lnTo>
                        <a:lnTo>
                          <a:pt x="2238" y="702"/>
                        </a:lnTo>
                        <a:lnTo>
                          <a:pt x="2207" y="724"/>
                        </a:lnTo>
                        <a:lnTo>
                          <a:pt x="2180" y="742"/>
                        </a:lnTo>
                        <a:lnTo>
                          <a:pt x="2162" y="782"/>
                        </a:lnTo>
                        <a:lnTo>
                          <a:pt x="2145" y="760"/>
                        </a:lnTo>
                        <a:lnTo>
                          <a:pt x="2127" y="760"/>
                        </a:lnTo>
                        <a:lnTo>
                          <a:pt x="2095" y="782"/>
                        </a:lnTo>
                        <a:lnTo>
                          <a:pt x="2095" y="782"/>
                        </a:lnTo>
                        <a:lnTo>
                          <a:pt x="2095" y="760"/>
                        </a:lnTo>
                        <a:lnTo>
                          <a:pt x="2082" y="787"/>
                        </a:lnTo>
                        <a:lnTo>
                          <a:pt x="2064" y="778"/>
                        </a:lnTo>
                        <a:lnTo>
                          <a:pt x="2037" y="832"/>
                        </a:lnTo>
                        <a:lnTo>
                          <a:pt x="2055" y="836"/>
                        </a:lnTo>
                        <a:lnTo>
                          <a:pt x="2046" y="863"/>
                        </a:lnTo>
                        <a:lnTo>
                          <a:pt x="2055" y="876"/>
                        </a:lnTo>
                        <a:lnTo>
                          <a:pt x="2046" y="885"/>
                        </a:lnTo>
                        <a:lnTo>
                          <a:pt x="2033" y="881"/>
                        </a:lnTo>
                        <a:lnTo>
                          <a:pt x="2028" y="907"/>
                        </a:lnTo>
                        <a:lnTo>
                          <a:pt x="2037" y="912"/>
                        </a:lnTo>
                        <a:lnTo>
                          <a:pt x="2033" y="925"/>
                        </a:lnTo>
                        <a:lnTo>
                          <a:pt x="2024" y="916"/>
                        </a:lnTo>
                        <a:lnTo>
                          <a:pt x="2011" y="930"/>
                        </a:lnTo>
                        <a:lnTo>
                          <a:pt x="2006" y="948"/>
                        </a:lnTo>
                        <a:lnTo>
                          <a:pt x="2015" y="952"/>
                        </a:lnTo>
                        <a:lnTo>
                          <a:pt x="2011" y="957"/>
                        </a:lnTo>
                        <a:lnTo>
                          <a:pt x="2006" y="952"/>
                        </a:lnTo>
                        <a:lnTo>
                          <a:pt x="1988" y="961"/>
                        </a:lnTo>
                        <a:lnTo>
                          <a:pt x="1988" y="975"/>
                        </a:lnTo>
                        <a:lnTo>
                          <a:pt x="1961" y="1015"/>
                        </a:lnTo>
                        <a:lnTo>
                          <a:pt x="1953" y="961"/>
                        </a:lnTo>
                        <a:lnTo>
                          <a:pt x="1944" y="903"/>
                        </a:lnTo>
                        <a:lnTo>
                          <a:pt x="1944" y="881"/>
                        </a:lnTo>
                        <a:lnTo>
                          <a:pt x="1953" y="854"/>
                        </a:lnTo>
                        <a:lnTo>
                          <a:pt x="1966" y="845"/>
                        </a:lnTo>
                        <a:lnTo>
                          <a:pt x="1961" y="836"/>
                        </a:lnTo>
                        <a:lnTo>
                          <a:pt x="1984" y="827"/>
                        </a:lnTo>
                        <a:lnTo>
                          <a:pt x="2060" y="747"/>
                        </a:lnTo>
                        <a:lnTo>
                          <a:pt x="2069" y="706"/>
                        </a:lnTo>
                        <a:lnTo>
                          <a:pt x="2082" y="693"/>
                        </a:lnTo>
                        <a:lnTo>
                          <a:pt x="2073" y="689"/>
                        </a:lnTo>
                        <a:lnTo>
                          <a:pt x="2055" y="697"/>
                        </a:lnTo>
                        <a:lnTo>
                          <a:pt x="2055" y="724"/>
                        </a:lnTo>
                        <a:lnTo>
                          <a:pt x="2042" y="724"/>
                        </a:lnTo>
                        <a:lnTo>
                          <a:pt x="2011" y="760"/>
                        </a:lnTo>
                        <a:lnTo>
                          <a:pt x="2006" y="742"/>
                        </a:lnTo>
                        <a:lnTo>
                          <a:pt x="2020" y="715"/>
                        </a:lnTo>
                        <a:lnTo>
                          <a:pt x="2006" y="724"/>
                        </a:lnTo>
                        <a:lnTo>
                          <a:pt x="1997" y="715"/>
                        </a:lnTo>
                        <a:lnTo>
                          <a:pt x="1961" y="729"/>
                        </a:lnTo>
                        <a:lnTo>
                          <a:pt x="1961" y="738"/>
                        </a:lnTo>
                        <a:lnTo>
                          <a:pt x="1935" y="764"/>
                        </a:lnTo>
                        <a:lnTo>
                          <a:pt x="1926" y="791"/>
                        </a:lnTo>
                        <a:lnTo>
                          <a:pt x="1939" y="791"/>
                        </a:lnTo>
                        <a:lnTo>
                          <a:pt x="1944" y="800"/>
                        </a:lnTo>
                        <a:lnTo>
                          <a:pt x="1886" y="809"/>
                        </a:lnTo>
                        <a:lnTo>
                          <a:pt x="1881" y="800"/>
                        </a:lnTo>
                        <a:lnTo>
                          <a:pt x="1899" y="796"/>
                        </a:lnTo>
                        <a:lnTo>
                          <a:pt x="1886" y="787"/>
                        </a:lnTo>
                        <a:lnTo>
                          <a:pt x="1854" y="782"/>
                        </a:lnTo>
                        <a:lnTo>
                          <a:pt x="1850" y="796"/>
                        </a:lnTo>
                        <a:lnTo>
                          <a:pt x="1760" y="796"/>
                        </a:lnTo>
                        <a:lnTo>
                          <a:pt x="1747" y="814"/>
                        </a:lnTo>
                        <a:lnTo>
                          <a:pt x="1734" y="814"/>
                        </a:lnTo>
                        <a:lnTo>
                          <a:pt x="1662" y="912"/>
                        </a:lnTo>
                        <a:lnTo>
                          <a:pt x="1671" y="916"/>
                        </a:lnTo>
                        <a:lnTo>
                          <a:pt x="1680" y="907"/>
                        </a:lnTo>
                        <a:lnTo>
                          <a:pt x="1698" y="907"/>
                        </a:lnTo>
                        <a:lnTo>
                          <a:pt x="1689" y="930"/>
                        </a:lnTo>
                        <a:lnTo>
                          <a:pt x="1689" y="939"/>
                        </a:lnTo>
                        <a:lnTo>
                          <a:pt x="1707" y="921"/>
                        </a:lnTo>
                        <a:lnTo>
                          <a:pt x="1720" y="925"/>
                        </a:lnTo>
                        <a:lnTo>
                          <a:pt x="1743" y="948"/>
                        </a:lnTo>
                        <a:lnTo>
                          <a:pt x="1743" y="983"/>
                        </a:lnTo>
                        <a:lnTo>
                          <a:pt x="1734" y="1001"/>
                        </a:lnTo>
                        <a:lnTo>
                          <a:pt x="1729" y="1064"/>
                        </a:lnTo>
                        <a:lnTo>
                          <a:pt x="1716" y="1091"/>
                        </a:lnTo>
                        <a:lnTo>
                          <a:pt x="1711" y="1091"/>
                        </a:lnTo>
                        <a:lnTo>
                          <a:pt x="1662" y="1158"/>
                        </a:lnTo>
                        <a:lnTo>
                          <a:pt x="1644" y="1176"/>
                        </a:lnTo>
                        <a:lnTo>
                          <a:pt x="1626" y="1180"/>
                        </a:lnTo>
                        <a:lnTo>
                          <a:pt x="1613" y="1180"/>
                        </a:lnTo>
                        <a:lnTo>
                          <a:pt x="1613" y="1171"/>
                        </a:lnTo>
                        <a:lnTo>
                          <a:pt x="1604" y="1180"/>
                        </a:lnTo>
                        <a:lnTo>
                          <a:pt x="1600" y="1180"/>
                        </a:lnTo>
                        <a:lnTo>
                          <a:pt x="1591" y="1185"/>
                        </a:lnTo>
                        <a:lnTo>
                          <a:pt x="1586" y="1176"/>
                        </a:lnTo>
                        <a:lnTo>
                          <a:pt x="1595" y="1167"/>
                        </a:lnTo>
                        <a:lnTo>
                          <a:pt x="1600" y="1162"/>
                        </a:lnTo>
                        <a:lnTo>
                          <a:pt x="1595" y="1140"/>
                        </a:lnTo>
                        <a:lnTo>
                          <a:pt x="1604" y="1131"/>
                        </a:lnTo>
                        <a:lnTo>
                          <a:pt x="1622" y="1131"/>
                        </a:lnTo>
                        <a:lnTo>
                          <a:pt x="1653" y="1082"/>
                        </a:lnTo>
                        <a:lnTo>
                          <a:pt x="1649" y="1068"/>
                        </a:lnTo>
                        <a:lnTo>
                          <a:pt x="1640" y="1064"/>
                        </a:lnTo>
                        <a:lnTo>
                          <a:pt x="1617" y="1082"/>
                        </a:lnTo>
                        <a:lnTo>
                          <a:pt x="1595" y="1073"/>
                        </a:lnTo>
                        <a:lnTo>
                          <a:pt x="1591" y="1055"/>
                        </a:lnTo>
                        <a:lnTo>
                          <a:pt x="1573" y="1042"/>
                        </a:lnTo>
                        <a:lnTo>
                          <a:pt x="1564" y="1042"/>
                        </a:lnTo>
                        <a:lnTo>
                          <a:pt x="1559" y="1037"/>
                        </a:lnTo>
                        <a:lnTo>
                          <a:pt x="1546" y="1037"/>
                        </a:lnTo>
                        <a:lnTo>
                          <a:pt x="1542" y="1015"/>
                        </a:lnTo>
                        <a:lnTo>
                          <a:pt x="1519" y="957"/>
                        </a:lnTo>
                        <a:lnTo>
                          <a:pt x="1492" y="943"/>
                        </a:lnTo>
                        <a:lnTo>
                          <a:pt x="1479" y="939"/>
                        </a:lnTo>
                        <a:lnTo>
                          <a:pt x="1452" y="943"/>
                        </a:lnTo>
                        <a:lnTo>
                          <a:pt x="1439" y="961"/>
                        </a:lnTo>
                        <a:lnTo>
                          <a:pt x="1439" y="966"/>
                        </a:lnTo>
                        <a:lnTo>
                          <a:pt x="1448" y="966"/>
                        </a:lnTo>
                        <a:lnTo>
                          <a:pt x="1448" y="979"/>
                        </a:lnTo>
                        <a:lnTo>
                          <a:pt x="1421" y="1015"/>
                        </a:lnTo>
                        <a:lnTo>
                          <a:pt x="1430" y="1024"/>
                        </a:lnTo>
                        <a:lnTo>
                          <a:pt x="1416" y="1028"/>
                        </a:lnTo>
                        <a:lnTo>
                          <a:pt x="1403" y="1042"/>
                        </a:lnTo>
                        <a:lnTo>
                          <a:pt x="1390" y="1033"/>
                        </a:lnTo>
                        <a:lnTo>
                          <a:pt x="1385" y="1028"/>
                        </a:lnTo>
                        <a:lnTo>
                          <a:pt x="1376" y="1028"/>
                        </a:lnTo>
                        <a:lnTo>
                          <a:pt x="1358" y="1019"/>
                        </a:lnTo>
                        <a:lnTo>
                          <a:pt x="1349" y="1024"/>
                        </a:lnTo>
                        <a:lnTo>
                          <a:pt x="1336" y="1037"/>
                        </a:lnTo>
                        <a:lnTo>
                          <a:pt x="1305" y="1046"/>
                        </a:lnTo>
                        <a:lnTo>
                          <a:pt x="1274" y="1042"/>
                        </a:lnTo>
                        <a:lnTo>
                          <a:pt x="1233" y="1019"/>
                        </a:lnTo>
                        <a:lnTo>
                          <a:pt x="1211" y="1024"/>
                        </a:lnTo>
                        <a:lnTo>
                          <a:pt x="1189" y="1019"/>
                        </a:lnTo>
                        <a:lnTo>
                          <a:pt x="1184" y="992"/>
                        </a:lnTo>
                        <a:lnTo>
                          <a:pt x="1140" y="979"/>
                        </a:lnTo>
                        <a:lnTo>
                          <a:pt x="1126" y="1001"/>
                        </a:lnTo>
                        <a:lnTo>
                          <a:pt x="1131" y="1010"/>
                        </a:lnTo>
                        <a:lnTo>
                          <a:pt x="1126" y="1033"/>
                        </a:lnTo>
                        <a:lnTo>
                          <a:pt x="1086" y="1033"/>
                        </a:lnTo>
                        <a:lnTo>
                          <a:pt x="1068" y="1015"/>
                        </a:lnTo>
                        <a:lnTo>
                          <a:pt x="1055" y="1015"/>
                        </a:lnTo>
                        <a:lnTo>
                          <a:pt x="1050" y="1010"/>
                        </a:lnTo>
                        <a:lnTo>
                          <a:pt x="1023" y="1019"/>
                        </a:lnTo>
                        <a:lnTo>
                          <a:pt x="997" y="1037"/>
                        </a:lnTo>
                        <a:lnTo>
                          <a:pt x="988" y="1037"/>
                        </a:lnTo>
                        <a:lnTo>
                          <a:pt x="983" y="1046"/>
                        </a:lnTo>
                        <a:lnTo>
                          <a:pt x="974" y="1046"/>
                        </a:lnTo>
                        <a:lnTo>
                          <a:pt x="974" y="1042"/>
                        </a:lnTo>
                        <a:lnTo>
                          <a:pt x="952" y="1037"/>
                        </a:lnTo>
                        <a:lnTo>
                          <a:pt x="943" y="1037"/>
                        </a:lnTo>
                        <a:lnTo>
                          <a:pt x="939" y="1024"/>
                        </a:lnTo>
                        <a:lnTo>
                          <a:pt x="934" y="1028"/>
                        </a:lnTo>
                        <a:lnTo>
                          <a:pt x="921" y="1010"/>
                        </a:lnTo>
                        <a:lnTo>
                          <a:pt x="912" y="1006"/>
                        </a:lnTo>
                        <a:lnTo>
                          <a:pt x="907" y="1006"/>
                        </a:lnTo>
                        <a:lnTo>
                          <a:pt x="903" y="1010"/>
                        </a:lnTo>
                        <a:lnTo>
                          <a:pt x="898" y="1015"/>
                        </a:lnTo>
                        <a:lnTo>
                          <a:pt x="889" y="1010"/>
                        </a:lnTo>
                        <a:lnTo>
                          <a:pt x="889" y="1001"/>
                        </a:lnTo>
                        <a:lnTo>
                          <a:pt x="880" y="1001"/>
                        </a:lnTo>
                        <a:lnTo>
                          <a:pt x="876" y="1006"/>
                        </a:lnTo>
                        <a:lnTo>
                          <a:pt x="872" y="1010"/>
                        </a:lnTo>
                        <a:lnTo>
                          <a:pt x="840" y="957"/>
                        </a:lnTo>
                        <a:lnTo>
                          <a:pt x="822" y="934"/>
                        </a:lnTo>
                        <a:lnTo>
                          <a:pt x="827" y="925"/>
                        </a:lnTo>
                        <a:lnTo>
                          <a:pt x="822" y="921"/>
                        </a:lnTo>
                        <a:lnTo>
                          <a:pt x="813" y="925"/>
                        </a:lnTo>
                        <a:lnTo>
                          <a:pt x="805" y="930"/>
                        </a:lnTo>
                        <a:lnTo>
                          <a:pt x="800" y="934"/>
                        </a:lnTo>
                        <a:lnTo>
                          <a:pt x="791" y="943"/>
                        </a:lnTo>
                        <a:lnTo>
                          <a:pt x="782" y="939"/>
                        </a:lnTo>
                        <a:lnTo>
                          <a:pt x="773" y="943"/>
                        </a:lnTo>
                        <a:lnTo>
                          <a:pt x="773" y="939"/>
                        </a:lnTo>
                        <a:lnTo>
                          <a:pt x="778" y="934"/>
                        </a:lnTo>
                        <a:lnTo>
                          <a:pt x="764" y="930"/>
                        </a:lnTo>
                        <a:lnTo>
                          <a:pt x="760" y="934"/>
                        </a:lnTo>
                        <a:lnTo>
                          <a:pt x="760" y="925"/>
                        </a:lnTo>
                        <a:lnTo>
                          <a:pt x="746" y="930"/>
                        </a:lnTo>
                        <a:lnTo>
                          <a:pt x="742" y="925"/>
                        </a:lnTo>
                        <a:lnTo>
                          <a:pt x="742" y="916"/>
                        </a:lnTo>
                        <a:lnTo>
                          <a:pt x="738" y="903"/>
                        </a:lnTo>
                        <a:lnTo>
                          <a:pt x="729" y="903"/>
                        </a:lnTo>
                        <a:lnTo>
                          <a:pt x="711" y="899"/>
                        </a:lnTo>
                        <a:lnTo>
                          <a:pt x="706" y="903"/>
                        </a:lnTo>
                        <a:lnTo>
                          <a:pt x="702" y="894"/>
                        </a:lnTo>
                        <a:lnTo>
                          <a:pt x="697" y="912"/>
                        </a:lnTo>
                        <a:lnTo>
                          <a:pt x="693" y="907"/>
                        </a:lnTo>
                        <a:lnTo>
                          <a:pt x="688" y="912"/>
                        </a:lnTo>
                        <a:lnTo>
                          <a:pt x="666" y="916"/>
                        </a:lnTo>
                        <a:lnTo>
                          <a:pt x="657" y="916"/>
                        </a:lnTo>
                        <a:lnTo>
                          <a:pt x="653" y="921"/>
                        </a:lnTo>
                        <a:lnTo>
                          <a:pt x="653" y="916"/>
                        </a:lnTo>
                        <a:lnTo>
                          <a:pt x="635" y="925"/>
                        </a:lnTo>
                        <a:lnTo>
                          <a:pt x="626" y="930"/>
                        </a:lnTo>
                        <a:lnTo>
                          <a:pt x="604" y="930"/>
                        </a:lnTo>
                        <a:lnTo>
                          <a:pt x="599" y="934"/>
                        </a:lnTo>
                        <a:lnTo>
                          <a:pt x="595" y="943"/>
                        </a:lnTo>
                        <a:lnTo>
                          <a:pt x="608" y="943"/>
                        </a:lnTo>
                        <a:lnTo>
                          <a:pt x="599" y="948"/>
                        </a:lnTo>
                        <a:lnTo>
                          <a:pt x="608" y="948"/>
                        </a:lnTo>
                        <a:lnTo>
                          <a:pt x="612" y="957"/>
                        </a:lnTo>
                        <a:lnTo>
                          <a:pt x="599" y="957"/>
                        </a:lnTo>
                        <a:lnTo>
                          <a:pt x="590" y="961"/>
                        </a:lnTo>
                        <a:lnTo>
                          <a:pt x="595" y="970"/>
                        </a:lnTo>
                        <a:lnTo>
                          <a:pt x="581" y="979"/>
                        </a:lnTo>
                        <a:lnTo>
                          <a:pt x="590" y="988"/>
                        </a:lnTo>
                        <a:lnTo>
                          <a:pt x="595" y="997"/>
                        </a:lnTo>
                        <a:lnTo>
                          <a:pt x="604" y="997"/>
                        </a:lnTo>
                        <a:lnTo>
                          <a:pt x="604" y="1006"/>
                        </a:lnTo>
                        <a:lnTo>
                          <a:pt x="604" y="1010"/>
                        </a:lnTo>
                        <a:lnTo>
                          <a:pt x="590" y="1015"/>
                        </a:lnTo>
                        <a:lnTo>
                          <a:pt x="581" y="1006"/>
                        </a:lnTo>
                        <a:lnTo>
                          <a:pt x="572" y="1019"/>
                        </a:lnTo>
                        <a:lnTo>
                          <a:pt x="572" y="1010"/>
                        </a:lnTo>
                        <a:lnTo>
                          <a:pt x="568" y="1006"/>
                        </a:lnTo>
                        <a:lnTo>
                          <a:pt x="563" y="1001"/>
                        </a:lnTo>
                        <a:lnTo>
                          <a:pt x="554" y="1001"/>
                        </a:lnTo>
                        <a:lnTo>
                          <a:pt x="545" y="1006"/>
                        </a:lnTo>
                        <a:lnTo>
                          <a:pt x="541" y="1001"/>
                        </a:lnTo>
                        <a:lnTo>
                          <a:pt x="532" y="1001"/>
                        </a:lnTo>
                        <a:lnTo>
                          <a:pt x="528" y="1010"/>
                        </a:lnTo>
                        <a:lnTo>
                          <a:pt x="523" y="1015"/>
                        </a:lnTo>
                        <a:lnTo>
                          <a:pt x="514" y="1010"/>
                        </a:lnTo>
                        <a:lnTo>
                          <a:pt x="510" y="1010"/>
                        </a:lnTo>
                        <a:lnTo>
                          <a:pt x="510" y="1015"/>
                        </a:lnTo>
                        <a:lnTo>
                          <a:pt x="505" y="1015"/>
                        </a:lnTo>
                        <a:lnTo>
                          <a:pt x="501" y="1010"/>
                        </a:lnTo>
                        <a:lnTo>
                          <a:pt x="496" y="997"/>
                        </a:lnTo>
                        <a:lnTo>
                          <a:pt x="483" y="992"/>
                        </a:lnTo>
                        <a:lnTo>
                          <a:pt x="478" y="997"/>
                        </a:lnTo>
                        <a:lnTo>
                          <a:pt x="474" y="988"/>
                        </a:lnTo>
                        <a:lnTo>
                          <a:pt x="465" y="992"/>
                        </a:lnTo>
                        <a:lnTo>
                          <a:pt x="461" y="997"/>
                        </a:lnTo>
                        <a:lnTo>
                          <a:pt x="461" y="992"/>
                        </a:lnTo>
                        <a:lnTo>
                          <a:pt x="456" y="988"/>
                        </a:lnTo>
                        <a:lnTo>
                          <a:pt x="452" y="997"/>
                        </a:lnTo>
                        <a:lnTo>
                          <a:pt x="434" y="1010"/>
                        </a:lnTo>
                        <a:lnTo>
                          <a:pt x="425" y="1015"/>
                        </a:lnTo>
                        <a:lnTo>
                          <a:pt x="420" y="1010"/>
                        </a:lnTo>
                        <a:lnTo>
                          <a:pt x="425" y="1028"/>
                        </a:lnTo>
                        <a:lnTo>
                          <a:pt x="420" y="1033"/>
                        </a:lnTo>
                        <a:lnTo>
                          <a:pt x="407" y="1019"/>
                        </a:lnTo>
                        <a:lnTo>
                          <a:pt x="402" y="1019"/>
                        </a:lnTo>
                        <a:lnTo>
                          <a:pt x="402" y="1033"/>
                        </a:lnTo>
                        <a:lnTo>
                          <a:pt x="398" y="1033"/>
                        </a:lnTo>
                        <a:lnTo>
                          <a:pt x="394" y="1046"/>
                        </a:lnTo>
                        <a:lnTo>
                          <a:pt x="394" y="1050"/>
                        </a:lnTo>
                        <a:lnTo>
                          <a:pt x="389" y="1064"/>
                        </a:lnTo>
                        <a:lnTo>
                          <a:pt x="398" y="1068"/>
                        </a:lnTo>
                        <a:lnTo>
                          <a:pt x="398" y="1073"/>
                        </a:lnTo>
                        <a:lnTo>
                          <a:pt x="402" y="1082"/>
                        </a:lnTo>
                        <a:lnTo>
                          <a:pt x="402" y="1073"/>
                        </a:lnTo>
                        <a:lnTo>
                          <a:pt x="411" y="1077"/>
                        </a:lnTo>
                        <a:lnTo>
                          <a:pt x="420" y="1091"/>
                        </a:lnTo>
                        <a:lnTo>
                          <a:pt x="425" y="1095"/>
                        </a:lnTo>
                        <a:lnTo>
                          <a:pt x="420" y="1095"/>
                        </a:lnTo>
                        <a:lnTo>
                          <a:pt x="416" y="1100"/>
                        </a:lnTo>
                        <a:lnTo>
                          <a:pt x="425" y="1100"/>
                        </a:lnTo>
                        <a:lnTo>
                          <a:pt x="425" y="1104"/>
                        </a:lnTo>
                        <a:lnTo>
                          <a:pt x="416" y="1118"/>
                        </a:lnTo>
                        <a:lnTo>
                          <a:pt x="402" y="1118"/>
                        </a:lnTo>
                        <a:lnTo>
                          <a:pt x="394" y="1144"/>
                        </a:lnTo>
                        <a:lnTo>
                          <a:pt x="398" y="1144"/>
                        </a:lnTo>
                        <a:lnTo>
                          <a:pt x="402" y="1158"/>
                        </a:lnTo>
                        <a:lnTo>
                          <a:pt x="407" y="1153"/>
                        </a:lnTo>
                        <a:lnTo>
                          <a:pt x="402" y="1176"/>
                        </a:lnTo>
                        <a:lnTo>
                          <a:pt x="420" y="1198"/>
                        </a:lnTo>
                        <a:lnTo>
                          <a:pt x="425" y="1202"/>
                        </a:lnTo>
                        <a:lnTo>
                          <a:pt x="416" y="1207"/>
                        </a:lnTo>
                        <a:lnTo>
                          <a:pt x="416" y="1207"/>
                        </a:lnTo>
                        <a:lnTo>
                          <a:pt x="411" y="1211"/>
                        </a:lnTo>
                        <a:lnTo>
                          <a:pt x="407" y="1211"/>
                        </a:lnTo>
                        <a:lnTo>
                          <a:pt x="398" y="1198"/>
                        </a:lnTo>
                        <a:lnTo>
                          <a:pt x="394" y="1198"/>
                        </a:lnTo>
                        <a:lnTo>
                          <a:pt x="389" y="1193"/>
                        </a:lnTo>
                        <a:lnTo>
                          <a:pt x="389" y="1193"/>
                        </a:lnTo>
                        <a:lnTo>
                          <a:pt x="380" y="1189"/>
                        </a:lnTo>
                        <a:lnTo>
                          <a:pt x="385" y="1185"/>
                        </a:lnTo>
                        <a:lnTo>
                          <a:pt x="371" y="1185"/>
                        </a:lnTo>
                        <a:lnTo>
                          <a:pt x="371" y="1180"/>
                        </a:lnTo>
                        <a:lnTo>
                          <a:pt x="362" y="1180"/>
                        </a:lnTo>
                        <a:lnTo>
                          <a:pt x="362" y="1185"/>
                        </a:lnTo>
                        <a:lnTo>
                          <a:pt x="358" y="1180"/>
                        </a:lnTo>
                        <a:lnTo>
                          <a:pt x="353" y="1185"/>
                        </a:lnTo>
                        <a:lnTo>
                          <a:pt x="349" y="1176"/>
                        </a:lnTo>
                        <a:lnTo>
                          <a:pt x="344" y="1180"/>
                        </a:lnTo>
                        <a:lnTo>
                          <a:pt x="340" y="1171"/>
                        </a:lnTo>
                        <a:lnTo>
                          <a:pt x="322" y="1171"/>
                        </a:lnTo>
                        <a:lnTo>
                          <a:pt x="313" y="1167"/>
                        </a:lnTo>
                        <a:lnTo>
                          <a:pt x="300" y="1167"/>
                        </a:lnTo>
                        <a:lnTo>
                          <a:pt x="295" y="1167"/>
                        </a:lnTo>
                        <a:lnTo>
                          <a:pt x="291" y="1167"/>
                        </a:lnTo>
                        <a:lnTo>
                          <a:pt x="255" y="1131"/>
                        </a:lnTo>
                        <a:lnTo>
                          <a:pt x="251" y="1126"/>
                        </a:lnTo>
                        <a:lnTo>
                          <a:pt x="251" y="1122"/>
                        </a:lnTo>
                        <a:lnTo>
                          <a:pt x="260" y="1122"/>
                        </a:lnTo>
                        <a:lnTo>
                          <a:pt x="264" y="1122"/>
                        </a:lnTo>
                        <a:lnTo>
                          <a:pt x="264" y="1113"/>
                        </a:lnTo>
                        <a:lnTo>
                          <a:pt x="268" y="1109"/>
                        </a:lnTo>
                        <a:lnTo>
                          <a:pt x="273" y="1109"/>
                        </a:lnTo>
                        <a:lnTo>
                          <a:pt x="268" y="1104"/>
                        </a:lnTo>
                        <a:lnTo>
                          <a:pt x="264" y="1104"/>
                        </a:lnTo>
                        <a:lnTo>
                          <a:pt x="260" y="1100"/>
                        </a:lnTo>
                        <a:lnTo>
                          <a:pt x="268" y="1095"/>
                        </a:lnTo>
                        <a:lnTo>
                          <a:pt x="273" y="1091"/>
                        </a:lnTo>
                        <a:lnTo>
                          <a:pt x="286" y="1086"/>
                        </a:lnTo>
                        <a:lnTo>
                          <a:pt x="282" y="1082"/>
                        </a:lnTo>
                        <a:lnTo>
                          <a:pt x="273" y="1086"/>
                        </a:lnTo>
                        <a:lnTo>
                          <a:pt x="282" y="1073"/>
                        </a:lnTo>
                        <a:lnTo>
                          <a:pt x="291" y="1068"/>
                        </a:lnTo>
                        <a:lnTo>
                          <a:pt x="295" y="1059"/>
                        </a:lnTo>
                        <a:lnTo>
                          <a:pt x="291" y="1055"/>
                        </a:lnTo>
                        <a:lnTo>
                          <a:pt x="295" y="1050"/>
                        </a:lnTo>
                        <a:lnTo>
                          <a:pt x="291" y="1046"/>
                        </a:lnTo>
                        <a:lnTo>
                          <a:pt x="295" y="1042"/>
                        </a:lnTo>
                        <a:lnTo>
                          <a:pt x="282" y="1033"/>
                        </a:lnTo>
                        <a:lnTo>
                          <a:pt x="277" y="1028"/>
                        </a:lnTo>
                        <a:lnTo>
                          <a:pt x="273" y="1033"/>
                        </a:lnTo>
                        <a:lnTo>
                          <a:pt x="273" y="1028"/>
                        </a:lnTo>
                        <a:lnTo>
                          <a:pt x="264" y="1028"/>
                        </a:lnTo>
                        <a:lnTo>
                          <a:pt x="264" y="1024"/>
                        </a:lnTo>
                        <a:lnTo>
                          <a:pt x="260" y="1019"/>
                        </a:lnTo>
                        <a:lnTo>
                          <a:pt x="251" y="1019"/>
                        </a:lnTo>
                        <a:lnTo>
                          <a:pt x="246" y="1024"/>
                        </a:lnTo>
                        <a:lnTo>
                          <a:pt x="242" y="1019"/>
                        </a:lnTo>
                        <a:lnTo>
                          <a:pt x="233" y="1019"/>
                        </a:lnTo>
                        <a:lnTo>
                          <a:pt x="228" y="1006"/>
                        </a:lnTo>
                        <a:lnTo>
                          <a:pt x="228" y="997"/>
                        </a:lnTo>
                        <a:lnTo>
                          <a:pt x="210" y="992"/>
                        </a:lnTo>
                        <a:lnTo>
                          <a:pt x="215" y="983"/>
                        </a:lnTo>
                        <a:lnTo>
                          <a:pt x="210" y="983"/>
                        </a:lnTo>
                        <a:lnTo>
                          <a:pt x="206" y="975"/>
                        </a:lnTo>
                        <a:lnTo>
                          <a:pt x="197" y="975"/>
                        </a:lnTo>
                        <a:lnTo>
                          <a:pt x="188" y="979"/>
                        </a:lnTo>
                        <a:lnTo>
                          <a:pt x="184" y="975"/>
                        </a:lnTo>
                        <a:lnTo>
                          <a:pt x="179" y="979"/>
                        </a:lnTo>
                        <a:lnTo>
                          <a:pt x="175" y="979"/>
                        </a:lnTo>
                        <a:lnTo>
                          <a:pt x="175" y="970"/>
                        </a:lnTo>
                        <a:lnTo>
                          <a:pt x="170" y="957"/>
                        </a:lnTo>
                        <a:lnTo>
                          <a:pt x="175" y="952"/>
                        </a:lnTo>
                        <a:lnTo>
                          <a:pt x="179" y="957"/>
                        </a:lnTo>
                        <a:lnTo>
                          <a:pt x="179" y="957"/>
                        </a:lnTo>
                        <a:lnTo>
                          <a:pt x="184" y="952"/>
                        </a:lnTo>
                        <a:lnTo>
                          <a:pt x="188" y="948"/>
                        </a:lnTo>
                        <a:lnTo>
                          <a:pt x="184" y="948"/>
                        </a:lnTo>
                        <a:lnTo>
                          <a:pt x="179" y="939"/>
                        </a:lnTo>
                        <a:lnTo>
                          <a:pt x="170" y="943"/>
                        </a:lnTo>
                        <a:lnTo>
                          <a:pt x="170" y="930"/>
                        </a:lnTo>
                        <a:lnTo>
                          <a:pt x="166" y="925"/>
                        </a:lnTo>
                        <a:lnTo>
                          <a:pt x="166" y="921"/>
                        </a:lnTo>
                        <a:lnTo>
                          <a:pt x="166" y="912"/>
                        </a:lnTo>
                        <a:lnTo>
                          <a:pt x="166" y="907"/>
                        </a:lnTo>
                        <a:lnTo>
                          <a:pt x="161" y="894"/>
                        </a:lnTo>
                        <a:lnTo>
                          <a:pt x="152" y="885"/>
                        </a:lnTo>
                        <a:lnTo>
                          <a:pt x="143" y="890"/>
                        </a:lnTo>
                        <a:lnTo>
                          <a:pt x="139" y="881"/>
                        </a:lnTo>
                        <a:lnTo>
                          <a:pt x="130" y="881"/>
                        </a:lnTo>
                        <a:lnTo>
                          <a:pt x="130" y="876"/>
                        </a:lnTo>
                        <a:lnTo>
                          <a:pt x="126" y="876"/>
                        </a:lnTo>
                        <a:lnTo>
                          <a:pt x="121" y="876"/>
                        </a:lnTo>
                        <a:lnTo>
                          <a:pt x="121" y="867"/>
                        </a:lnTo>
                        <a:lnTo>
                          <a:pt x="121" y="849"/>
                        </a:lnTo>
                        <a:lnTo>
                          <a:pt x="126" y="845"/>
                        </a:lnTo>
                        <a:lnTo>
                          <a:pt x="121" y="840"/>
                        </a:lnTo>
                        <a:lnTo>
                          <a:pt x="117" y="840"/>
                        </a:lnTo>
                        <a:close/>
                        <a:moveTo>
                          <a:pt x="157" y="724"/>
                        </a:moveTo>
                        <a:lnTo>
                          <a:pt x="166" y="715"/>
                        </a:lnTo>
                        <a:lnTo>
                          <a:pt x="175" y="724"/>
                        </a:lnTo>
                        <a:lnTo>
                          <a:pt x="184" y="724"/>
                        </a:lnTo>
                        <a:lnTo>
                          <a:pt x="188" y="733"/>
                        </a:lnTo>
                        <a:lnTo>
                          <a:pt x="197" y="747"/>
                        </a:lnTo>
                        <a:lnTo>
                          <a:pt x="188" y="751"/>
                        </a:lnTo>
                        <a:lnTo>
                          <a:pt x="188" y="764"/>
                        </a:lnTo>
                        <a:lnTo>
                          <a:pt x="184" y="760"/>
                        </a:lnTo>
                        <a:lnTo>
                          <a:pt x="175" y="760"/>
                        </a:lnTo>
                        <a:lnTo>
                          <a:pt x="175" y="769"/>
                        </a:lnTo>
                        <a:lnTo>
                          <a:pt x="170" y="769"/>
                        </a:lnTo>
                        <a:lnTo>
                          <a:pt x="157" y="738"/>
                        </a:lnTo>
                        <a:lnTo>
                          <a:pt x="152" y="742"/>
                        </a:lnTo>
                        <a:lnTo>
                          <a:pt x="148" y="733"/>
                        </a:lnTo>
                        <a:lnTo>
                          <a:pt x="157" y="733"/>
                        </a:lnTo>
                        <a:lnTo>
                          <a:pt x="157" y="724"/>
                        </a:lnTo>
                        <a:close/>
                        <a:moveTo>
                          <a:pt x="429" y="443"/>
                        </a:moveTo>
                        <a:lnTo>
                          <a:pt x="420" y="447"/>
                        </a:lnTo>
                        <a:lnTo>
                          <a:pt x="416" y="452"/>
                        </a:lnTo>
                        <a:lnTo>
                          <a:pt x="416" y="465"/>
                        </a:lnTo>
                        <a:lnTo>
                          <a:pt x="429" y="470"/>
                        </a:lnTo>
                        <a:lnTo>
                          <a:pt x="434" y="465"/>
                        </a:lnTo>
                        <a:lnTo>
                          <a:pt x="438" y="452"/>
                        </a:lnTo>
                        <a:lnTo>
                          <a:pt x="429" y="443"/>
                        </a:lnTo>
                        <a:close/>
                        <a:moveTo>
                          <a:pt x="532" y="268"/>
                        </a:moveTo>
                        <a:lnTo>
                          <a:pt x="541" y="255"/>
                        </a:lnTo>
                        <a:lnTo>
                          <a:pt x="537" y="251"/>
                        </a:lnTo>
                        <a:lnTo>
                          <a:pt x="545" y="246"/>
                        </a:lnTo>
                        <a:lnTo>
                          <a:pt x="541" y="242"/>
                        </a:lnTo>
                        <a:lnTo>
                          <a:pt x="550" y="237"/>
                        </a:lnTo>
                        <a:lnTo>
                          <a:pt x="563" y="215"/>
                        </a:lnTo>
                        <a:lnTo>
                          <a:pt x="559" y="201"/>
                        </a:lnTo>
                        <a:lnTo>
                          <a:pt x="568" y="197"/>
                        </a:lnTo>
                        <a:lnTo>
                          <a:pt x="568" y="188"/>
                        </a:lnTo>
                        <a:lnTo>
                          <a:pt x="577" y="192"/>
                        </a:lnTo>
                        <a:lnTo>
                          <a:pt x="590" y="184"/>
                        </a:lnTo>
                        <a:lnTo>
                          <a:pt x="590" y="175"/>
                        </a:lnTo>
                        <a:lnTo>
                          <a:pt x="630" y="143"/>
                        </a:lnTo>
                        <a:lnTo>
                          <a:pt x="635" y="148"/>
                        </a:lnTo>
                        <a:lnTo>
                          <a:pt x="702" y="99"/>
                        </a:lnTo>
                        <a:lnTo>
                          <a:pt x="711" y="67"/>
                        </a:lnTo>
                        <a:lnTo>
                          <a:pt x="702" y="54"/>
                        </a:lnTo>
                        <a:lnTo>
                          <a:pt x="688" y="49"/>
                        </a:lnTo>
                        <a:lnTo>
                          <a:pt x="671" y="63"/>
                        </a:lnTo>
                        <a:lnTo>
                          <a:pt x="644" y="85"/>
                        </a:lnTo>
                        <a:lnTo>
                          <a:pt x="612" y="94"/>
                        </a:lnTo>
                        <a:lnTo>
                          <a:pt x="595" y="94"/>
                        </a:lnTo>
                        <a:lnTo>
                          <a:pt x="595" y="108"/>
                        </a:lnTo>
                        <a:lnTo>
                          <a:pt x="586" y="103"/>
                        </a:lnTo>
                        <a:lnTo>
                          <a:pt x="563" y="125"/>
                        </a:lnTo>
                        <a:lnTo>
                          <a:pt x="554" y="143"/>
                        </a:lnTo>
                        <a:lnTo>
                          <a:pt x="528" y="166"/>
                        </a:lnTo>
                        <a:lnTo>
                          <a:pt x="519" y="161"/>
                        </a:lnTo>
                        <a:lnTo>
                          <a:pt x="519" y="179"/>
                        </a:lnTo>
                        <a:lnTo>
                          <a:pt x="523" y="175"/>
                        </a:lnTo>
                        <a:lnTo>
                          <a:pt x="528" y="179"/>
                        </a:lnTo>
                        <a:lnTo>
                          <a:pt x="519" y="188"/>
                        </a:lnTo>
                        <a:lnTo>
                          <a:pt x="528" y="188"/>
                        </a:lnTo>
                        <a:lnTo>
                          <a:pt x="514" y="192"/>
                        </a:lnTo>
                        <a:lnTo>
                          <a:pt x="523" y="201"/>
                        </a:lnTo>
                        <a:lnTo>
                          <a:pt x="514" y="201"/>
                        </a:lnTo>
                        <a:lnTo>
                          <a:pt x="519" y="215"/>
                        </a:lnTo>
                        <a:lnTo>
                          <a:pt x="510" y="215"/>
                        </a:lnTo>
                        <a:lnTo>
                          <a:pt x="505" y="219"/>
                        </a:lnTo>
                        <a:lnTo>
                          <a:pt x="505" y="224"/>
                        </a:lnTo>
                        <a:lnTo>
                          <a:pt x="487" y="237"/>
                        </a:lnTo>
                        <a:lnTo>
                          <a:pt x="496" y="246"/>
                        </a:lnTo>
                        <a:lnTo>
                          <a:pt x="514" y="242"/>
                        </a:lnTo>
                        <a:lnTo>
                          <a:pt x="496" y="260"/>
                        </a:lnTo>
                        <a:lnTo>
                          <a:pt x="501" y="260"/>
                        </a:lnTo>
                        <a:lnTo>
                          <a:pt x="514" y="255"/>
                        </a:lnTo>
                        <a:lnTo>
                          <a:pt x="528" y="264"/>
                        </a:lnTo>
                        <a:lnTo>
                          <a:pt x="532" y="268"/>
                        </a:lnTo>
                        <a:close/>
                        <a:moveTo>
                          <a:pt x="550" y="385"/>
                        </a:moveTo>
                        <a:lnTo>
                          <a:pt x="537" y="376"/>
                        </a:lnTo>
                        <a:lnTo>
                          <a:pt x="519" y="349"/>
                        </a:lnTo>
                        <a:lnTo>
                          <a:pt x="519" y="327"/>
                        </a:lnTo>
                        <a:lnTo>
                          <a:pt x="523" y="300"/>
                        </a:lnTo>
                        <a:lnTo>
                          <a:pt x="528" y="268"/>
                        </a:lnTo>
                        <a:lnTo>
                          <a:pt x="510" y="260"/>
                        </a:lnTo>
                        <a:lnTo>
                          <a:pt x="501" y="264"/>
                        </a:lnTo>
                        <a:lnTo>
                          <a:pt x="487" y="268"/>
                        </a:lnTo>
                        <a:lnTo>
                          <a:pt x="483" y="282"/>
                        </a:lnTo>
                        <a:lnTo>
                          <a:pt x="478" y="282"/>
                        </a:lnTo>
                        <a:lnTo>
                          <a:pt x="470" y="291"/>
                        </a:lnTo>
                        <a:lnTo>
                          <a:pt x="474" y="295"/>
                        </a:lnTo>
                        <a:lnTo>
                          <a:pt x="470" y="322"/>
                        </a:lnTo>
                        <a:lnTo>
                          <a:pt x="461" y="322"/>
                        </a:lnTo>
                        <a:lnTo>
                          <a:pt x="456" y="335"/>
                        </a:lnTo>
                        <a:lnTo>
                          <a:pt x="461" y="344"/>
                        </a:lnTo>
                        <a:lnTo>
                          <a:pt x="465" y="349"/>
                        </a:lnTo>
                        <a:lnTo>
                          <a:pt x="483" y="353"/>
                        </a:lnTo>
                        <a:lnTo>
                          <a:pt x="487" y="358"/>
                        </a:lnTo>
                        <a:lnTo>
                          <a:pt x="474" y="358"/>
                        </a:lnTo>
                        <a:lnTo>
                          <a:pt x="474" y="362"/>
                        </a:lnTo>
                        <a:lnTo>
                          <a:pt x="478" y="362"/>
                        </a:lnTo>
                        <a:lnTo>
                          <a:pt x="483" y="380"/>
                        </a:lnTo>
                        <a:lnTo>
                          <a:pt x="483" y="367"/>
                        </a:lnTo>
                        <a:lnTo>
                          <a:pt x="492" y="367"/>
                        </a:lnTo>
                        <a:lnTo>
                          <a:pt x="501" y="371"/>
                        </a:lnTo>
                        <a:lnTo>
                          <a:pt x="492" y="376"/>
                        </a:lnTo>
                        <a:lnTo>
                          <a:pt x="487" y="389"/>
                        </a:lnTo>
                        <a:lnTo>
                          <a:pt x="501" y="398"/>
                        </a:lnTo>
                        <a:lnTo>
                          <a:pt x="514" y="403"/>
                        </a:lnTo>
                        <a:lnTo>
                          <a:pt x="519" y="394"/>
                        </a:lnTo>
                        <a:lnTo>
                          <a:pt x="532" y="398"/>
                        </a:lnTo>
                        <a:lnTo>
                          <a:pt x="528" y="385"/>
                        </a:lnTo>
                        <a:lnTo>
                          <a:pt x="541" y="394"/>
                        </a:lnTo>
                        <a:lnTo>
                          <a:pt x="550" y="385"/>
                        </a:lnTo>
                        <a:close/>
                        <a:moveTo>
                          <a:pt x="729" y="255"/>
                        </a:moveTo>
                        <a:lnTo>
                          <a:pt x="729" y="277"/>
                        </a:lnTo>
                        <a:lnTo>
                          <a:pt x="733" y="277"/>
                        </a:lnTo>
                        <a:lnTo>
                          <a:pt x="751" y="268"/>
                        </a:lnTo>
                        <a:lnTo>
                          <a:pt x="751" y="260"/>
                        </a:lnTo>
                        <a:lnTo>
                          <a:pt x="738" y="251"/>
                        </a:lnTo>
                        <a:lnTo>
                          <a:pt x="729" y="255"/>
                        </a:lnTo>
                        <a:close/>
                        <a:moveTo>
                          <a:pt x="1224" y="979"/>
                        </a:moveTo>
                        <a:lnTo>
                          <a:pt x="1229" y="979"/>
                        </a:lnTo>
                        <a:lnTo>
                          <a:pt x="1256" y="957"/>
                        </a:lnTo>
                        <a:lnTo>
                          <a:pt x="1265" y="948"/>
                        </a:lnTo>
                        <a:lnTo>
                          <a:pt x="1260" y="943"/>
                        </a:lnTo>
                        <a:lnTo>
                          <a:pt x="1278" y="921"/>
                        </a:lnTo>
                        <a:lnTo>
                          <a:pt x="1282" y="912"/>
                        </a:lnTo>
                        <a:lnTo>
                          <a:pt x="1282" y="894"/>
                        </a:lnTo>
                        <a:lnTo>
                          <a:pt x="1291" y="885"/>
                        </a:lnTo>
                        <a:lnTo>
                          <a:pt x="1296" y="890"/>
                        </a:lnTo>
                        <a:lnTo>
                          <a:pt x="1287" y="925"/>
                        </a:lnTo>
                        <a:lnTo>
                          <a:pt x="1291" y="930"/>
                        </a:lnTo>
                        <a:lnTo>
                          <a:pt x="1287" y="939"/>
                        </a:lnTo>
                        <a:lnTo>
                          <a:pt x="1282" y="934"/>
                        </a:lnTo>
                        <a:lnTo>
                          <a:pt x="1278" y="939"/>
                        </a:lnTo>
                        <a:lnTo>
                          <a:pt x="1278" y="943"/>
                        </a:lnTo>
                        <a:lnTo>
                          <a:pt x="1265" y="961"/>
                        </a:lnTo>
                        <a:lnTo>
                          <a:pt x="1256" y="970"/>
                        </a:lnTo>
                        <a:lnTo>
                          <a:pt x="1251" y="979"/>
                        </a:lnTo>
                        <a:lnTo>
                          <a:pt x="1247" y="975"/>
                        </a:lnTo>
                        <a:lnTo>
                          <a:pt x="1238" y="988"/>
                        </a:lnTo>
                        <a:lnTo>
                          <a:pt x="1224" y="992"/>
                        </a:lnTo>
                        <a:lnTo>
                          <a:pt x="1207" y="988"/>
                        </a:lnTo>
                        <a:lnTo>
                          <a:pt x="1220" y="983"/>
                        </a:lnTo>
                        <a:lnTo>
                          <a:pt x="1224" y="979"/>
                        </a:lnTo>
                        <a:close/>
                        <a:moveTo>
                          <a:pt x="1716" y="108"/>
                        </a:moveTo>
                        <a:lnTo>
                          <a:pt x="1693" y="121"/>
                        </a:lnTo>
                        <a:lnTo>
                          <a:pt x="1680" y="139"/>
                        </a:lnTo>
                        <a:lnTo>
                          <a:pt x="1676" y="166"/>
                        </a:lnTo>
                        <a:lnTo>
                          <a:pt x="1680" y="179"/>
                        </a:lnTo>
                        <a:lnTo>
                          <a:pt x="1698" y="192"/>
                        </a:lnTo>
                        <a:lnTo>
                          <a:pt x="1716" y="201"/>
                        </a:lnTo>
                        <a:lnTo>
                          <a:pt x="1725" y="188"/>
                        </a:lnTo>
                        <a:lnTo>
                          <a:pt x="1729" y="197"/>
                        </a:lnTo>
                        <a:lnTo>
                          <a:pt x="1738" y="192"/>
                        </a:lnTo>
                        <a:lnTo>
                          <a:pt x="1747" y="184"/>
                        </a:lnTo>
                        <a:lnTo>
                          <a:pt x="1751" y="188"/>
                        </a:lnTo>
                        <a:lnTo>
                          <a:pt x="1760" y="184"/>
                        </a:lnTo>
                        <a:lnTo>
                          <a:pt x="1765" y="188"/>
                        </a:lnTo>
                        <a:lnTo>
                          <a:pt x="1769" y="184"/>
                        </a:lnTo>
                        <a:lnTo>
                          <a:pt x="1760" y="179"/>
                        </a:lnTo>
                        <a:lnTo>
                          <a:pt x="1756" y="166"/>
                        </a:lnTo>
                        <a:lnTo>
                          <a:pt x="1756" y="148"/>
                        </a:lnTo>
                        <a:lnTo>
                          <a:pt x="1760" y="130"/>
                        </a:lnTo>
                        <a:lnTo>
                          <a:pt x="1765" y="139"/>
                        </a:lnTo>
                        <a:lnTo>
                          <a:pt x="1760" y="152"/>
                        </a:lnTo>
                        <a:lnTo>
                          <a:pt x="1765" y="175"/>
                        </a:lnTo>
                        <a:lnTo>
                          <a:pt x="1774" y="179"/>
                        </a:lnTo>
                        <a:lnTo>
                          <a:pt x="1783" y="175"/>
                        </a:lnTo>
                        <a:lnTo>
                          <a:pt x="1792" y="161"/>
                        </a:lnTo>
                        <a:lnTo>
                          <a:pt x="1787" y="148"/>
                        </a:lnTo>
                        <a:lnTo>
                          <a:pt x="1796" y="139"/>
                        </a:lnTo>
                        <a:lnTo>
                          <a:pt x="1765" y="121"/>
                        </a:lnTo>
                        <a:lnTo>
                          <a:pt x="1747" y="103"/>
                        </a:lnTo>
                        <a:lnTo>
                          <a:pt x="1738" y="121"/>
                        </a:lnTo>
                        <a:lnTo>
                          <a:pt x="1734" y="134"/>
                        </a:lnTo>
                        <a:lnTo>
                          <a:pt x="1729" y="134"/>
                        </a:lnTo>
                        <a:lnTo>
                          <a:pt x="1716" y="108"/>
                        </a:lnTo>
                        <a:close/>
                        <a:moveTo>
                          <a:pt x="1729" y="219"/>
                        </a:moveTo>
                        <a:lnTo>
                          <a:pt x="1729" y="237"/>
                        </a:lnTo>
                        <a:lnTo>
                          <a:pt x="1734" y="242"/>
                        </a:lnTo>
                        <a:lnTo>
                          <a:pt x="1738" y="233"/>
                        </a:lnTo>
                        <a:lnTo>
                          <a:pt x="1738" y="224"/>
                        </a:lnTo>
                        <a:lnTo>
                          <a:pt x="1729" y="219"/>
                        </a:lnTo>
                        <a:close/>
                        <a:moveTo>
                          <a:pt x="1738" y="242"/>
                        </a:moveTo>
                        <a:lnTo>
                          <a:pt x="1734" y="255"/>
                        </a:lnTo>
                        <a:lnTo>
                          <a:pt x="1720" y="260"/>
                        </a:lnTo>
                        <a:lnTo>
                          <a:pt x="1720" y="264"/>
                        </a:lnTo>
                        <a:lnTo>
                          <a:pt x="1734" y="264"/>
                        </a:lnTo>
                        <a:lnTo>
                          <a:pt x="1774" y="268"/>
                        </a:lnTo>
                        <a:lnTo>
                          <a:pt x="1774" y="251"/>
                        </a:lnTo>
                        <a:lnTo>
                          <a:pt x="1760" y="246"/>
                        </a:lnTo>
                        <a:lnTo>
                          <a:pt x="1760" y="242"/>
                        </a:lnTo>
                        <a:lnTo>
                          <a:pt x="1751" y="237"/>
                        </a:lnTo>
                        <a:lnTo>
                          <a:pt x="1738" y="242"/>
                        </a:lnTo>
                        <a:close/>
                        <a:moveTo>
                          <a:pt x="1765" y="921"/>
                        </a:moveTo>
                        <a:lnTo>
                          <a:pt x="1756" y="921"/>
                        </a:lnTo>
                        <a:lnTo>
                          <a:pt x="1756" y="939"/>
                        </a:lnTo>
                        <a:lnTo>
                          <a:pt x="1747" y="948"/>
                        </a:lnTo>
                        <a:lnTo>
                          <a:pt x="1747" y="988"/>
                        </a:lnTo>
                        <a:lnTo>
                          <a:pt x="1751" y="1006"/>
                        </a:lnTo>
                        <a:lnTo>
                          <a:pt x="1747" y="1055"/>
                        </a:lnTo>
                        <a:lnTo>
                          <a:pt x="1756" y="1068"/>
                        </a:lnTo>
                        <a:lnTo>
                          <a:pt x="1747" y="1082"/>
                        </a:lnTo>
                        <a:lnTo>
                          <a:pt x="1751" y="1091"/>
                        </a:lnTo>
                        <a:lnTo>
                          <a:pt x="1747" y="1104"/>
                        </a:lnTo>
                        <a:lnTo>
                          <a:pt x="1751" y="1118"/>
                        </a:lnTo>
                        <a:lnTo>
                          <a:pt x="1760" y="1100"/>
                        </a:lnTo>
                        <a:lnTo>
                          <a:pt x="1769" y="1104"/>
                        </a:lnTo>
                        <a:lnTo>
                          <a:pt x="1774" y="1113"/>
                        </a:lnTo>
                        <a:lnTo>
                          <a:pt x="1774" y="1095"/>
                        </a:lnTo>
                        <a:lnTo>
                          <a:pt x="1760" y="1077"/>
                        </a:lnTo>
                        <a:lnTo>
                          <a:pt x="1769" y="1046"/>
                        </a:lnTo>
                        <a:lnTo>
                          <a:pt x="1783" y="1046"/>
                        </a:lnTo>
                        <a:lnTo>
                          <a:pt x="1792" y="1055"/>
                        </a:lnTo>
                        <a:lnTo>
                          <a:pt x="1792" y="1055"/>
                        </a:lnTo>
                        <a:lnTo>
                          <a:pt x="1787" y="1046"/>
                        </a:lnTo>
                        <a:lnTo>
                          <a:pt x="1778" y="1019"/>
                        </a:lnTo>
                        <a:lnTo>
                          <a:pt x="1769" y="952"/>
                        </a:lnTo>
                        <a:lnTo>
                          <a:pt x="1765" y="921"/>
                        </a:lnTo>
                        <a:close/>
                        <a:moveTo>
                          <a:pt x="1805" y="1158"/>
                        </a:moveTo>
                        <a:lnTo>
                          <a:pt x="1805" y="1162"/>
                        </a:lnTo>
                        <a:lnTo>
                          <a:pt x="1819" y="1144"/>
                        </a:lnTo>
                        <a:lnTo>
                          <a:pt x="1814" y="1144"/>
                        </a:lnTo>
                        <a:lnTo>
                          <a:pt x="1805" y="1158"/>
                        </a:lnTo>
                        <a:close/>
                        <a:moveTo>
                          <a:pt x="1850" y="1118"/>
                        </a:moveTo>
                        <a:lnTo>
                          <a:pt x="1841" y="1126"/>
                        </a:lnTo>
                        <a:lnTo>
                          <a:pt x="1836" y="1122"/>
                        </a:lnTo>
                        <a:lnTo>
                          <a:pt x="1827" y="1131"/>
                        </a:lnTo>
                        <a:lnTo>
                          <a:pt x="1823" y="1140"/>
                        </a:lnTo>
                        <a:lnTo>
                          <a:pt x="1819" y="1144"/>
                        </a:lnTo>
                        <a:lnTo>
                          <a:pt x="1823" y="1144"/>
                        </a:lnTo>
                        <a:lnTo>
                          <a:pt x="1836" y="1135"/>
                        </a:lnTo>
                        <a:lnTo>
                          <a:pt x="1850" y="1126"/>
                        </a:lnTo>
                        <a:lnTo>
                          <a:pt x="1850" y="1118"/>
                        </a:lnTo>
                        <a:close/>
                        <a:moveTo>
                          <a:pt x="1854" y="161"/>
                        </a:moveTo>
                        <a:lnTo>
                          <a:pt x="1850" y="166"/>
                        </a:lnTo>
                        <a:lnTo>
                          <a:pt x="1845" y="166"/>
                        </a:lnTo>
                        <a:lnTo>
                          <a:pt x="1850" y="152"/>
                        </a:lnTo>
                        <a:lnTo>
                          <a:pt x="1832" y="152"/>
                        </a:lnTo>
                        <a:lnTo>
                          <a:pt x="1827" y="157"/>
                        </a:lnTo>
                        <a:lnTo>
                          <a:pt x="1819" y="157"/>
                        </a:lnTo>
                        <a:lnTo>
                          <a:pt x="1823" y="143"/>
                        </a:lnTo>
                        <a:lnTo>
                          <a:pt x="1814" y="143"/>
                        </a:lnTo>
                        <a:lnTo>
                          <a:pt x="1814" y="157"/>
                        </a:lnTo>
                        <a:lnTo>
                          <a:pt x="1810" y="161"/>
                        </a:lnTo>
                        <a:lnTo>
                          <a:pt x="1810" y="170"/>
                        </a:lnTo>
                        <a:lnTo>
                          <a:pt x="1823" y="184"/>
                        </a:lnTo>
                        <a:lnTo>
                          <a:pt x="1832" y="188"/>
                        </a:lnTo>
                        <a:lnTo>
                          <a:pt x="1841" y="197"/>
                        </a:lnTo>
                        <a:lnTo>
                          <a:pt x="1863" y="197"/>
                        </a:lnTo>
                        <a:lnTo>
                          <a:pt x="1868" y="192"/>
                        </a:lnTo>
                        <a:lnTo>
                          <a:pt x="1877" y="188"/>
                        </a:lnTo>
                        <a:lnTo>
                          <a:pt x="1872" y="184"/>
                        </a:lnTo>
                        <a:lnTo>
                          <a:pt x="1877" y="175"/>
                        </a:lnTo>
                        <a:lnTo>
                          <a:pt x="1872" y="175"/>
                        </a:lnTo>
                        <a:lnTo>
                          <a:pt x="1868" y="175"/>
                        </a:lnTo>
                        <a:lnTo>
                          <a:pt x="1868" y="170"/>
                        </a:lnTo>
                        <a:lnTo>
                          <a:pt x="1854" y="161"/>
                        </a:lnTo>
                        <a:close/>
                        <a:moveTo>
                          <a:pt x="1877" y="1109"/>
                        </a:moveTo>
                        <a:lnTo>
                          <a:pt x="1872" y="1109"/>
                        </a:lnTo>
                        <a:lnTo>
                          <a:pt x="1859" y="1122"/>
                        </a:lnTo>
                        <a:lnTo>
                          <a:pt x="1863" y="1126"/>
                        </a:lnTo>
                        <a:lnTo>
                          <a:pt x="1877" y="1109"/>
                        </a:lnTo>
                        <a:close/>
                        <a:moveTo>
                          <a:pt x="1899" y="1086"/>
                        </a:moveTo>
                        <a:lnTo>
                          <a:pt x="1903" y="1086"/>
                        </a:lnTo>
                        <a:lnTo>
                          <a:pt x="1899" y="1082"/>
                        </a:lnTo>
                        <a:lnTo>
                          <a:pt x="1890" y="1091"/>
                        </a:lnTo>
                        <a:lnTo>
                          <a:pt x="1890" y="1100"/>
                        </a:lnTo>
                        <a:lnTo>
                          <a:pt x="1899" y="1091"/>
                        </a:lnTo>
                        <a:lnTo>
                          <a:pt x="1899" y="1086"/>
                        </a:lnTo>
                        <a:close/>
                        <a:moveTo>
                          <a:pt x="1935" y="1037"/>
                        </a:moveTo>
                        <a:lnTo>
                          <a:pt x="1930" y="1042"/>
                        </a:lnTo>
                        <a:lnTo>
                          <a:pt x="1935" y="1046"/>
                        </a:lnTo>
                        <a:lnTo>
                          <a:pt x="1939" y="1037"/>
                        </a:lnTo>
                        <a:lnTo>
                          <a:pt x="1935" y="1037"/>
                        </a:lnTo>
                        <a:close/>
                        <a:moveTo>
                          <a:pt x="1957" y="1015"/>
                        </a:moveTo>
                        <a:lnTo>
                          <a:pt x="1957" y="1019"/>
                        </a:lnTo>
                        <a:lnTo>
                          <a:pt x="1961" y="1015"/>
                        </a:lnTo>
                        <a:lnTo>
                          <a:pt x="1957" y="1010"/>
                        </a:lnTo>
                        <a:lnTo>
                          <a:pt x="1953" y="1015"/>
                        </a:lnTo>
                        <a:lnTo>
                          <a:pt x="1957" y="1015"/>
                        </a:lnTo>
                        <a:lnTo>
                          <a:pt x="1953" y="1015"/>
                        </a:lnTo>
                        <a:lnTo>
                          <a:pt x="1948" y="1024"/>
                        </a:lnTo>
                        <a:lnTo>
                          <a:pt x="1944" y="1024"/>
                        </a:lnTo>
                        <a:lnTo>
                          <a:pt x="1944" y="1033"/>
                        </a:lnTo>
                        <a:lnTo>
                          <a:pt x="1948" y="1028"/>
                        </a:lnTo>
                        <a:lnTo>
                          <a:pt x="1957" y="1019"/>
                        </a:lnTo>
                        <a:lnTo>
                          <a:pt x="1957" y="1015"/>
                        </a:lnTo>
                        <a:close/>
                        <a:moveTo>
                          <a:pt x="2064" y="800"/>
                        </a:moveTo>
                        <a:lnTo>
                          <a:pt x="2060" y="809"/>
                        </a:lnTo>
                        <a:lnTo>
                          <a:pt x="2055" y="818"/>
                        </a:lnTo>
                        <a:lnTo>
                          <a:pt x="2060" y="823"/>
                        </a:lnTo>
                        <a:lnTo>
                          <a:pt x="2078" y="805"/>
                        </a:lnTo>
                        <a:lnTo>
                          <a:pt x="2073" y="796"/>
                        </a:lnTo>
                        <a:lnTo>
                          <a:pt x="2069" y="796"/>
                        </a:lnTo>
                        <a:lnTo>
                          <a:pt x="2069" y="800"/>
                        </a:lnTo>
                        <a:lnTo>
                          <a:pt x="2064" y="800"/>
                        </a:lnTo>
                        <a:close/>
                        <a:moveTo>
                          <a:pt x="2100" y="903"/>
                        </a:moveTo>
                        <a:lnTo>
                          <a:pt x="2091" y="903"/>
                        </a:lnTo>
                        <a:lnTo>
                          <a:pt x="2095" y="907"/>
                        </a:lnTo>
                        <a:lnTo>
                          <a:pt x="2104" y="921"/>
                        </a:lnTo>
                        <a:lnTo>
                          <a:pt x="2104" y="912"/>
                        </a:lnTo>
                        <a:lnTo>
                          <a:pt x="2100" y="903"/>
                        </a:lnTo>
                        <a:close/>
                        <a:moveTo>
                          <a:pt x="2274" y="371"/>
                        </a:moveTo>
                        <a:lnTo>
                          <a:pt x="2279" y="385"/>
                        </a:lnTo>
                        <a:lnTo>
                          <a:pt x="2288" y="380"/>
                        </a:lnTo>
                        <a:lnTo>
                          <a:pt x="2292" y="380"/>
                        </a:lnTo>
                        <a:lnTo>
                          <a:pt x="2301" y="376"/>
                        </a:lnTo>
                        <a:lnTo>
                          <a:pt x="2305" y="380"/>
                        </a:lnTo>
                        <a:lnTo>
                          <a:pt x="2319" y="380"/>
                        </a:lnTo>
                        <a:lnTo>
                          <a:pt x="2337" y="367"/>
                        </a:lnTo>
                        <a:lnTo>
                          <a:pt x="2328" y="353"/>
                        </a:lnTo>
                        <a:lnTo>
                          <a:pt x="2305" y="349"/>
                        </a:lnTo>
                        <a:lnTo>
                          <a:pt x="2296" y="349"/>
                        </a:lnTo>
                        <a:lnTo>
                          <a:pt x="2274" y="371"/>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18" name="Freeform 150">
                    <a:extLst>
                      <a:ext uri="{FF2B5EF4-FFF2-40B4-BE49-F238E27FC236}">
                        <a16:creationId xmlns:a16="http://schemas.microsoft.com/office/drawing/2014/main" id="{F8D55BF0-8BF0-44BA-862A-7DE16D374D80}"/>
                      </a:ext>
                    </a:extLst>
                  </p:cNvPr>
                  <p:cNvSpPr>
                    <a:spLocks/>
                  </p:cNvSpPr>
                  <p:nvPr/>
                </p:nvSpPr>
                <p:spPr bwMode="gray">
                  <a:xfrm>
                    <a:off x="3174" y="2288"/>
                    <a:ext cx="326" cy="268"/>
                  </a:xfrm>
                  <a:custGeom>
                    <a:avLst/>
                    <a:gdLst>
                      <a:gd name="T0" fmla="*/ 9 w 326"/>
                      <a:gd name="T1" fmla="*/ 49 h 268"/>
                      <a:gd name="T2" fmla="*/ 31 w 326"/>
                      <a:gd name="T3" fmla="*/ 49 h 268"/>
                      <a:gd name="T4" fmla="*/ 36 w 326"/>
                      <a:gd name="T5" fmla="*/ 40 h 268"/>
                      <a:gd name="T6" fmla="*/ 49 w 326"/>
                      <a:gd name="T7" fmla="*/ 31 h 268"/>
                      <a:gd name="T8" fmla="*/ 45 w 326"/>
                      <a:gd name="T9" fmla="*/ 13 h 268"/>
                      <a:gd name="T10" fmla="*/ 71 w 326"/>
                      <a:gd name="T11" fmla="*/ 0 h 268"/>
                      <a:gd name="T12" fmla="*/ 94 w 326"/>
                      <a:gd name="T13" fmla="*/ 4 h 268"/>
                      <a:gd name="T14" fmla="*/ 125 w 326"/>
                      <a:gd name="T15" fmla="*/ 27 h 268"/>
                      <a:gd name="T16" fmla="*/ 125 w 326"/>
                      <a:gd name="T17" fmla="*/ 35 h 268"/>
                      <a:gd name="T18" fmla="*/ 134 w 326"/>
                      <a:gd name="T19" fmla="*/ 35 h 268"/>
                      <a:gd name="T20" fmla="*/ 134 w 326"/>
                      <a:gd name="T21" fmla="*/ 49 h 268"/>
                      <a:gd name="T22" fmla="*/ 147 w 326"/>
                      <a:gd name="T23" fmla="*/ 53 h 268"/>
                      <a:gd name="T24" fmla="*/ 174 w 326"/>
                      <a:gd name="T25" fmla="*/ 53 h 268"/>
                      <a:gd name="T26" fmla="*/ 187 w 326"/>
                      <a:gd name="T27" fmla="*/ 58 h 268"/>
                      <a:gd name="T28" fmla="*/ 192 w 326"/>
                      <a:gd name="T29" fmla="*/ 62 h 268"/>
                      <a:gd name="T30" fmla="*/ 205 w 326"/>
                      <a:gd name="T31" fmla="*/ 58 h 268"/>
                      <a:gd name="T32" fmla="*/ 214 w 326"/>
                      <a:gd name="T33" fmla="*/ 71 h 268"/>
                      <a:gd name="T34" fmla="*/ 214 w 326"/>
                      <a:gd name="T35" fmla="*/ 80 h 268"/>
                      <a:gd name="T36" fmla="*/ 228 w 326"/>
                      <a:gd name="T37" fmla="*/ 89 h 268"/>
                      <a:gd name="T38" fmla="*/ 228 w 326"/>
                      <a:gd name="T39" fmla="*/ 102 h 268"/>
                      <a:gd name="T40" fmla="*/ 237 w 326"/>
                      <a:gd name="T41" fmla="*/ 116 h 268"/>
                      <a:gd name="T42" fmla="*/ 246 w 326"/>
                      <a:gd name="T43" fmla="*/ 143 h 268"/>
                      <a:gd name="T44" fmla="*/ 259 w 326"/>
                      <a:gd name="T45" fmla="*/ 152 h 268"/>
                      <a:gd name="T46" fmla="*/ 281 w 326"/>
                      <a:gd name="T47" fmla="*/ 143 h 268"/>
                      <a:gd name="T48" fmla="*/ 299 w 326"/>
                      <a:gd name="T49" fmla="*/ 134 h 268"/>
                      <a:gd name="T50" fmla="*/ 299 w 326"/>
                      <a:gd name="T51" fmla="*/ 161 h 268"/>
                      <a:gd name="T52" fmla="*/ 308 w 326"/>
                      <a:gd name="T53" fmla="*/ 156 h 268"/>
                      <a:gd name="T54" fmla="*/ 322 w 326"/>
                      <a:gd name="T55" fmla="*/ 161 h 268"/>
                      <a:gd name="T56" fmla="*/ 326 w 326"/>
                      <a:gd name="T57" fmla="*/ 183 h 268"/>
                      <a:gd name="T58" fmla="*/ 322 w 326"/>
                      <a:gd name="T59" fmla="*/ 196 h 268"/>
                      <a:gd name="T60" fmla="*/ 308 w 326"/>
                      <a:gd name="T61" fmla="*/ 201 h 268"/>
                      <a:gd name="T62" fmla="*/ 268 w 326"/>
                      <a:gd name="T63" fmla="*/ 223 h 268"/>
                      <a:gd name="T64" fmla="*/ 255 w 326"/>
                      <a:gd name="T65" fmla="*/ 237 h 268"/>
                      <a:gd name="T66" fmla="*/ 232 w 326"/>
                      <a:gd name="T67" fmla="*/ 241 h 268"/>
                      <a:gd name="T68" fmla="*/ 161 w 326"/>
                      <a:gd name="T69" fmla="*/ 268 h 268"/>
                      <a:gd name="T70" fmla="*/ 165 w 326"/>
                      <a:gd name="T71" fmla="*/ 245 h 268"/>
                      <a:gd name="T72" fmla="*/ 134 w 326"/>
                      <a:gd name="T73" fmla="*/ 237 h 268"/>
                      <a:gd name="T74" fmla="*/ 129 w 326"/>
                      <a:gd name="T75" fmla="*/ 250 h 268"/>
                      <a:gd name="T76" fmla="*/ 125 w 326"/>
                      <a:gd name="T77" fmla="*/ 250 h 268"/>
                      <a:gd name="T78" fmla="*/ 120 w 326"/>
                      <a:gd name="T79" fmla="*/ 245 h 268"/>
                      <a:gd name="T80" fmla="*/ 120 w 326"/>
                      <a:gd name="T81" fmla="*/ 245 h 268"/>
                      <a:gd name="T82" fmla="*/ 94 w 326"/>
                      <a:gd name="T83" fmla="*/ 205 h 268"/>
                      <a:gd name="T84" fmla="*/ 89 w 326"/>
                      <a:gd name="T85" fmla="*/ 196 h 268"/>
                      <a:gd name="T86" fmla="*/ 80 w 326"/>
                      <a:gd name="T87" fmla="*/ 192 h 268"/>
                      <a:gd name="T88" fmla="*/ 67 w 326"/>
                      <a:gd name="T89" fmla="*/ 178 h 268"/>
                      <a:gd name="T90" fmla="*/ 67 w 326"/>
                      <a:gd name="T91" fmla="*/ 170 h 268"/>
                      <a:gd name="T92" fmla="*/ 62 w 326"/>
                      <a:gd name="T93" fmla="*/ 165 h 268"/>
                      <a:gd name="T94" fmla="*/ 62 w 326"/>
                      <a:gd name="T95" fmla="*/ 161 h 268"/>
                      <a:gd name="T96" fmla="*/ 67 w 326"/>
                      <a:gd name="T97" fmla="*/ 165 h 268"/>
                      <a:gd name="T98" fmla="*/ 67 w 326"/>
                      <a:gd name="T99" fmla="*/ 156 h 268"/>
                      <a:gd name="T100" fmla="*/ 62 w 326"/>
                      <a:gd name="T101" fmla="*/ 152 h 268"/>
                      <a:gd name="T102" fmla="*/ 58 w 326"/>
                      <a:gd name="T103" fmla="*/ 138 h 268"/>
                      <a:gd name="T104" fmla="*/ 49 w 326"/>
                      <a:gd name="T105" fmla="*/ 129 h 268"/>
                      <a:gd name="T106" fmla="*/ 40 w 326"/>
                      <a:gd name="T107" fmla="*/ 125 h 268"/>
                      <a:gd name="T108" fmla="*/ 36 w 326"/>
                      <a:gd name="T109" fmla="*/ 116 h 268"/>
                      <a:gd name="T110" fmla="*/ 40 w 326"/>
                      <a:gd name="T111" fmla="*/ 116 h 268"/>
                      <a:gd name="T112" fmla="*/ 36 w 326"/>
                      <a:gd name="T113" fmla="*/ 107 h 268"/>
                      <a:gd name="T114" fmla="*/ 27 w 326"/>
                      <a:gd name="T115" fmla="*/ 98 h 268"/>
                      <a:gd name="T116" fmla="*/ 9 w 326"/>
                      <a:gd name="T117" fmla="*/ 67 h 268"/>
                      <a:gd name="T118" fmla="*/ 0 w 326"/>
                      <a:gd name="T119" fmla="*/ 67 h 268"/>
                      <a:gd name="T120" fmla="*/ 0 w 326"/>
                      <a:gd name="T121" fmla="*/ 62 h 268"/>
                      <a:gd name="T122" fmla="*/ 9 w 326"/>
                      <a:gd name="T123" fmla="*/ 49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6" h="268">
                        <a:moveTo>
                          <a:pt x="9" y="49"/>
                        </a:moveTo>
                        <a:lnTo>
                          <a:pt x="31" y="49"/>
                        </a:lnTo>
                        <a:lnTo>
                          <a:pt x="36" y="40"/>
                        </a:lnTo>
                        <a:lnTo>
                          <a:pt x="49" y="31"/>
                        </a:lnTo>
                        <a:lnTo>
                          <a:pt x="45" y="13"/>
                        </a:lnTo>
                        <a:lnTo>
                          <a:pt x="71" y="0"/>
                        </a:lnTo>
                        <a:lnTo>
                          <a:pt x="94" y="4"/>
                        </a:lnTo>
                        <a:lnTo>
                          <a:pt x="125" y="27"/>
                        </a:lnTo>
                        <a:lnTo>
                          <a:pt x="125" y="35"/>
                        </a:lnTo>
                        <a:lnTo>
                          <a:pt x="134" y="35"/>
                        </a:lnTo>
                        <a:lnTo>
                          <a:pt x="134" y="49"/>
                        </a:lnTo>
                        <a:lnTo>
                          <a:pt x="147" y="53"/>
                        </a:lnTo>
                        <a:lnTo>
                          <a:pt x="174" y="53"/>
                        </a:lnTo>
                        <a:lnTo>
                          <a:pt x="187" y="58"/>
                        </a:lnTo>
                        <a:lnTo>
                          <a:pt x="192" y="62"/>
                        </a:lnTo>
                        <a:lnTo>
                          <a:pt x="205" y="58"/>
                        </a:lnTo>
                        <a:lnTo>
                          <a:pt x="214" y="71"/>
                        </a:lnTo>
                        <a:lnTo>
                          <a:pt x="214" y="80"/>
                        </a:lnTo>
                        <a:lnTo>
                          <a:pt x="228" y="89"/>
                        </a:lnTo>
                        <a:lnTo>
                          <a:pt x="228" y="102"/>
                        </a:lnTo>
                        <a:lnTo>
                          <a:pt x="237" y="116"/>
                        </a:lnTo>
                        <a:lnTo>
                          <a:pt x="246" y="143"/>
                        </a:lnTo>
                        <a:lnTo>
                          <a:pt x="259" y="152"/>
                        </a:lnTo>
                        <a:lnTo>
                          <a:pt x="281" y="143"/>
                        </a:lnTo>
                        <a:lnTo>
                          <a:pt x="299" y="134"/>
                        </a:lnTo>
                        <a:lnTo>
                          <a:pt x="299" y="161"/>
                        </a:lnTo>
                        <a:lnTo>
                          <a:pt x="308" y="156"/>
                        </a:lnTo>
                        <a:lnTo>
                          <a:pt x="322" y="161"/>
                        </a:lnTo>
                        <a:lnTo>
                          <a:pt x="326" y="183"/>
                        </a:lnTo>
                        <a:lnTo>
                          <a:pt x="322" y="196"/>
                        </a:lnTo>
                        <a:lnTo>
                          <a:pt x="308" y="201"/>
                        </a:lnTo>
                        <a:lnTo>
                          <a:pt x="268" y="223"/>
                        </a:lnTo>
                        <a:lnTo>
                          <a:pt x="255" y="237"/>
                        </a:lnTo>
                        <a:lnTo>
                          <a:pt x="232" y="241"/>
                        </a:lnTo>
                        <a:lnTo>
                          <a:pt x="161" y="268"/>
                        </a:lnTo>
                        <a:lnTo>
                          <a:pt x="165" y="245"/>
                        </a:lnTo>
                        <a:lnTo>
                          <a:pt x="134" y="237"/>
                        </a:lnTo>
                        <a:lnTo>
                          <a:pt x="129" y="250"/>
                        </a:lnTo>
                        <a:lnTo>
                          <a:pt x="125" y="250"/>
                        </a:lnTo>
                        <a:lnTo>
                          <a:pt x="120" y="245"/>
                        </a:lnTo>
                        <a:lnTo>
                          <a:pt x="120" y="245"/>
                        </a:lnTo>
                        <a:lnTo>
                          <a:pt x="94" y="205"/>
                        </a:lnTo>
                        <a:lnTo>
                          <a:pt x="89" y="196"/>
                        </a:lnTo>
                        <a:lnTo>
                          <a:pt x="80" y="192"/>
                        </a:lnTo>
                        <a:lnTo>
                          <a:pt x="67" y="178"/>
                        </a:lnTo>
                        <a:lnTo>
                          <a:pt x="67" y="170"/>
                        </a:lnTo>
                        <a:lnTo>
                          <a:pt x="62" y="165"/>
                        </a:lnTo>
                        <a:lnTo>
                          <a:pt x="62" y="161"/>
                        </a:lnTo>
                        <a:lnTo>
                          <a:pt x="67" y="165"/>
                        </a:lnTo>
                        <a:lnTo>
                          <a:pt x="67" y="156"/>
                        </a:lnTo>
                        <a:lnTo>
                          <a:pt x="62" y="152"/>
                        </a:lnTo>
                        <a:lnTo>
                          <a:pt x="58" y="138"/>
                        </a:lnTo>
                        <a:lnTo>
                          <a:pt x="49" y="129"/>
                        </a:lnTo>
                        <a:lnTo>
                          <a:pt x="40" y="125"/>
                        </a:lnTo>
                        <a:lnTo>
                          <a:pt x="36" y="116"/>
                        </a:lnTo>
                        <a:lnTo>
                          <a:pt x="40" y="116"/>
                        </a:lnTo>
                        <a:lnTo>
                          <a:pt x="36" y="107"/>
                        </a:lnTo>
                        <a:lnTo>
                          <a:pt x="27" y="98"/>
                        </a:lnTo>
                        <a:lnTo>
                          <a:pt x="9" y="67"/>
                        </a:lnTo>
                        <a:lnTo>
                          <a:pt x="0" y="67"/>
                        </a:lnTo>
                        <a:lnTo>
                          <a:pt x="0" y="62"/>
                        </a:lnTo>
                        <a:lnTo>
                          <a:pt x="9" y="4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19" name="Freeform 151">
                    <a:extLst>
                      <a:ext uri="{FF2B5EF4-FFF2-40B4-BE49-F238E27FC236}">
                        <a16:creationId xmlns:a16="http://schemas.microsoft.com/office/drawing/2014/main" id="{29CF7DF0-BAF0-4E9A-83CB-6EEA4534C2FF}"/>
                      </a:ext>
                    </a:extLst>
                  </p:cNvPr>
                  <p:cNvSpPr>
                    <a:spLocks/>
                  </p:cNvSpPr>
                  <p:nvPr/>
                </p:nvSpPr>
                <p:spPr bwMode="gray">
                  <a:xfrm>
                    <a:off x="4166" y="2757"/>
                    <a:ext cx="8" cy="9"/>
                  </a:xfrm>
                  <a:custGeom>
                    <a:avLst/>
                    <a:gdLst>
                      <a:gd name="T0" fmla="*/ 0 w 8"/>
                      <a:gd name="T1" fmla="*/ 4 h 9"/>
                      <a:gd name="T2" fmla="*/ 4 w 8"/>
                      <a:gd name="T3" fmla="*/ 0 h 9"/>
                      <a:gd name="T4" fmla="*/ 8 w 8"/>
                      <a:gd name="T5" fmla="*/ 4 h 9"/>
                      <a:gd name="T6" fmla="*/ 4 w 8"/>
                      <a:gd name="T7" fmla="*/ 9 h 9"/>
                      <a:gd name="T8" fmla="*/ 0 w 8"/>
                      <a:gd name="T9" fmla="*/ 4 h 9"/>
                    </a:gdLst>
                    <a:ahLst/>
                    <a:cxnLst>
                      <a:cxn ang="0">
                        <a:pos x="T0" y="T1"/>
                      </a:cxn>
                      <a:cxn ang="0">
                        <a:pos x="T2" y="T3"/>
                      </a:cxn>
                      <a:cxn ang="0">
                        <a:pos x="T4" y="T5"/>
                      </a:cxn>
                      <a:cxn ang="0">
                        <a:pos x="T6" y="T7"/>
                      </a:cxn>
                      <a:cxn ang="0">
                        <a:pos x="T8" y="T9"/>
                      </a:cxn>
                    </a:cxnLst>
                    <a:rect l="0" t="0" r="r" b="b"/>
                    <a:pathLst>
                      <a:path w="8" h="9">
                        <a:moveTo>
                          <a:pt x="0" y="4"/>
                        </a:moveTo>
                        <a:lnTo>
                          <a:pt x="4" y="0"/>
                        </a:lnTo>
                        <a:lnTo>
                          <a:pt x="8" y="4"/>
                        </a:lnTo>
                        <a:lnTo>
                          <a:pt x="4" y="9"/>
                        </a:lnTo>
                        <a:lnTo>
                          <a:pt x="0" y="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20" name="Freeform 152">
                    <a:extLst>
                      <a:ext uri="{FF2B5EF4-FFF2-40B4-BE49-F238E27FC236}">
                        <a16:creationId xmlns:a16="http://schemas.microsoft.com/office/drawing/2014/main" id="{EFAA61C5-BC9A-4C05-BE1B-A9088EBF0816}"/>
                      </a:ext>
                    </a:extLst>
                  </p:cNvPr>
                  <p:cNvSpPr>
                    <a:spLocks/>
                  </p:cNvSpPr>
                  <p:nvPr/>
                </p:nvSpPr>
                <p:spPr bwMode="gray">
                  <a:xfrm>
                    <a:off x="4143" y="2435"/>
                    <a:ext cx="107" cy="224"/>
                  </a:xfrm>
                  <a:custGeom>
                    <a:avLst/>
                    <a:gdLst>
                      <a:gd name="T0" fmla="*/ 0 w 107"/>
                      <a:gd name="T1" fmla="*/ 14 h 224"/>
                      <a:gd name="T2" fmla="*/ 5 w 107"/>
                      <a:gd name="T3" fmla="*/ 9 h 224"/>
                      <a:gd name="T4" fmla="*/ 27 w 107"/>
                      <a:gd name="T5" fmla="*/ 9 h 224"/>
                      <a:gd name="T6" fmla="*/ 36 w 107"/>
                      <a:gd name="T7" fmla="*/ 5 h 224"/>
                      <a:gd name="T8" fmla="*/ 49 w 107"/>
                      <a:gd name="T9" fmla="*/ 0 h 224"/>
                      <a:gd name="T10" fmla="*/ 67 w 107"/>
                      <a:gd name="T11" fmla="*/ 9 h 224"/>
                      <a:gd name="T12" fmla="*/ 63 w 107"/>
                      <a:gd name="T13" fmla="*/ 18 h 224"/>
                      <a:gd name="T14" fmla="*/ 81 w 107"/>
                      <a:gd name="T15" fmla="*/ 18 h 224"/>
                      <a:gd name="T16" fmla="*/ 81 w 107"/>
                      <a:gd name="T17" fmla="*/ 23 h 224"/>
                      <a:gd name="T18" fmla="*/ 76 w 107"/>
                      <a:gd name="T19" fmla="*/ 31 h 224"/>
                      <a:gd name="T20" fmla="*/ 76 w 107"/>
                      <a:gd name="T21" fmla="*/ 36 h 224"/>
                      <a:gd name="T22" fmla="*/ 67 w 107"/>
                      <a:gd name="T23" fmla="*/ 36 h 224"/>
                      <a:gd name="T24" fmla="*/ 67 w 107"/>
                      <a:gd name="T25" fmla="*/ 40 h 224"/>
                      <a:gd name="T26" fmla="*/ 54 w 107"/>
                      <a:gd name="T27" fmla="*/ 49 h 224"/>
                      <a:gd name="T28" fmla="*/ 49 w 107"/>
                      <a:gd name="T29" fmla="*/ 67 h 224"/>
                      <a:gd name="T30" fmla="*/ 63 w 107"/>
                      <a:gd name="T31" fmla="*/ 76 h 224"/>
                      <a:gd name="T32" fmla="*/ 67 w 107"/>
                      <a:gd name="T33" fmla="*/ 94 h 224"/>
                      <a:gd name="T34" fmla="*/ 98 w 107"/>
                      <a:gd name="T35" fmla="*/ 125 h 224"/>
                      <a:gd name="T36" fmla="*/ 107 w 107"/>
                      <a:gd name="T37" fmla="*/ 161 h 224"/>
                      <a:gd name="T38" fmla="*/ 107 w 107"/>
                      <a:gd name="T39" fmla="*/ 166 h 224"/>
                      <a:gd name="T40" fmla="*/ 107 w 107"/>
                      <a:gd name="T41" fmla="*/ 170 h 224"/>
                      <a:gd name="T42" fmla="*/ 103 w 107"/>
                      <a:gd name="T43" fmla="*/ 188 h 224"/>
                      <a:gd name="T44" fmla="*/ 90 w 107"/>
                      <a:gd name="T45" fmla="*/ 188 h 224"/>
                      <a:gd name="T46" fmla="*/ 81 w 107"/>
                      <a:gd name="T47" fmla="*/ 197 h 224"/>
                      <a:gd name="T48" fmla="*/ 72 w 107"/>
                      <a:gd name="T49" fmla="*/ 197 h 224"/>
                      <a:gd name="T50" fmla="*/ 67 w 107"/>
                      <a:gd name="T51" fmla="*/ 197 h 224"/>
                      <a:gd name="T52" fmla="*/ 67 w 107"/>
                      <a:gd name="T53" fmla="*/ 210 h 224"/>
                      <a:gd name="T54" fmla="*/ 58 w 107"/>
                      <a:gd name="T55" fmla="*/ 206 h 224"/>
                      <a:gd name="T56" fmla="*/ 58 w 107"/>
                      <a:gd name="T57" fmla="*/ 210 h 224"/>
                      <a:gd name="T58" fmla="*/ 49 w 107"/>
                      <a:gd name="T59" fmla="*/ 215 h 224"/>
                      <a:gd name="T60" fmla="*/ 45 w 107"/>
                      <a:gd name="T61" fmla="*/ 224 h 224"/>
                      <a:gd name="T62" fmla="*/ 36 w 107"/>
                      <a:gd name="T63" fmla="*/ 224 h 224"/>
                      <a:gd name="T64" fmla="*/ 40 w 107"/>
                      <a:gd name="T65" fmla="*/ 224 h 224"/>
                      <a:gd name="T66" fmla="*/ 40 w 107"/>
                      <a:gd name="T67" fmla="*/ 210 h 224"/>
                      <a:gd name="T68" fmla="*/ 45 w 107"/>
                      <a:gd name="T69" fmla="*/ 206 h 224"/>
                      <a:gd name="T70" fmla="*/ 36 w 107"/>
                      <a:gd name="T71" fmla="*/ 197 h 224"/>
                      <a:gd name="T72" fmla="*/ 45 w 107"/>
                      <a:gd name="T73" fmla="*/ 183 h 224"/>
                      <a:gd name="T74" fmla="*/ 58 w 107"/>
                      <a:gd name="T75" fmla="*/ 183 h 224"/>
                      <a:gd name="T76" fmla="*/ 58 w 107"/>
                      <a:gd name="T77" fmla="*/ 174 h 224"/>
                      <a:gd name="T78" fmla="*/ 67 w 107"/>
                      <a:gd name="T79" fmla="*/ 174 h 224"/>
                      <a:gd name="T80" fmla="*/ 76 w 107"/>
                      <a:gd name="T81" fmla="*/ 166 h 224"/>
                      <a:gd name="T82" fmla="*/ 76 w 107"/>
                      <a:gd name="T83" fmla="*/ 139 h 224"/>
                      <a:gd name="T84" fmla="*/ 72 w 107"/>
                      <a:gd name="T85" fmla="*/ 134 h 224"/>
                      <a:gd name="T86" fmla="*/ 67 w 107"/>
                      <a:gd name="T87" fmla="*/ 107 h 224"/>
                      <a:gd name="T88" fmla="*/ 58 w 107"/>
                      <a:gd name="T89" fmla="*/ 103 h 224"/>
                      <a:gd name="T90" fmla="*/ 40 w 107"/>
                      <a:gd name="T91" fmla="*/ 72 h 224"/>
                      <a:gd name="T92" fmla="*/ 27 w 107"/>
                      <a:gd name="T93" fmla="*/ 63 h 224"/>
                      <a:gd name="T94" fmla="*/ 27 w 107"/>
                      <a:gd name="T95" fmla="*/ 49 h 224"/>
                      <a:gd name="T96" fmla="*/ 31 w 107"/>
                      <a:gd name="T97" fmla="*/ 54 h 224"/>
                      <a:gd name="T98" fmla="*/ 36 w 107"/>
                      <a:gd name="T99" fmla="*/ 45 h 224"/>
                      <a:gd name="T100" fmla="*/ 27 w 107"/>
                      <a:gd name="T101" fmla="*/ 36 h 224"/>
                      <a:gd name="T102" fmla="*/ 14 w 107"/>
                      <a:gd name="T103" fmla="*/ 36 h 224"/>
                      <a:gd name="T104" fmla="*/ 9 w 107"/>
                      <a:gd name="T105" fmla="*/ 23 h 224"/>
                      <a:gd name="T106" fmla="*/ 0 w 107"/>
                      <a:gd name="T107" fmla="*/ 1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7" h="224">
                        <a:moveTo>
                          <a:pt x="0" y="14"/>
                        </a:moveTo>
                        <a:lnTo>
                          <a:pt x="5" y="9"/>
                        </a:lnTo>
                        <a:lnTo>
                          <a:pt x="27" y="9"/>
                        </a:lnTo>
                        <a:lnTo>
                          <a:pt x="36" y="5"/>
                        </a:lnTo>
                        <a:lnTo>
                          <a:pt x="49" y="0"/>
                        </a:lnTo>
                        <a:lnTo>
                          <a:pt x="67" y="9"/>
                        </a:lnTo>
                        <a:lnTo>
                          <a:pt x="63" y="18"/>
                        </a:lnTo>
                        <a:lnTo>
                          <a:pt x="81" y="18"/>
                        </a:lnTo>
                        <a:lnTo>
                          <a:pt x="81" y="23"/>
                        </a:lnTo>
                        <a:lnTo>
                          <a:pt x="76" y="31"/>
                        </a:lnTo>
                        <a:lnTo>
                          <a:pt x="76" y="36"/>
                        </a:lnTo>
                        <a:lnTo>
                          <a:pt x="67" y="36"/>
                        </a:lnTo>
                        <a:lnTo>
                          <a:pt x="67" y="40"/>
                        </a:lnTo>
                        <a:lnTo>
                          <a:pt x="54" y="49"/>
                        </a:lnTo>
                        <a:lnTo>
                          <a:pt x="49" y="67"/>
                        </a:lnTo>
                        <a:lnTo>
                          <a:pt x="63" y="76"/>
                        </a:lnTo>
                        <a:lnTo>
                          <a:pt x="67" y="94"/>
                        </a:lnTo>
                        <a:lnTo>
                          <a:pt x="98" y="125"/>
                        </a:lnTo>
                        <a:lnTo>
                          <a:pt x="107" y="161"/>
                        </a:lnTo>
                        <a:lnTo>
                          <a:pt x="107" y="166"/>
                        </a:lnTo>
                        <a:lnTo>
                          <a:pt x="107" y="170"/>
                        </a:lnTo>
                        <a:lnTo>
                          <a:pt x="103" y="188"/>
                        </a:lnTo>
                        <a:lnTo>
                          <a:pt x="90" y="188"/>
                        </a:lnTo>
                        <a:lnTo>
                          <a:pt x="81" y="197"/>
                        </a:lnTo>
                        <a:lnTo>
                          <a:pt x="72" y="197"/>
                        </a:lnTo>
                        <a:lnTo>
                          <a:pt x="67" y="197"/>
                        </a:lnTo>
                        <a:lnTo>
                          <a:pt x="67" y="210"/>
                        </a:lnTo>
                        <a:lnTo>
                          <a:pt x="58" y="206"/>
                        </a:lnTo>
                        <a:lnTo>
                          <a:pt x="58" y="210"/>
                        </a:lnTo>
                        <a:lnTo>
                          <a:pt x="49" y="215"/>
                        </a:lnTo>
                        <a:lnTo>
                          <a:pt x="45" y="224"/>
                        </a:lnTo>
                        <a:lnTo>
                          <a:pt x="36" y="224"/>
                        </a:lnTo>
                        <a:lnTo>
                          <a:pt x="40" y="224"/>
                        </a:lnTo>
                        <a:lnTo>
                          <a:pt x="40" y="210"/>
                        </a:lnTo>
                        <a:lnTo>
                          <a:pt x="45" y="206"/>
                        </a:lnTo>
                        <a:lnTo>
                          <a:pt x="36" y="197"/>
                        </a:lnTo>
                        <a:lnTo>
                          <a:pt x="45" y="183"/>
                        </a:lnTo>
                        <a:lnTo>
                          <a:pt x="58" y="183"/>
                        </a:lnTo>
                        <a:lnTo>
                          <a:pt x="58" y="174"/>
                        </a:lnTo>
                        <a:lnTo>
                          <a:pt x="67" y="174"/>
                        </a:lnTo>
                        <a:lnTo>
                          <a:pt x="76" y="166"/>
                        </a:lnTo>
                        <a:lnTo>
                          <a:pt x="76" y="139"/>
                        </a:lnTo>
                        <a:lnTo>
                          <a:pt x="72" y="134"/>
                        </a:lnTo>
                        <a:lnTo>
                          <a:pt x="67" y="107"/>
                        </a:lnTo>
                        <a:lnTo>
                          <a:pt x="58" y="103"/>
                        </a:lnTo>
                        <a:lnTo>
                          <a:pt x="40" y="72"/>
                        </a:lnTo>
                        <a:lnTo>
                          <a:pt x="27" y="63"/>
                        </a:lnTo>
                        <a:lnTo>
                          <a:pt x="27" y="49"/>
                        </a:lnTo>
                        <a:lnTo>
                          <a:pt x="31" y="54"/>
                        </a:lnTo>
                        <a:lnTo>
                          <a:pt x="36" y="45"/>
                        </a:lnTo>
                        <a:lnTo>
                          <a:pt x="27" y="36"/>
                        </a:lnTo>
                        <a:lnTo>
                          <a:pt x="14" y="36"/>
                        </a:lnTo>
                        <a:lnTo>
                          <a:pt x="9" y="23"/>
                        </a:lnTo>
                        <a:lnTo>
                          <a:pt x="0" y="1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21" name="Freeform 153">
                    <a:extLst>
                      <a:ext uri="{FF2B5EF4-FFF2-40B4-BE49-F238E27FC236}">
                        <a16:creationId xmlns:a16="http://schemas.microsoft.com/office/drawing/2014/main" id="{6E60EA2D-EB00-4E86-AE69-03610E90D0BA}"/>
                      </a:ext>
                    </a:extLst>
                  </p:cNvPr>
                  <p:cNvSpPr>
                    <a:spLocks/>
                  </p:cNvSpPr>
                  <p:nvPr/>
                </p:nvSpPr>
                <p:spPr bwMode="gray">
                  <a:xfrm>
                    <a:off x="3192" y="2198"/>
                    <a:ext cx="102" cy="90"/>
                  </a:xfrm>
                  <a:custGeom>
                    <a:avLst/>
                    <a:gdLst>
                      <a:gd name="T0" fmla="*/ 0 w 102"/>
                      <a:gd name="T1" fmla="*/ 27 h 90"/>
                      <a:gd name="T2" fmla="*/ 0 w 102"/>
                      <a:gd name="T3" fmla="*/ 36 h 90"/>
                      <a:gd name="T4" fmla="*/ 4 w 102"/>
                      <a:gd name="T5" fmla="*/ 41 h 90"/>
                      <a:gd name="T6" fmla="*/ 0 w 102"/>
                      <a:gd name="T7" fmla="*/ 45 h 90"/>
                      <a:gd name="T8" fmla="*/ 9 w 102"/>
                      <a:gd name="T9" fmla="*/ 45 h 90"/>
                      <a:gd name="T10" fmla="*/ 13 w 102"/>
                      <a:gd name="T11" fmla="*/ 54 h 90"/>
                      <a:gd name="T12" fmla="*/ 4 w 102"/>
                      <a:gd name="T13" fmla="*/ 67 h 90"/>
                      <a:gd name="T14" fmla="*/ 4 w 102"/>
                      <a:gd name="T15" fmla="*/ 81 h 90"/>
                      <a:gd name="T16" fmla="*/ 18 w 102"/>
                      <a:gd name="T17" fmla="*/ 90 h 90"/>
                      <a:gd name="T18" fmla="*/ 35 w 102"/>
                      <a:gd name="T19" fmla="*/ 76 h 90"/>
                      <a:gd name="T20" fmla="*/ 40 w 102"/>
                      <a:gd name="T21" fmla="*/ 72 h 90"/>
                      <a:gd name="T22" fmla="*/ 44 w 102"/>
                      <a:gd name="T23" fmla="*/ 72 h 90"/>
                      <a:gd name="T24" fmla="*/ 80 w 102"/>
                      <a:gd name="T25" fmla="*/ 45 h 90"/>
                      <a:gd name="T26" fmla="*/ 85 w 102"/>
                      <a:gd name="T27" fmla="*/ 18 h 90"/>
                      <a:gd name="T28" fmla="*/ 98 w 102"/>
                      <a:gd name="T29" fmla="*/ 9 h 90"/>
                      <a:gd name="T30" fmla="*/ 102 w 102"/>
                      <a:gd name="T31" fmla="*/ 5 h 90"/>
                      <a:gd name="T32" fmla="*/ 94 w 102"/>
                      <a:gd name="T33" fmla="*/ 0 h 90"/>
                      <a:gd name="T34" fmla="*/ 71 w 102"/>
                      <a:gd name="T35" fmla="*/ 5 h 90"/>
                      <a:gd name="T36" fmla="*/ 58 w 102"/>
                      <a:gd name="T37" fmla="*/ 9 h 90"/>
                      <a:gd name="T38" fmla="*/ 40 w 102"/>
                      <a:gd name="T39" fmla="*/ 5 h 90"/>
                      <a:gd name="T40" fmla="*/ 18 w 102"/>
                      <a:gd name="T41" fmla="*/ 9 h 90"/>
                      <a:gd name="T42" fmla="*/ 18 w 102"/>
                      <a:gd name="T43" fmla="*/ 18 h 90"/>
                      <a:gd name="T44" fmla="*/ 9 w 102"/>
                      <a:gd name="T45" fmla="*/ 27 h 90"/>
                      <a:gd name="T46" fmla="*/ 0 w 102"/>
                      <a:gd name="T47"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2" h="90">
                        <a:moveTo>
                          <a:pt x="0" y="27"/>
                        </a:moveTo>
                        <a:lnTo>
                          <a:pt x="0" y="36"/>
                        </a:lnTo>
                        <a:lnTo>
                          <a:pt x="4" y="41"/>
                        </a:lnTo>
                        <a:lnTo>
                          <a:pt x="0" y="45"/>
                        </a:lnTo>
                        <a:lnTo>
                          <a:pt x="9" y="45"/>
                        </a:lnTo>
                        <a:lnTo>
                          <a:pt x="13" y="54"/>
                        </a:lnTo>
                        <a:lnTo>
                          <a:pt x="4" y="67"/>
                        </a:lnTo>
                        <a:lnTo>
                          <a:pt x="4" y="81"/>
                        </a:lnTo>
                        <a:lnTo>
                          <a:pt x="18" y="90"/>
                        </a:lnTo>
                        <a:lnTo>
                          <a:pt x="35" y="76"/>
                        </a:lnTo>
                        <a:lnTo>
                          <a:pt x="40" y="72"/>
                        </a:lnTo>
                        <a:lnTo>
                          <a:pt x="44" y="72"/>
                        </a:lnTo>
                        <a:lnTo>
                          <a:pt x="80" y="45"/>
                        </a:lnTo>
                        <a:lnTo>
                          <a:pt x="85" y="18"/>
                        </a:lnTo>
                        <a:lnTo>
                          <a:pt x="98" y="9"/>
                        </a:lnTo>
                        <a:lnTo>
                          <a:pt x="102" y="5"/>
                        </a:lnTo>
                        <a:lnTo>
                          <a:pt x="94" y="0"/>
                        </a:lnTo>
                        <a:lnTo>
                          <a:pt x="71" y="5"/>
                        </a:lnTo>
                        <a:lnTo>
                          <a:pt x="58" y="9"/>
                        </a:lnTo>
                        <a:lnTo>
                          <a:pt x="40" y="5"/>
                        </a:lnTo>
                        <a:lnTo>
                          <a:pt x="18" y="9"/>
                        </a:lnTo>
                        <a:lnTo>
                          <a:pt x="18" y="18"/>
                        </a:lnTo>
                        <a:lnTo>
                          <a:pt x="9" y="27"/>
                        </a:lnTo>
                        <a:lnTo>
                          <a:pt x="0" y="27"/>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22" name="Freeform 154">
                    <a:extLst>
                      <a:ext uri="{FF2B5EF4-FFF2-40B4-BE49-F238E27FC236}">
                        <a16:creationId xmlns:a16="http://schemas.microsoft.com/office/drawing/2014/main" id="{A4C02513-A665-4BEB-9070-B90771CD8547}"/>
                      </a:ext>
                    </a:extLst>
                  </p:cNvPr>
                  <p:cNvSpPr>
                    <a:spLocks/>
                  </p:cNvSpPr>
                  <p:nvPr/>
                </p:nvSpPr>
                <p:spPr bwMode="gray">
                  <a:xfrm>
                    <a:off x="3647" y="2122"/>
                    <a:ext cx="112" cy="85"/>
                  </a:xfrm>
                  <a:custGeom>
                    <a:avLst/>
                    <a:gdLst>
                      <a:gd name="T0" fmla="*/ 54 w 112"/>
                      <a:gd name="T1" fmla="*/ 18 h 85"/>
                      <a:gd name="T2" fmla="*/ 50 w 112"/>
                      <a:gd name="T3" fmla="*/ 18 h 85"/>
                      <a:gd name="T4" fmla="*/ 45 w 112"/>
                      <a:gd name="T5" fmla="*/ 18 h 85"/>
                      <a:gd name="T6" fmla="*/ 45 w 112"/>
                      <a:gd name="T7" fmla="*/ 9 h 85"/>
                      <a:gd name="T8" fmla="*/ 45 w 112"/>
                      <a:gd name="T9" fmla="*/ 9 h 85"/>
                      <a:gd name="T10" fmla="*/ 45 w 112"/>
                      <a:gd name="T11" fmla="*/ 0 h 85"/>
                      <a:gd name="T12" fmla="*/ 41 w 112"/>
                      <a:gd name="T13" fmla="*/ 0 h 85"/>
                      <a:gd name="T14" fmla="*/ 41 w 112"/>
                      <a:gd name="T15" fmla="*/ 5 h 85"/>
                      <a:gd name="T16" fmla="*/ 27 w 112"/>
                      <a:gd name="T17" fmla="*/ 5 h 85"/>
                      <a:gd name="T18" fmla="*/ 32 w 112"/>
                      <a:gd name="T19" fmla="*/ 9 h 85"/>
                      <a:gd name="T20" fmla="*/ 23 w 112"/>
                      <a:gd name="T21" fmla="*/ 18 h 85"/>
                      <a:gd name="T22" fmla="*/ 9 w 112"/>
                      <a:gd name="T23" fmla="*/ 27 h 85"/>
                      <a:gd name="T24" fmla="*/ 9 w 112"/>
                      <a:gd name="T25" fmla="*/ 27 h 85"/>
                      <a:gd name="T26" fmla="*/ 5 w 112"/>
                      <a:gd name="T27" fmla="*/ 32 h 85"/>
                      <a:gd name="T28" fmla="*/ 0 w 112"/>
                      <a:gd name="T29" fmla="*/ 36 h 85"/>
                      <a:gd name="T30" fmla="*/ 5 w 112"/>
                      <a:gd name="T31" fmla="*/ 41 h 85"/>
                      <a:gd name="T32" fmla="*/ 5 w 112"/>
                      <a:gd name="T33" fmla="*/ 41 h 85"/>
                      <a:gd name="T34" fmla="*/ 9 w 112"/>
                      <a:gd name="T35" fmla="*/ 45 h 85"/>
                      <a:gd name="T36" fmla="*/ 14 w 112"/>
                      <a:gd name="T37" fmla="*/ 45 h 85"/>
                      <a:gd name="T38" fmla="*/ 9 w 112"/>
                      <a:gd name="T39" fmla="*/ 54 h 85"/>
                      <a:gd name="T40" fmla="*/ 14 w 112"/>
                      <a:gd name="T41" fmla="*/ 58 h 85"/>
                      <a:gd name="T42" fmla="*/ 9 w 112"/>
                      <a:gd name="T43" fmla="*/ 67 h 85"/>
                      <a:gd name="T44" fmla="*/ 5 w 112"/>
                      <a:gd name="T45" fmla="*/ 76 h 85"/>
                      <a:gd name="T46" fmla="*/ 9 w 112"/>
                      <a:gd name="T47" fmla="*/ 76 h 85"/>
                      <a:gd name="T48" fmla="*/ 23 w 112"/>
                      <a:gd name="T49" fmla="*/ 72 h 85"/>
                      <a:gd name="T50" fmla="*/ 36 w 112"/>
                      <a:gd name="T51" fmla="*/ 67 h 85"/>
                      <a:gd name="T52" fmla="*/ 41 w 112"/>
                      <a:gd name="T53" fmla="*/ 67 h 85"/>
                      <a:gd name="T54" fmla="*/ 54 w 112"/>
                      <a:gd name="T55" fmla="*/ 50 h 85"/>
                      <a:gd name="T56" fmla="*/ 58 w 112"/>
                      <a:gd name="T57" fmla="*/ 54 h 85"/>
                      <a:gd name="T58" fmla="*/ 63 w 112"/>
                      <a:gd name="T59" fmla="*/ 67 h 85"/>
                      <a:gd name="T60" fmla="*/ 58 w 112"/>
                      <a:gd name="T61" fmla="*/ 85 h 85"/>
                      <a:gd name="T62" fmla="*/ 81 w 112"/>
                      <a:gd name="T63" fmla="*/ 72 h 85"/>
                      <a:gd name="T64" fmla="*/ 108 w 112"/>
                      <a:gd name="T65" fmla="*/ 76 h 85"/>
                      <a:gd name="T66" fmla="*/ 112 w 112"/>
                      <a:gd name="T67" fmla="*/ 72 h 85"/>
                      <a:gd name="T68" fmla="*/ 112 w 112"/>
                      <a:gd name="T69" fmla="*/ 67 h 85"/>
                      <a:gd name="T70" fmla="*/ 108 w 112"/>
                      <a:gd name="T71" fmla="*/ 67 h 85"/>
                      <a:gd name="T72" fmla="*/ 108 w 112"/>
                      <a:gd name="T73" fmla="*/ 54 h 85"/>
                      <a:gd name="T74" fmla="*/ 90 w 112"/>
                      <a:gd name="T75" fmla="*/ 50 h 85"/>
                      <a:gd name="T76" fmla="*/ 90 w 112"/>
                      <a:gd name="T77" fmla="*/ 32 h 85"/>
                      <a:gd name="T78" fmla="*/ 81 w 112"/>
                      <a:gd name="T79" fmla="*/ 32 h 85"/>
                      <a:gd name="T80" fmla="*/ 76 w 112"/>
                      <a:gd name="T81" fmla="*/ 36 h 85"/>
                      <a:gd name="T82" fmla="*/ 63 w 112"/>
                      <a:gd name="T83" fmla="*/ 36 h 85"/>
                      <a:gd name="T84" fmla="*/ 63 w 112"/>
                      <a:gd name="T85" fmla="*/ 32 h 85"/>
                      <a:gd name="T86" fmla="*/ 58 w 112"/>
                      <a:gd name="T87" fmla="*/ 32 h 85"/>
                      <a:gd name="T88" fmla="*/ 54 w 112"/>
                      <a:gd name="T89" fmla="*/ 36 h 85"/>
                      <a:gd name="T90" fmla="*/ 50 w 112"/>
                      <a:gd name="T91" fmla="*/ 32 h 85"/>
                      <a:gd name="T92" fmla="*/ 45 w 112"/>
                      <a:gd name="T93" fmla="*/ 32 h 85"/>
                      <a:gd name="T94" fmla="*/ 41 w 112"/>
                      <a:gd name="T95" fmla="*/ 32 h 85"/>
                      <a:gd name="T96" fmla="*/ 27 w 112"/>
                      <a:gd name="T97" fmla="*/ 32 h 85"/>
                      <a:gd name="T98" fmla="*/ 27 w 112"/>
                      <a:gd name="T99" fmla="*/ 27 h 85"/>
                      <a:gd name="T100" fmla="*/ 32 w 112"/>
                      <a:gd name="T101" fmla="*/ 23 h 85"/>
                      <a:gd name="T102" fmla="*/ 32 w 112"/>
                      <a:gd name="T103" fmla="*/ 18 h 85"/>
                      <a:gd name="T104" fmla="*/ 41 w 112"/>
                      <a:gd name="T105" fmla="*/ 18 h 85"/>
                      <a:gd name="T106" fmla="*/ 45 w 112"/>
                      <a:gd name="T107" fmla="*/ 23 h 85"/>
                      <a:gd name="T108" fmla="*/ 45 w 112"/>
                      <a:gd name="T109" fmla="*/ 27 h 85"/>
                      <a:gd name="T110" fmla="*/ 50 w 112"/>
                      <a:gd name="T111" fmla="*/ 27 h 85"/>
                      <a:gd name="T112" fmla="*/ 50 w 112"/>
                      <a:gd name="T113" fmla="*/ 23 h 85"/>
                      <a:gd name="T114" fmla="*/ 54 w 112"/>
                      <a:gd name="T115" fmla="*/ 1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2" h="85">
                        <a:moveTo>
                          <a:pt x="54" y="18"/>
                        </a:moveTo>
                        <a:lnTo>
                          <a:pt x="50" y="18"/>
                        </a:lnTo>
                        <a:lnTo>
                          <a:pt x="45" y="18"/>
                        </a:lnTo>
                        <a:lnTo>
                          <a:pt x="45" y="9"/>
                        </a:lnTo>
                        <a:lnTo>
                          <a:pt x="45" y="9"/>
                        </a:lnTo>
                        <a:lnTo>
                          <a:pt x="45" y="0"/>
                        </a:lnTo>
                        <a:lnTo>
                          <a:pt x="41" y="0"/>
                        </a:lnTo>
                        <a:lnTo>
                          <a:pt x="41" y="5"/>
                        </a:lnTo>
                        <a:lnTo>
                          <a:pt x="27" y="5"/>
                        </a:lnTo>
                        <a:lnTo>
                          <a:pt x="32" y="9"/>
                        </a:lnTo>
                        <a:lnTo>
                          <a:pt x="23" y="18"/>
                        </a:lnTo>
                        <a:lnTo>
                          <a:pt x="9" y="27"/>
                        </a:lnTo>
                        <a:lnTo>
                          <a:pt x="9" y="27"/>
                        </a:lnTo>
                        <a:lnTo>
                          <a:pt x="5" y="32"/>
                        </a:lnTo>
                        <a:lnTo>
                          <a:pt x="0" y="36"/>
                        </a:lnTo>
                        <a:lnTo>
                          <a:pt x="5" y="41"/>
                        </a:lnTo>
                        <a:lnTo>
                          <a:pt x="5" y="41"/>
                        </a:lnTo>
                        <a:lnTo>
                          <a:pt x="9" y="45"/>
                        </a:lnTo>
                        <a:lnTo>
                          <a:pt x="14" y="45"/>
                        </a:lnTo>
                        <a:lnTo>
                          <a:pt x="9" y="54"/>
                        </a:lnTo>
                        <a:lnTo>
                          <a:pt x="14" y="58"/>
                        </a:lnTo>
                        <a:lnTo>
                          <a:pt x="9" y="67"/>
                        </a:lnTo>
                        <a:lnTo>
                          <a:pt x="5" y="76"/>
                        </a:lnTo>
                        <a:lnTo>
                          <a:pt x="9" y="76"/>
                        </a:lnTo>
                        <a:lnTo>
                          <a:pt x="23" y="72"/>
                        </a:lnTo>
                        <a:lnTo>
                          <a:pt x="36" y="67"/>
                        </a:lnTo>
                        <a:lnTo>
                          <a:pt x="41" y="67"/>
                        </a:lnTo>
                        <a:lnTo>
                          <a:pt x="54" y="50"/>
                        </a:lnTo>
                        <a:lnTo>
                          <a:pt x="58" y="54"/>
                        </a:lnTo>
                        <a:lnTo>
                          <a:pt x="63" y="67"/>
                        </a:lnTo>
                        <a:lnTo>
                          <a:pt x="58" y="85"/>
                        </a:lnTo>
                        <a:lnTo>
                          <a:pt x="81" y="72"/>
                        </a:lnTo>
                        <a:lnTo>
                          <a:pt x="108" y="76"/>
                        </a:lnTo>
                        <a:lnTo>
                          <a:pt x="112" y="72"/>
                        </a:lnTo>
                        <a:lnTo>
                          <a:pt x="112" y="67"/>
                        </a:lnTo>
                        <a:lnTo>
                          <a:pt x="108" y="67"/>
                        </a:lnTo>
                        <a:lnTo>
                          <a:pt x="108" y="54"/>
                        </a:lnTo>
                        <a:lnTo>
                          <a:pt x="90" y="50"/>
                        </a:lnTo>
                        <a:lnTo>
                          <a:pt x="90" y="32"/>
                        </a:lnTo>
                        <a:lnTo>
                          <a:pt x="81" y="32"/>
                        </a:lnTo>
                        <a:lnTo>
                          <a:pt x="76" y="36"/>
                        </a:lnTo>
                        <a:lnTo>
                          <a:pt x="63" y="36"/>
                        </a:lnTo>
                        <a:lnTo>
                          <a:pt x="63" y="32"/>
                        </a:lnTo>
                        <a:lnTo>
                          <a:pt x="58" y="32"/>
                        </a:lnTo>
                        <a:lnTo>
                          <a:pt x="54" y="36"/>
                        </a:lnTo>
                        <a:lnTo>
                          <a:pt x="50" y="32"/>
                        </a:lnTo>
                        <a:lnTo>
                          <a:pt x="45" y="32"/>
                        </a:lnTo>
                        <a:lnTo>
                          <a:pt x="41" y="32"/>
                        </a:lnTo>
                        <a:lnTo>
                          <a:pt x="27" y="32"/>
                        </a:lnTo>
                        <a:lnTo>
                          <a:pt x="27" y="27"/>
                        </a:lnTo>
                        <a:lnTo>
                          <a:pt x="32" y="23"/>
                        </a:lnTo>
                        <a:lnTo>
                          <a:pt x="32" y="18"/>
                        </a:lnTo>
                        <a:lnTo>
                          <a:pt x="41" y="18"/>
                        </a:lnTo>
                        <a:lnTo>
                          <a:pt x="45" y="23"/>
                        </a:lnTo>
                        <a:lnTo>
                          <a:pt x="45" y="27"/>
                        </a:lnTo>
                        <a:lnTo>
                          <a:pt x="50" y="27"/>
                        </a:lnTo>
                        <a:lnTo>
                          <a:pt x="50" y="23"/>
                        </a:lnTo>
                        <a:lnTo>
                          <a:pt x="54" y="18"/>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23" name="Freeform 155">
                    <a:extLst>
                      <a:ext uri="{FF2B5EF4-FFF2-40B4-BE49-F238E27FC236}">
                        <a16:creationId xmlns:a16="http://schemas.microsoft.com/office/drawing/2014/main" id="{2B2B2DE3-8B31-439D-856F-D53DBAFB7162}"/>
                      </a:ext>
                    </a:extLst>
                  </p:cNvPr>
                  <p:cNvSpPr>
                    <a:spLocks/>
                  </p:cNvSpPr>
                  <p:nvPr/>
                </p:nvSpPr>
                <p:spPr bwMode="gray">
                  <a:xfrm>
                    <a:off x="4076" y="2480"/>
                    <a:ext cx="116" cy="219"/>
                  </a:xfrm>
                  <a:custGeom>
                    <a:avLst/>
                    <a:gdLst>
                      <a:gd name="T0" fmla="*/ 18 w 116"/>
                      <a:gd name="T1" fmla="*/ 156 h 219"/>
                      <a:gd name="T2" fmla="*/ 23 w 116"/>
                      <a:gd name="T3" fmla="*/ 147 h 219"/>
                      <a:gd name="T4" fmla="*/ 27 w 116"/>
                      <a:gd name="T5" fmla="*/ 143 h 219"/>
                      <a:gd name="T6" fmla="*/ 31 w 116"/>
                      <a:gd name="T7" fmla="*/ 134 h 219"/>
                      <a:gd name="T8" fmla="*/ 27 w 116"/>
                      <a:gd name="T9" fmla="*/ 121 h 219"/>
                      <a:gd name="T10" fmla="*/ 31 w 116"/>
                      <a:gd name="T11" fmla="*/ 103 h 219"/>
                      <a:gd name="T12" fmla="*/ 14 w 116"/>
                      <a:gd name="T13" fmla="*/ 85 h 219"/>
                      <a:gd name="T14" fmla="*/ 9 w 116"/>
                      <a:gd name="T15" fmla="*/ 80 h 219"/>
                      <a:gd name="T16" fmla="*/ 18 w 116"/>
                      <a:gd name="T17" fmla="*/ 71 h 219"/>
                      <a:gd name="T18" fmla="*/ 14 w 116"/>
                      <a:gd name="T19" fmla="*/ 58 h 219"/>
                      <a:gd name="T20" fmla="*/ 5 w 116"/>
                      <a:gd name="T21" fmla="*/ 49 h 219"/>
                      <a:gd name="T22" fmla="*/ 5 w 116"/>
                      <a:gd name="T23" fmla="*/ 36 h 219"/>
                      <a:gd name="T24" fmla="*/ 0 w 116"/>
                      <a:gd name="T25" fmla="*/ 31 h 219"/>
                      <a:gd name="T26" fmla="*/ 9 w 116"/>
                      <a:gd name="T27" fmla="*/ 13 h 219"/>
                      <a:gd name="T28" fmla="*/ 18 w 116"/>
                      <a:gd name="T29" fmla="*/ 9 h 219"/>
                      <a:gd name="T30" fmla="*/ 31 w 116"/>
                      <a:gd name="T31" fmla="*/ 0 h 219"/>
                      <a:gd name="T32" fmla="*/ 40 w 116"/>
                      <a:gd name="T33" fmla="*/ 0 h 219"/>
                      <a:gd name="T34" fmla="*/ 49 w 116"/>
                      <a:gd name="T35" fmla="*/ 4 h 219"/>
                      <a:gd name="T36" fmla="*/ 45 w 116"/>
                      <a:gd name="T37" fmla="*/ 9 h 219"/>
                      <a:gd name="T38" fmla="*/ 54 w 116"/>
                      <a:gd name="T39" fmla="*/ 13 h 219"/>
                      <a:gd name="T40" fmla="*/ 54 w 116"/>
                      <a:gd name="T41" fmla="*/ 49 h 219"/>
                      <a:gd name="T42" fmla="*/ 67 w 116"/>
                      <a:gd name="T43" fmla="*/ 36 h 219"/>
                      <a:gd name="T44" fmla="*/ 76 w 116"/>
                      <a:gd name="T45" fmla="*/ 40 h 219"/>
                      <a:gd name="T46" fmla="*/ 85 w 116"/>
                      <a:gd name="T47" fmla="*/ 31 h 219"/>
                      <a:gd name="T48" fmla="*/ 94 w 116"/>
                      <a:gd name="T49" fmla="*/ 31 h 219"/>
                      <a:gd name="T50" fmla="*/ 103 w 116"/>
                      <a:gd name="T51" fmla="*/ 58 h 219"/>
                      <a:gd name="T52" fmla="*/ 116 w 116"/>
                      <a:gd name="T53" fmla="*/ 71 h 219"/>
                      <a:gd name="T54" fmla="*/ 107 w 116"/>
                      <a:gd name="T55" fmla="*/ 89 h 219"/>
                      <a:gd name="T56" fmla="*/ 81 w 116"/>
                      <a:gd name="T57" fmla="*/ 94 h 219"/>
                      <a:gd name="T58" fmla="*/ 72 w 116"/>
                      <a:gd name="T59" fmla="*/ 107 h 219"/>
                      <a:gd name="T60" fmla="*/ 81 w 116"/>
                      <a:gd name="T61" fmla="*/ 125 h 219"/>
                      <a:gd name="T62" fmla="*/ 81 w 116"/>
                      <a:gd name="T63" fmla="*/ 134 h 219"/>
                      <a:gd name="T64" fmla="*/ 72 w 116"/>
                      <a:gd name="T65" fmla="*/ 129 h 219"/>
                      <a:gd name="T66" fmla="*/ 63 w 116"/>
                      <a:gd name="T67" fmla="*/ 121 h 219"/>
                      <a:gd name="T68" fmla="*/ 49 w 116"/>
                      <a:gd name="T69" fmla="*/ 121 h 219"/>
                      <a:gd name="T70" fmla="*/ 49 w 116"/>
                      <a:gd name="T71" fmla="*/ 107 h 219"/>
                      <a:gd name="T72" fmla="*/ 40 w 116"/>
                      <a:gd name="T73" fmla="*/ 107 h 219"/>
                      <a:gd name="T74" fmla="*/ 40 w 116"/>
                      <a:gd name="T75" fmla="*/ 125 h 219"/>
                      <a:gd name="T76" fmla="*/ 31 w 116"/>
                      <a:gd name="T77" fmla="*/ 138 h 219"/>
                      <a:gd name="T78" fmla="*/ 27 w 116"/>
                      <a:gd name="T79" fmla="*/ 170 h 219"/>
                      <a:gd name="T80" fmla="*/ 36 w 116"/>
                      <a:gd name="T81" fmla="*/ 170 h 219"/>
                      <a:gd name="T82" fmla="*/ 45 w 116"/>
                      <a:gd name="T83" fmla="*/ 183 h 219"/>
                      <a:gd name="T84" fmla="*/ 49 w 116"/>
                      <a:gd name="T85" fmla="*/ 196 h 219"/>
                      <a:gd name="T86" fmla="*/ 58 w 116"/>
                      <a:gd name="T87" fmla="*/ 201 h 219"/>
                      <a:gd name="T88" fmla="*/ 67 w 116"/>
                      <a:gd name="T89" fmla="*/ 210 h 219"/>
                      <a:gd name="T90" fmla="*/ 63 w 116"/>
                      <a:gd name="T91" fmla="*/ 219 h 219"/>
                      <a:gd name="T92" fmla="*/ 54 w 116"/>
                      <a:gd name="T93" fmla="*/ 219 h 219"/>
                      <a:gd name="T94" fmla="*/ 45 w 116"/>
                      <a:gd name="T95" fmla="*/ 205 h 219"/>
                      <a:gd name="T96" fmla="*/ 40 w 116"/>
                      <a:gd name="T97" fmla="*/ 210 h 219"/>
                      <a:gd name="T98" fmla="*/ 31 w 116"/>
                      <a:gd name="T99" fmla="*/ 205 h 219"/>
                      <a:gd name="T100" fmla="*/ 27 w 116"/>
                      <a:gd name="T101" fmla="*/ 196 h 219"/>
                      <a:gd name="T102" fmla="*/ 23 w 116"/>
                      <a:gd name="T103" fmla="*/ 201 h 219"/>
                      <a:gd name="T104" fmla="*/ 18 w 116"/>
                      <a:gd name="T105" fmla="*/ 196 h 219"/>
                      <a:gd name="T106" fmla="*/ 23 w 116"/>
                      <a:gd name="T107" fmla="*/ 192 h 219"/>
                      <a:gd name="T108" fmla="*/ 18 w 116"/>
                      <a:gd name="T109" fmla="*/ 188 h 219"/>
                      <a:gd name="T110" fmla="*/ 14 w 116"/>
                      <a:gd name="T111" fmla="*/ 192 h 219"/>
                      <a:gd name="T112" fmla="*/ 9 w 116"/>
                      <a:gd name="T113" fmla="*/ 183 h 219"/>
                      <a:gd name="T114" fmla="*/ 14 w 116"/>
                      <a:gd name="T115" fmla="*/ 170 h 219"/>
                      <a:gd name="T116" fmla="*/ 18 w 116"/>
                      <a:gd name="T117" fmla="*/ 15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6" h="219">
                        <a:moveTo>
                          <a:pt x="18" y="156"/>
                        </a:moveTo>
                        <a:lnTo>
                          <a:pt x="23" y="147"/>
                        </a:lnTo>
                        <a:lnTo>
                          <a:pt x="27" y="143"/>
                        </a:lnTo>
                        <a:lnTo>
                          <a:pt x="31" y="134"/>
                        </a:lnTo>
                        <a:lnTo>
                          <a:pt x="27" y="121"/>
                        </a:lnTo>
                        <a:lnTo>
                          <a:pt x="31" y="103"/>
                        </a:lnTo>
                        <a:lnTo>
                          <a:pt x="14" y="85"/>
                        </a:lnTo>
                        <a:lnTo>
                          <a:pt x="9" y="80"/>
                        </a:lnTo>
                        <a:lnTo>
                          <a:pt x="18" y="71"/>
                        </a:lnTo>
                        <a:lnTo>
                          <a:pt x="14" y="58"/>
                        </a:lnTo>
                        <a:lnTo>
                          <a:pt x="5" y="49"/>
                        </a:lnTo>
                        <a:lnTo>
                          <a:pt x="5" y="36"/>
                        </a:lnTo>
                        <a:lnTo>
                          <a:pt x="0" y="31"/>
                        </a:lnTo>
                        <a:lnTo>
                          <a:pt x="9" y="13"/>
                        </a:lnTo>
                        <a:lnTo>
                          <a:pt x="18" y="9"/>
                        </a:lnTo>
                        <a:lnTo>
                          <a:pt x="31" y="0"/>
                        </a:lnTo>
                        <a:lnTo>
                          <a:pt x="40" y="0"/>
                        </a:lnTo>
                        <a:lnTo>
                          <a:pt x="49" y="4"/>
                        </a:lnTo>
                        <a:lnTo>
                          <a:pt x="45" y="9"/>
                        </a:lnTo>
                        <a:lnTo>
                          <a:pt x="54" y="13"/>
                        </a:lnTo>
                        <a:lnTo>
                          <a:pt x="54" y="49"/>
                        </a:lnTo>
                        <a:lnTo>
                          <a:pt x="67" y="36"/>
                        </a:lnTo>
                        <a:lnTo>
                          <a:pt x="76" y="40"/>
                        </a:lnTo>
                        <a:lnTo>
                          <a:pt x="85" y="31"/>
                        </a:lnTo>
                        <a:lnTo>
                          <a:pt x="94" y="31"/>
                        </a:lnTo>
                        <a:lnTo>
                          <a:pt x="103" y="58"/>
                        </a:lnTo>
                        <a:lnTo>
                          <a:pt x="116" y="71"/>
                        </a:lnTo>
                        <a:lnTo>
                          <a:pt x="107" y="89"/>
                        </a:lnTo>
                        <a:lnTo>
                          <a:pt x="81" y="94"/>
                        </a:lnTo>
                        <a:lnTo>
                          <a:pt x="72" y="107"/>
                        </a:lnTo>
                        <a:lnTo>
                          <a:pt x="81" y="125"/>
                        </a:lnTo>
                        <a:lnTo>
                          <a:pt x="81" y="134"/>
                        </a:lnTo>
                        <a:lnTo>
                          <a:pt x="72" y="129"/>
                        </a:lnTo>
                        <a:lnTo>
                          <a:pt x="63" y="121"/>
                        </a:lnTo>
                        <a:lnTo>
                          <a:pt x="49" y="121"/>
                        </a:lnTo>
                        <a:lnTo>
                          <a:pt x="49" y="107"/>
                        </a:lnTo>
                        <a:lnTo>
                          <a:pt x="40" y="107"/>
                        </a:lnTo>
                        <a:lnTo>
                          <a:pt x="40" y="125"/>
                        </a:lnTo>
                        <a:lnTo>
                          <a:pt x="31" y="138"/>
                        </a:lnTo>
                        <a:lnTo>
                          <a:pt x="27" y="170"/>
                        </a:lnTo>
                        <a:lnTo>
                          <a:pt x="36" y="170"/>
                        </a:lnTo>
                        <a:lnTo>
                          <a:pt x="45" y="183"/>
                        </a:lnTo>
                        <a:lnTo>
                          <a:pt x="49" y="196"/>
                        </a:lnTo>
                        <a:lnTo>
                          <a:pt x="58" y="201"/>
                        </a:lnTo>
                        <a:lnTo>
                          <a:pt x="67" y="210"/>
                        </a:lnTo>
                        <a:lnTo>
                          <a:pt x="63" y="219"/>
                        </a:lnTo>
                        <a:lnTo>
                          <a:pt x="54" y="219"/>
                        </a:lnTo>
                        <a:lnTo>
                          <a:pt x="45" y="205"/>
                        </a:lnTo>
                        <a:lnTo>
                          <a:pt x="40" y="210"/>
                        </a:lnTo>
                        <a:lnTo>
                          <a:pt x="31" y="205"/>
                        </a:lnTo>
                        <a:lnTo>
                          <a:pt x="27" y="196"/>
                        </a:lnTo>
                        <a:lnTo>
                          <a:pt x="23" y="201"/>
                        </a:lnTo>
                        <a:lnTo>
                          <a:pt x="18" y="196"/>
                        </a:lnTo>
                        <a:lnTo>
                          <a:pt x="23" y="192"/>
                        </a:lnTo>
                        <a:lnTo>
                          <a:pt x="18" y="188"/>
                        </a:lnTo>
                        <a:lnTo>
                          <a:pt x="14" y="192"/>
                        </a:lnTo>
                        <a:lnTo>
                          <a:pt x="9" y="183"/>
                        </a:lnTo>
                        <a:lnTo>
                          <a:pt x="14" y="170"/>
                        </a:lnTo>
                        <a:lnTo>
                          <a:pt x="18" y="156"/>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24" name="Freeform 156">
                    <a:extLst>
                      <a:ext uri="{FF2B5EF4-FFF2-40B4-BE49-F238E27FC236}">
                        <a16:creationId xmlns:a16="http://schemas.microsoft.com/office/drawing/2014/main" id="{9B514730-F417-46C7-8A88-602B46B017C1}"/>
                      </a:ext>
                    </a:extLst>
                  </p:cNvPr>
                  <p:cNvSpPr>
                    <a:spLocks/>
                  </p:cNvSpPr>
                  <p:nvPr/>
                </p:nvSpPr>
                <p:spPr bwMode="gray">
                  <a:xfrm>
                    <a:off x="3411" y="2390"/>
                    <a:ext cx="80" cy="50"/>
                  </a:xfrm>
                  <a:custGeom>
                    <a:avLst/>
                    <a:gdLst>
                      <a:gd name="T0" fmla="*/ 0 w 80"/>
                      <a:gd name="T1" fmla="*/ 14 h 50"/>
                      <a:gd name="T2" fmla="*/ 9 w 80"/>
                      <a:gd name="T3" fmla="*/ 18 h 50"/>
                      <a:gd name="T4" fmla="*/ 13 w 80"/>
                      <a:gd name="T5" fmla="*/ 18 h 50"/>
                      <a:gd name="T6" fmla="*/ 26 w 80"/>
                      <a:gd name="T7" fmla="*/ 23 h 50"/>
                      <a:gd name="T8" fmla="*/ 40 w 80"/>
                      <a:gd name="T9" fmla="*/ 23 h 50"/>
                      <a:gd name="T10" fmla="*/ 44 w 80"/>
                      <a:gd name="T11" fmla="*/ 32 h 50"/>
                      <a:gd name="T12" fmla="*/ 49 w 80"/>
                      <a:gd name="T13" fmla="*/ 27 h 50"/>
                      <a:gd name="T14" fmla="*/ 49 w 80"/>
                      <a:gd name="T15" fmla="*/ 23 h 50"/>
                      <a:gd name="T16" fmla="*/ 53 w 80"/>
                      <a:gd name="T17" fmla="*/ 23 h 50"/>
                      <a:gd name="T18" fmla="*/ 71 w 80"/>
                      <a:gd name="T19" fmla="*/ 0 h 50"/>
                      <a:gd name="T20" fmla="*/ 76 w 80"/>
                      <a:gd name="T21" fmla="*/ 0 h 50"/>
                      <a:gd name="T22" fmla="*/ 80 w 80"/>
                      <a:gd name="T23" fmla="*/ 5 h 50"/>
                      <a:gd name="T24" fmla="*/ 76 w 80"/>
                      <a:gd name="T25" fmla="*/ 14 h 50"/>
                      <a:gd name="T26" fmla="*/ 76 w 80"/>
                      <a:gd name="T27" fmla="*/ 14 h 50"/>
                      <a:gd name="T28" fmla="*/ 71 w 80"/>
                      <a:gd name="T29" fmla="*/ 18 h 50"/>
                      <a:gd name="T30" fmla="*/ 62 w 80"/>
                      <a:gd name="T31" fmla="*/ 32 h 50"/>
                      <a:gd name="T32" fmla="*/ 44 w 80"/>
                      <a:gd name="T33" fmla="*/ 41 h 50"/>
                      <a:gd name="T34" fmla="*/ 22 w 80"/>
                      <a:gd name="T35" fmla="*/ 50 h 50"/>
                      <a:gd name="T36" fmla="*/ 9 w 80"/>
                      <a:gd name="T37" fmla="*/ 41 h 50"/>
                      <a:gd name="T38" fmla="*/ 0 w 80"/>
                      <a:gd name="T39" fmla="*/ 1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50">
                        <a:moveTo>
                          <a:pt x="0" y="14"/>
                        </a:moveTo>
                        <a:lnTo>
                          <a:pt x="9" y="18"/>
                        </a:lnTo>
                        <a:lnTo>
                          <a:pt x="13" y="18"/>
                        </a:lnTo>
                        <a:lnTo>
                          <a:pt x="26" y="23"/>
                        </a:lnTo>
                        <a:lnTo>
                          <a:pt x="40" y="23"/>
                        </a:lnTo>
                        <a:lnTo>
                          <a:pt x="44" y="32"/>
                        </a:lnTo>
                        <a:lnTo>
                          <a:pt x="49" y="27"/>
                        </a:lnTo>
                        <a:lnTo>
                          <a:pt x="49" y="23"/>
                        </a:lnTo>
                        <a:lnTo>
                          <a:pt x="53" y="23"/>
                        </a:lnTo>
                        <a:lnTo>
                          <a:pt x="71" y="0"/>
                        </a:lnTo>
                        <a:lnTo>
                          <a:pt x="76" y="0"/>
                        </a:lnTo>
                        <a:lnTo>
                          <a:pt x="80" y="5"/>
                        </a:lnTo>
                        <a:lnTo>
                          <a:pt x="76" y="14"/>
                        </a:lnTo>
                        <a:lnTo>
                          <a:pt x="76" y="14"/>
                        </a:lnTo>
                        <a:lnTo>
                          <a:pt x="71" y="18"/>
                        </a:lnTo>
                        <a:lnTo>
                          <a:pt x="62" y="32"/>
                        </a:lnTo>
                        <a:lnTo>
                          <a:pt x="44" y="41"/>
                        </a:lnTo>
                        <a:lnTo>
                          <a:pt x="22" y="50"/>
                        </a:lnTo>
                        <a:lnTo>
                          <a:pt x="9" y="41"/>
                        </a:lnTo>
                        <a:lnTo>
                          <a:pt x="0" y="1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25" name="Freeform 157">
                    <a:extLst>
                      <a:ext uri="{FF2B5EF4-FFF2-40B4-BE49-F238E27FC236}">
                        <a16:creationId xmlns:a16="http://schemas.microsoft.com/office/drawing/2014/main" id="{494EE232-1EAB-4155-B73C-030AF0F51225}"/>
                      </a:ext>
                    </a:extLst>
                  </p:cNvPr>
                  <p:cNvSpPr>
                    <a:spLocks/>
                  </p:cNvSpPr>
                  <p:nvPr/>
                </p:nvSpPr>
                <p:spPr bwMode="gray">
                  <a:xfrm>
                    <a:off x="3437" y="2091"/>
                    <a:ext cx="197" cy="143"/>
                  </a:xfrm>
                  <a:custGeom>
                    <a:avLst/>
                    <a:gdLst>
                      <a:gd name="T0" fmla="*/ 5 w 197"/>
                      <a:gd name="T1" fmla="*/ 31 h 143"/>
                      <a:gd name="T2" fmla="*/ 18 w 197"/>
                      <a:gd name="T3" fmla="*/ 9 h 143"/>
                      <a:gd name="T4" fmla="*/ 32 w 197"/>
                      <a:gd name="T5" fmla="*/ 31 h 143"/>
                      <a:gd name="T6" fmla="*/ 9 w 197"/>
                      <a:gd name="T7" fmla="*/ 40 h 143"/>
                      <a:gd name="T8" fmla="*/ 0 w 197"/>
                      <a:gd name="T9" fmla="*/ 49 h 143"/>
                      <a:gd name="T10" fmla="*/ 9 w 197"/>
                      <a:gd name="T11" fmla="*/ 54 h 143"/>
                      <a:gd name="T12" fmla="*/ 18 w 197"/>
                      <a:gd name="T13" fmla="*/ 67 h 143"/>
                      <a:gd name="T14" fmla="*/ 5 w 197"/>
                      <a:gd name="T15" fmla="*/ 67 h 143"/>
                      <a:gd name="T16" fmla="*/ 14 w 197"/>
                      <a:gd name="T17" fmla="*/ 72 h 143"/>
                      <a:gd name="T18" fmla="*/ 18 w 197"/>
                      <a:gd name="T19" fmla="*/ 98 h 143"/>
                      <a:gd name="T20" fmla="*/ 32 w 197"/>
                      <a:gd name="T21" fmla="*/ 103 h 143"/>
                      <a:gd name="T22" fmla="*/ 54 w 197"/>
                      <a:gd name="T23" fmla="*/ 94 h 143"/>
                      <a:gd name="T24" fmla="*/ 72 w 197"/>
                      <a:gd name="T25" fmla="*/ 94 h 143"/>
                      <a:gd name="T26" fmla="*/ 108 w 197"/>
                      <a:gd name="T27" fmla="*/ 116 h 143"/>
                      <a:gd name="T28" fmla="*/ 121 w 197"/>
                      <a:gd name="T29" fmla="*/ 134 h 143"/>
                      <a:gd name="T30" fmla="*/ 139 w 197"/>
                      <a:gd name="T31" fmla="*/ 143 h 143"/>
                      <a:gd name="T32" fmla="*/ 170 w 197"/>
                      <a:gd name="T33" fmla="*/ 125 h 143"/>
                      <a:gd name="T34" fmla="*/ 188 w 197"/>
                      <a:gd name="T35" fmla="*/ 103 h 143"/>
                      <a:gd name="T36" fmla="*/ 197 w 197"/>
                      <a:gd name="T37" fmla="*/ 103 h 143"/>
                      <a:gd name="T38" fmla="*/ 188 w 197"/>
                      <a:gd name="T39" fmla="*/ 89 h 143"/>
                      <a:gd name="T40" fmla="*/ 175 w 197"/>
                      <a:gd name="T41" fmla="*/ 81 h 143"/>
                      <a:gd name="T42" fmla="*/ 152 w 197"/>
                      <a:gd name="T43" fmla="*/ 63 h 143"/>
                      <a:gd name="T44" fmla="*/ 134 w 197"/>
                      <a:gd name="T45" fmla="*/ 45 h 143"/>
                      <a:gd name="T46" fmla="*/ 130 w 197"/>
                      <a:gd name="T47" fmla="*/ 27 h 143"/>
                      <a:gd name="T48" fmla="*/ 108 w 197"/>
                      <a:gd name="T49" fmla="*/ 31 h 143"/>
                      <a:gd name="T50" fmla="*/ 108 w 197"/>
                      <a:gd name="T51" fmla="*/ 13 h 143"/>
                      <a:gd name="T52" fmla="*/ 99 w 197"/>
                      <a:gd name="T53" fmla="*/ 5 h 143"/>
                      <a:gd name="T54" fmla="*/ 81 w 197"/>
                      <a:gd name="T55" fmla="*/ 5 h 143"/>
                      <a:gd name="T56" fmla="*/ 81 w 197"/>
                      <a:gd name="T57" fmla="*/ 13 h 143"/>
                      <a:gd name="T58" fmla="*/ 72 w 197"/>
                      <a:gd name="T59" fmla="*/ 9 h 143"/>
                      <a:gd name="T60" fmla="*/ 67 w 197"/>
                      <a:gd name="T61" fmla="*/ 13 h 143"/>
                      <a:gd name="T62" fmla="*/ 63 w 197"/>
                      <a:gd name="T63" fmla="*/ 22 h 143"/>
                      <a:gd name="T64" fmla="*/ 59 w 197"/>
                      <a:gd name="T65" fmla="*/ 27 h 143"/>
                      <a:gd name="T66" fmla="*/ 41 w 197"/>
                      <a:gd name="T67" fmla="*/ 27 h 143"/>
                      <a:gd name="T68" fmla="*/ 32 w 197"/>
                      <a:gd name="T69" fmla="*/ 13 h 143"/>
                      <a:gd name="T70" fmla="*/ 9 w 197"/>
                      <a:gd name="T71" fmla="*/ 9 h 143"/>
                      <a:gd name="T72" fmla="*/ 0 w 197"/>
                      <a:gd name="T73" fmla="*/ 1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7" h="143">
                        <a:moveTo>
                          <a:pt x="0" y="18"/>
                        </a:moveTo>
                        <a:lnTo>
                          <a:pt x="5" y="31"/>
                        </a:lnTo>
                        <a:lnTo>
                          <a:pt x="5" y="13"/>
                        </a:lnTo>
                        <a:lnTo>
                          <a:pt x="18" y="9"/>
                        </a:lnTo>
                        <a:lnTo>
                          <a:pt x="23" y="22"/>
                        </a:lnTo>
                        <a:lnTo>
                          <a:pt x="32" y="31"/>
                        </a:lnTo>
                        <a:lnTo>
                          <a:pt x="23" y="36"/>
                        </a:lnTo>
                        <a:lnTo>
                          <a:pt x="9" y="40"/>
                        </a:lnTo>
                        <a:lnTo>
                          <a:pt x="5" y="36"/>
                        </a:lnTo>
                        <a:lnTo>
                          <a:pt x="0" y="49"/>
                        </a:lnTo>
                        <a:lnTo>
                          <a:pt x="5" y="58"/>
                        </a:lnTo>
                        <a:lnTo>
                          <a:pt x="9" y="54"/>
                        </a:lnTo>
                        <a:lnTo>
                          <a:pt x="18" y="54"/>
                        </a:lnTo>
                        <a:lnTo>
                          <a:pt x="18" y="67"/>
                        </a:lnTo>
                        <a:lnTo>
                          <a:pt x="9" y="63"/>
                        </a:lnTo>
                        <a:lnTo>
                          <a:pt x="5" y="67"/>
                        </a:lnTo>
                        <a:lnTo>
                          <a:pt x="9" y="72"/>
                        </a:lnTo>
                        <a:lnTo>
                          <a:pt x="14" y="72"/>
                        </a:lnTo>
                        <a:lnTo>
                          <a:pt x="18" y="76"/>
                        </a:lnTo>
                        <a:lnTo>
                          <a:pt x="18" y="98"/>
                        </a:lnTo>
                        <a:lnTo>
                          <a:pt x="23" y="107"/>
                        </a:lnTo>
                        <a:lnTo>
                          <a:pt x="32" y="103"/>
                        </a:lnTo>
                        <a:lnTo>
                          <a:pt x="41" y="94"/>
                        </a:lnTo>
                        <a:lnTo>
                          <a:pt x="54" y="94"/>
                        </a:lnTo>
                        <a:lnTo>
                          <a:pt x="63" y="85"/>
                        </a:lnTo>
                        <a:lnTo>
                          <a:pt x="72" y="94"/>
                        </a:lnTo>
                        <a:lnTo>
                          <a:pt x="94" y="98"/>
                        </a:lnTo>
                        <a:lnTo>
                          <a:pt x="108" y="116"/>
                        </a:lnTo>
                        <a:lnTo>
                          <a:pt x="121" y="116"/>
                        </a:lnTo>
                        <a:lnTo>
                          <a:pt x="121" y="134"/>
                        </a:lnTo>
                        <a:lnTo>
                          <a:pt x="134" y="134"/>
                        </a:lnTo>
                        <a:lnTo>
                          <a:pt x="139" y="143"/>
                        </a:lnTo>
                        <a:lnTo>
                          <a:pt x="152" y="130"/>
                        </a:lnTo>
                        <a:lnTo>
                          <a:pt x="170" y="125"/>
                        </a:lnTo>
                        <a:lnTo>
                          <a:pt x="179" y="107"/>
                        </a:lnTo>
                        <a:lnTo>
                          <a:pt x="188" y="103"/>
                        </a:lnTo>
                        <a:lnTo>
                          <a:pt x="197" y="107"/>
                        </a:lnTo>
                        <a:lnTo>
                          <a:pt x="197" y="103"/>
                        </a:lnTo>
                        <a:lnTo>
                          <a:pt x="197" y="94"/>
                        </a:lnTo>
                        <a:lnTo>
                          <a:pt x="188" y="89"/>
                        </a:lnTo>
                        <a:lnTo>
                          <a:pt x="184" y="89"/>
                        </a:lnTo>
                        <a:lnTo>
                          <a:pt x="175" y="81"/>
                        </a:lnTo>
                        <a:lnTo>
                          <a:pt x="166" y="76"/>
                        </a:lnTo>
                        <a:lnTo>
                          <a:pt x="152" y="63"/>
                        </a:lnTo>
                        <a:lnTo>
                          <a:pt x="143" y="54"/>
                        </a:lnTo>
                        <a:lnTo>
                          <a:pt x="134" y="45"/>
                        </a:lnTo>
                        <a:lnTo>
                          <a:pt x="134" y="36"/>
                        </a:lnTo>
                        <a:lnTo>
                          <a:pt x="130" y="27"/>
                        </a:lnTo>
                        <a:lnTo>
                          <a:pt x="126" y="31"/>
                        </a:lnTo>
                        <a:lnTo>
                          <a:pt x="108" y="31"/>
                        </a:lnTo>
                        <a:lnTo>
                          <a:pt x="103" y="18"/>
                        </a:lnTo>
                        <a:lnTo>
                          <a:pt x="108" y="13"/>
                        </a:lnTo>
                        <a:lnTo>
                          <a:pt x="108" y="9"/>
                        </a:lnTo>
                        <a:lnTo>
                          <a:pt x="99" y="5"/>
                        </a:lnTo>
                        <a:lnTo>
                          <a:pt x="81" y="0"/>
                        </a:lnTo>
                        <a:lnTo>
                          <a:pt x="81" y="5"/>
                        </a:lnTo>
                        <a:lnTo>
                          <a:pt x="85" y="9"/>
                        </a:lnTo>
                        <a:lnTo>
                          <a:pt x="81" y="13"/>
                        </a:lnTo>
                        <a:lnTo>
                          <a:pt x="76" y="5"/>
                        </a:lnTo>
                        <a:lnTo>
                          <a:pt x="72" y="9"/>
                        </a:lnTo>
                        <a:lnTo>
                          <a:pt x="72" y="13"/>
                        </a:lnTo>
                        <a:lnTo>
                          <a:pt x="67" y="13"/>
                        </a:lnTo>
                        <a:lnTo>
                          <a:pt x="63" y="18"/>
                        </a:lnTo>
                        <a:lnTo>
                          <a:pt x="63" y="22"/>
                        </a:lnTo>
                        <a:lnTo>
                          <a:pt x="63" y="27"/>
                        </a:lnTo>
                        <a:lnTo>
                          <a:pt x="59" y="27"/>
                        </a:lnTo>
                        <a:lnTo>
                          <a:pt x="45" y="27"/>
                        </a:lnTo>
                        <a:lnTo>
                          <a:pt x="41" y="27"/>
                        </a:lnTo>
                        <a:lnTo>
                          <a:pt x="36" y="22"/>
                        </a:lnTo>
                        <a:lnTo>
                          <a:pt x="32" y="13"/>
                        </a:lnTo>
                        <a:lnTo>
                          <a:pt x="23" y="5"/>
                        </a:lnTo>
                        <a:lnTo>
                          <a:pt x="9" y="9"/>
                        </a:lnTo>
                        <a:lnTo>
                          <a:pt x="0" y="13"/>
                        </a:lnTo>
                        <a:lnTo>
                          <a:pt x="0" y="18"/>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26" name="Freeform 158">
                    <a:extLst>
                      <a:ext uri="{FF2B5EF4-FFF2-40B4-BE49-F238E27FC236}">
                        <a16:creationId xmlns:a16="http://schemas.microsoft.com/office/drawing/2014/main" id="{023DD597-7B0D-43F0-B2AC-A62E45679425}"/>
                      </a:ext>
                    </a:extLst>
                  </p:cNvPr>
                  <p:cNvSpPr>
                    <a:spLocks/>
                  </p:cNvSpPr>
                  <p:nvPr/>
                </p:nvSpPr>
                <p:spPr bwMode="gray">
                  <a:xfrm>
                    <a:off x="3482" y="2033"/>
                    <a:ext cx="250" cy="165"/>
                  </a:xfrm>
                  <a:custGeom>
                    <a:avLst/>
                    <a:gdLst>
                      <a:gd name="T0" fmla="*/ 0 w 250"/>
                      <a:gd name="T1" fmla="*/ 13 h 165"/>
                      <a:gd name="T2" fmla="*/ 36 w 250"/>
                      <a:gd name="T3" fmla="*/ 9 h 165"/>
                      <a:gd name="T4" fmla="*/ 45 w 250"/>
                      <a:gd name="T5" fmla="*/ 40 h 165"/>
                      <a:gd name="T6" fmla="*/ 49 w 250"/>
                      <a:gd name="T7" fmla="*/ 40 h 165"/>
                      <a:gd name="T8" fmla="*/ 63 w 250"/>
                      <a:gd name="T9" fmla="*/ 45 h 165"/>
                      <a:gd name="T10" fmla="*/ 76 w 250"/>
                      <a:gd name="T11" fmla="*/ 31 h 165"/>
                      <a:gd name="T12" fmla="*/ 89 w 250"/>
                      <a:gd name="T13" fmla="*/ 40 h 165"/>
                      <a:gd name="T14" fmla="*/ 125 w 250"/>
                      <a:gd name="T15" fmla="*/ 36 h 165"/>
                      <a:gd name="T16" fmla="*/ 139 w 250"/>
                      <a:gd name="T17" fmla="*/ 54 h 165"/>
                      <a:gd name="T18" fmla="*/ 143 w 250"/>
                      <a:gd name="T19" fmla="*/ 67 h 165"/>
                      <a:gd name="T20" fmla="*/ 139 w 250"/>
                      <a:gd name="T21" fmla="*/ 76 h 165"/>
                      <a:gd name="T22" fmla="*/ 152 w 250"/>
                      <a:gd name="T23" fmla="*/ 85 h 165"/>
                      <a:gd name="T24" fmla="*/ 188 w 250"/>
                      <a:gd name="T25" fmla="*/ 85 h 165"/>
                      <a:gd name="T26" fmla="*/ 219 w 250"/>
                      <a:gd name="T27" fmla="*/ 63 h 165"/>
                      <a:gd name="T28" fmla="*/ 223 w 250"/>
                      <a:gd name="T29" fmla="*/ 71 h 165"/>
                      <a:gd name="T30" fmla="*/ 210 w 250"/>
                      <a:gd name="T31" fmla="*/ 85 h 165"/>
                      <a:gd name="T32" fmla="*/ 215 w 250"/>
                      <a:gd name="T33" fmla="*/ 89 h 165"/>
                      <a:gd name="T34" fmla="*/ 232 w 250"/>
                      <a:gd name="T35" fmla="*/ 89 h 165"/>
                      <a:gd name="T36" fmla="*/ 250 w 250"/>
                      <a:gd name="T37" fmla="*/ 94 h 165"/>
                      <a:gd name="T38" fmla="*/ 246 w 250"/>
                      <a:gd name="T39" fmla="*/ 103 h 165"/>
                      <a:gd name="T40" fmla="*/ 237 w 250"/>
                      <a:gd name="T41" fmla="*/ 103 h 165"/>
                      <a:gd name="T42" fmla="*/ 223 w 250"/>
                      <a:gd name="T43" fmla="*/ 103 h 165"/>
                      <a:gd name="T44" fmla="*/ 223 w 250"/>
                      <a:gd name="T45" fmla="*/ 116 h 165"/>
                      <a:gd name="T46" fmla="*/ 219 w 250"/>
                      <a:gd name="T47" fmla="*/ 107 h 165"/>
                      <a:gd name="T48" fmla="*/ 210 w 250"/>
                      <a:gd name="T49" fmla="*/ 107 h 165"/>
                      <a:gd name="T50" fmla="*/ 210 w 250"/>
                      <a:gd name="T51" fmla="*/ 98 h 165"/>
                      <a:gd name="T52" fmla="*/ 206 w 250"/>
                      <a:gd name="T53" fmla="*/ 89 h 165"/>
                      <a:gd name="T54" fmla="*/ 192 w 250"/>
                      <a:gd name="T55" fmla="*/ 94 h 165"/>
                      <a:gd name="T56" fmla="*/ 188 w 250"/>
                      <a:gd name="T57" fmla="*/ 107 h 165"/>
                      <a:gd name="T58" fmla="*/ 174 w 250"/>
                      <a:gd name="T59" fmla="*/ 116 h 165"/>
                      <a:gd name="T60" fmla="*/ 165 w 250"/>
                      <a:gd name="T61" fmla="*/ 125 h 165"/>
                      <a:gd name="T62" fmla="*/ 170 w 250"/>
                      <a:gd name="T63" fmla="*/ 130 h 165"/>
                      <a:gd name="T64" fmla="*/ 179 w 250"/>
                      <a:gd name="T65" fmla="*/ 134 h 165"/>
                      <a:gd name="T66" fmla="*/ 179 w 250"/>
                      <a:gd name="T67" fmla="*/ 147 h 165"/>
                      <a:gd name="T68" fmla="*/ 170 w 250"/>
                      <a:gd name="T69" fmla="*/ 165 h 165"/>
                      <a:gd name="T70" fmla="*/ 152 w 250"/>
                      <a:gd name="T71" fmla="*/ 161 h 165"/>
                      <a:gd name="T72" fmla="*/ 143 w 250"/>
                      <a:gd name="T73" fmla="*/ 147 h 165"/>
                      <a:gd name="T74" fmla="*/ 130 w 250"/>
                      <a:gd name="T75" fmla="*/ 139 h 165"/>
                      <a:gd name="T76" fmla="*/ 107 w 250"/>
                      <a:gd name="T77" fmla="*/ 121 h 165"/>
                      <a:gd name="T78" fmla="*/ 89 w 250"/>
                      <a:gd name="T79" fmla="*/ 103 h 165"/>
                      <a:gd name="T80" fmla="*/ 85 w 250"/>
                      <a:gd name="T81" fmla="*/ 85 h 165"/>
                      <a:gd name="T82" fmla="*/ 63 w 250"/>
                      <a:gd name="T83" fmla="*/ 89 h 165"/>
                      <a:gd name="T84" fmla="*/ 63 w 250"/>
                      <a:gd name="T85" fmla="*/ 71 h 165"/>
                      <a:gd name="T86" fmla="*/ 54 w 250"/>
                      <a:gd name="T87" fmla="*/ 63 h 165"/>
                      <a:gd name="T88" fmla="*/ 36 w 250"/>
                      <a:gd name="T89" fmla="*/ 63 h 165"/>
                      <a:gd name="T90" fmla="*/ 36 w 250"/>
                      <a:gd name="T91" fmla="*/ 71 h 165"/>
                      <a:gd name="T92" fmla="*/ 27 w 250"/>
                      <a:gd name="T93" fmla="*/ 67 h 165"/>
                      <a:gd name="T94" fmla="*/ 22 w 250"/>
                      <a:gd name="T95" fmla="*/ 71 h 165"/>
                      <a:gd name="T96" fmla="*/ 18 w 250"/>
                      <a:gd name="T97" fmla="*/ 80 h 165"/>
                      <a:gd name="T98" fmla="*/ 14 w 250"/>
                      <a:gd name="T99" fmla="*/ 8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0" h="165">
                        <a:moveTo>
                          <a:pt x="0" y="85"/>
                        </a:moveTo>
                        <a:lnTo>
                          <a:pt x="0" y="13"/>
                        </a:lnTo>
                        <a:lnTo>
                          <a:pt x="40" y="0"/>
                        </a:lnTo>
                        <a:lnTo>
                          <a:pt x="36" y="9"/>
                        </a:lnTo>
                        <a:lnTo>
                          <a:pt x="36" y="40"/>
                        </a:lnTo>
                        <a:lnTo>
                          <a:pt x="45" y="40"/>
                        </a:lnTo>
                        <a:lnTo>
                          <a:pt x="45" y="49"/>
                        </a:lnTo>
                        <a:lnTo>
                          <a:pt x="49" y="40"/>
                        </a:lnTo>
                        <a:lnTo>
                          <a:pt x="58" y="40"/>
                        </a:lnTo>
                        <a:lnTo>
                          <a:pt x="63" y="45"/>
                        </a:lnTo>
                        <a:lnTo>
                          <a:pt x="72" y="31"/>
                        </a:lnTo>
                        <a:lnTo>
                          <a:pt x="76" y="31"/>
                        </a:lnTo>
                        <a:lnTo>
                          <a:pt x="81" y="27"/>
                        </a:lnTo>
                        <a:lnTo>
                          <a:pt x="89" y="40"/>
                        </a:lnTo>
                        <a:lnTo>
                          <a:pt x="121" y="40"/>
                        </a:lnTo>
                        <a:lnTo>
                          <a:pt x="125" y="36"/>
                        </a:lnTo>
                        <a:lnTo>
                          <a:pt x="134" y="45"/>
                        </a:lnTo>
                        <a:lnTo>
                          <a:pt x="139" y="54"/>
                        </a:lnTo>
                        <a:lnTo>
                          <a:pt x="143" y="54"/>
                        </a:lnTo>
                        <a:lnTo>
                          <a:pt x="143" y="67"/>
                        </a:lnTo>
                        <a:lnTo>
                          <a:pt x="139" y="67"/>
                        </a:lnTo>
                        <a:lnTo>
                          <a:pt x="139" y="76"/>
                        </a:lnTo>
                        <a:lnTo>
                          <a:pt x="152" y="76"/>
                        </a:lnTo>
                        <a:lnTo>
                          <a:pt x="152" y="85"/>
                        </a:lnTo>
                        <a:lnTo>
                          <a:pt x="183" y="89"/>
                        </a:lnTo>
                        <a:lnTo>
                          <a:pt x="188" y="85"/>
                        </a:lnTo>
                        <a:lnTo>
                          <a:pt x="206" y="67"/>
                        </a:lnTo>
                        <a:lnTo>
                          <a:pt x="219" y="63"/>
                        </a:lnTo>
                        <a:lnTo>
                          <a:pt x="223" y="67"/>
                        </a:lnTo>
                        <a:lnTo>
                          <a:pt x="223" y="71"/>
                        </a:lnTo>
                        <a:lnTo>
                          <a:pt x="210" y="80"/>
                        </a:lnTo>
                        <a:lnTo>
                          <a:pt x="210" y="85"/>
                        </a:lnTo>
                        <a:lnTo>
                          <a:pt x="215" y="85"/>
                        </a:lnTo>
                        <a:lnTo>
                          <a:pt x="215" y="89"/>
                        </a:lnTo>
                        <a:lnTo>
                          <a:pt x="228" y="85"/>
                        </a:lnTo>
                        <a:lnTo>
                          <a:pt x="232" y="89"/>
                        </a:lnTo>
                        <a:lnTo>
                          <a:pt x="241" y="94"/>
                        </a:lnTo>
                        <a:lnTo>
                          <a:pt x="250" y="94"/>
                        </a:lnTo>
                        <a:lnTo>
                          <a:pt x="250" y="98"/>
                        </a:lnTo>
                        <a:lnTo>
                          <a:pt x="246" y="103"/>
                        </a:lnTo>
                        <a:lnTo>
                          <a:pt x="241" y="98"/>
                        </a:lnTo>
                        <a:lnTo>
                          <a:pt x="237" y="103"/>
                        </a:lnTo>
                        <a:lnTo>
                          <a:pt x="232" y="107"/>
                        </a:lnTo>
                        <a:lnTo>
                          <a:pt x="223" y="103"/>
                        </a:lnTo>
                        <a:lnTo>
                          <a:pt x="223" y="107"/>
                        </a:lnTo>
                        <a:lnTo>
                          <a:pt x="223" y="116"/>
                        </a:lnTo>
                        <a:lnTo>
                          <a:pt x="219" y="116"/>
                        </a:lnTo>
                        <a:lnTo>
                          <a:pt x="219" y="107"/>
                        </a:lnTo>
                        <a:lnTo>
                          <a:pt x="215" y="107"/>
                        </a:lnTo>
                        <a:lnTo>
                          <a:pt x="210" y="107"/>
                        </a:lnTo>
                        <a:lnTo>
                          <a:pt x="210" y="98"/>
                        </a:lnTo>
                        <a:lnTo>
                          <a:pt x="210" y="98"/>
                        </a:lnTo>
                        <a:lnTo>
                          <a:pt x="210" y="89"/>
                        </a:lnTo>
                        <a:lnTo>
                          <a:pt x="206" y="89"/>
                        </a:lnTo>
                        <a:lnTo>
                          <a:pt x="206" y="94"/>
                        </a:lnTo>
                        <a:lnTo>
                          <a:pt x="192" y="94"/>
                        </a:lnTo>
                        <a:lnTo>
                          <a:pt x="197" y="98"/>
                        </a:lnTo>
                        <a:lnTo>
                          <a:pt x="188" y="107"/>
                        </a:lnTo>
                        <a:lnTo>
                          <a:pt x="174" y="116"/>
                        </a:lnTo>
                        <a:lnTo>
                          <a:pt x="174" y="116"/>
                        </a:lnTo>
                        <a:lnTo>
                          <a:pt x="170" y="121"/>
                        </a:lnTo>
                        <a:lnTo>
                          <a:pt x="165" y="125"/>
                        </a:lnTo>
                        <a:lnTo>
                          <a:pt x="170" y="130"/>
                        </a:lnTo>
                        <a:lnTo>
                          <a:pt x="170" y="130"/>
                        </a:lnTo>
                        <a:lnTo>
                          <a:pt x="174" y="134"/>
                        </a:lnTo>
                        <a:lnTo>
                          <a:pt x="179" y="134"/>
                        </a:lnTo>
                        <a:lnTo>
                          <a:pt x="174" y="143"/>
                        </a:lnTo>
                        <a:lnTo>
                          <a:pt x="179" y="147"/>
                        </a:lnTo>
                        <a:lnTo>
                          <a:pt x="174" y="156"/>
                        </a:lnTo>
                        <a:lnTo>
                          <a:pt x="170" y="165"/>
                        </a:lnTo>
                        <a:lnTo>
                          <a:pt x="152" y="165"/>
                        </a:lnTo>
                        <a:lnTo>
                          <a:pt x="152" y="161"/>
                        </a:lnTo>
                        <a:lnTo>
                          <a:pt x="152" y="152"/>
                        </a:lnTo>
                        <a:lnTo>
                          <a:pt x="143" y="147"/>
                        </a:lnTo>
                        <a:lnTo>
                          <a:pt x="139" y="147"/>
                        </a:lnTo>
                        <a:lnTo>
                          <a:pt x="130" y="139"/>
                        </a:lnTo>
                        <a:lnTo>
                          <a:pt x="121" y="134"/>
                        </a:lnTo>
                        <a:lnTo>
                          <a:pt x="107" y="121"/>
                        </a:lnTo>
                        <a:lnTo>
                          <a:pt x="98" y="112"/>
                        </a:lnTo>
                        <a:lnTo>
                          <a:pt x="89" y="103"/>
                        </a:lnTo>
                        <a:lnTo>
                          <a:pt x="89" y="94"/>
                        </a:lnTo>
                        <a:lnTo>
                          <a:pt x="85" y="85"/>
                        </a:lnTo>
                        <a:lnTo>
                          <a:pt x="81" y="89"/>
                        </a:lnTo>
                        <a:lnTo>
                          <a:pt x="63" y="89"/>
                        </a:lnTo>
                        <a:lnTo>
                          <a:pt x="58" y="76"/>
                        </a:lnTo>
                        <a:lnTo>
                          <a:pt x="63" y="71"/>
                        </a:lnTo>
                        <a:lnTo>
                          <a:pt x="63" y="67"/>
                        </a:lnTo>
                        <a:lnTo>
                          <a:pt x="54" y="63"/>
                        </a:lnTo>
                        <a:lnTo>
                          <a:pt x="36" y="58"/>
                        </a:lnTo>
                        <a:lnTo>
                          <a:pt x="36" y="63"/>
                        </a:lnTo>
                        <a:lnTo>
                          <a:pt x="40" y="67"/>
                        </a:lnTo>
                        <a:lnTo>
                          <a:pt x="36" y="71"/>
                        </a:lnTo>
                        <a:lnTo>
                          <a:pt x="31" y="63"/>
                        </a:lnTo>
                        <a:lnTo>
                          <a:pt x="27" y="67"/>
                        </a:lnTo>
                        <a:lnTo>
                          <a:pt x="27" y="71"/>
                        </a:lnTo>
                        <a:lnTo>
                          <a:pt x="22" y="71"/>
                        </a:lnTo>
                        <a:lnTo>
                          <a:pt x="18" y="76"/>
                        </a:lnTo>
                        <a:lnTo>
                          <a:pt x="18" y="80"/>
                        </a:lnTo>
                        <a:lnTo>
                          <a:pt x="18" y="85"/>
                        </a:lnTo>
                        <a:lnTo>
                          <a:pt x="14" y="85"/>
                        </a:lnTo>
                        <a:lnTo>
                          <a:pt x="0" y="8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27" name="Freeform 159">
                    <a:extLst>
                      <a:ext uri="{FF2B5EF4-FFF2-40B4-BE49-F238E27FC236}">
                        <a16:creationId xmlns:a16="http://schemas.microsoft.com/office/drawing/2014/main" id="{6040CD74-FE4F-4A5F-95B5-58718E46496B}"/>
                      </a:ext>
                    </a:extLst>
                  </p:cNvPr>
                  <p:cNvSpPr>
                    <a:spLocks noEditPoints="1"/>
                  </p:cNvSpPr>
                  <p:nvPr/>
                </p:nvSpPr>
                <p:spPr bwMode="gray">
                  <a:xfrm>
                    <a:off x="5367" y="2976"/>
                    <a:ext cx="22" cy="9"/>
                  </a:xfrm>
                  <a:custGeom>
                    <a:avLst/>
                    <a:gdLst>
                      <a:gd name="T0" fmla="*/ 0 w 22"/>
                      <a:gd name="T1" fmla="*/ 0 h 9"/>
                      <a:gd name="T2" fmla="*/ 5 w 22"/>
                      <a:gd name="T3" fmla="*/ 4 h 9"/>
                      <a:gd name="T4" fmla="*/ 9 w 22"/>
                      <a:gd name="T5" fmla="*/ 0 h 9"/>
                      <a:gd name="T6" fmla="*/ 5 w 22"/>
                      <a:gd name="T7" fmla="*/ 0 h 9"/>
                      <a:gd name="T8" fmla="*/ 0 w 22"/>
                      <a:gd name="T9" fmla="*/ 0 h 9"/>
                      <a:gd name="T10" fmla="*/ 14 w 22"/>
                      <a:gd name="T11" fmla="*/ 4 h 9"/>
                      <a:gd name="T12" fmla="*/ 18 w 22"/>
                      <a:gd name="T13" fmla="*/ 9 h 9"/>
                      <a:gd name="T14" fmla="*/ 22 w 22"/>
                      <a:gd name="T15" fmla="*/ 9 h 9"/>
                      <a:gd name="T16" fmla="*/ 18 w 22"/>
                      <a:gd name="T17" fmla="*/ 4 h 9"/>
                      <a:gd name="T18" fmla="*/ 14 w 22"/>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9">
                        <a:moveTo>
                          <a:pt x="0" y="0"/>
                        </a:moveTo>
                        <a:lnTo>
                          <a:pt x="5" y="4"/>
                        </a:lnTo>
                        <a:lnTo>
                          <a:pt x="9" y="0"/>
                        </a:lnTo>
                        <a:lnTo>
                          <a:pt x="5" y="0"/>
                        </a:lnTo>
                        <a:lnTo>
                          <a:pt x="0" y="0"/>
                        </a:lnTo>
                        <a:close/>
                        <a:moveTo>
                          <a:pt x="14" y="4"/>
                        </a:moveTo>
                        <a:lnTo>
                          <a:pt x="18" y="9"/>
                        </a:lnTo>
                        <a:lnTo>
                          <a:pt x="22" y="9"/>
                        </a:lnTo>
                        <a:lnTo>
                          <a:pt x="18" y="4"/>
                        </a:lnTo>
                        <a:lnTo>
                          <a:pt x="14" y="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28" name="Freeform 160">
                    <a:extLst>
                      <a:ext uri="{FF2B5EF4-FFF2-40B4-BE49-F238E27FC236}">
                        <a16:creationId xmlns:a16="http://schemas.microsoft.com/office/drawing/2014/main" id="{FAA8100C-BAC3-4980-B0FC-BA905D21322A}"/>
                      </a:ext>
                    </a:extLst>
                  </p:cNvPr>
                  <p:cNvSpPr>
                    <a:spLocks noEditPoints="1"/>
                  </p:cNvSpPr>
                  <p:nvPr/>
                </p:nvSpPr>
                <p:spPr bwMode="gray">
                  <a:xfrm>
                    <a:off x="3294" y="2511"/>
                    <a:ext cx="175" cy="90"/>
                  </a:xfrm>
                  <a:custGeom>
                    <a:avLst/>
                    <a:gdLst>
                      <a:gd name="T0" fmla="*/ 5 w 175"/>
                      <a:gd name="T1" fmla="*/ 27 h 90"/>
                      <a:gd name="T2" fmla="*/ 5 w 175"/>
                      <a:gd name="T3" fmla="*/ 40 h 90"/>
                      <a:gd name="T4" fmla="*/ 0 w 175"/>
                      <a:gd name="T5" fmla="*/ 36 h 90"/>
                      <a:gd name="T6" fmla="*/ 0 w 175"/>
                      <a:gd name="T7" fmla="*/ 40 h 90"/>
                      <a:gd name="T8" fmla="*/ 5 w 175"/>
                      <a:gd name="T9" fmla="*/ 54 h 90"/>
                      <a:gd name="T10" fmla="*/ 5 w 175"/>
                      <a:gd name="T11" fmla="*/ 58 h 90"/>
                      <a:gd name="T12" fmla="*/ 9 w 175"/>
                      <a:gd name="T13" fmla="*/ 67 h 90"/>
                      <a:gd name="T14" fmla="*/ 9 w 175"/>
                      <a:gd name="T15" fmla="*/ 72 h 90"/>
                      <a:gd name="T16" fmla="*/ 18 w 175"/>
                      <a:gd name="T17" fmla="*/ 85 h 90"/>
                      <a:gd name="T18" fmla="*/ 18 w 175"/>
                      <a:gd name="T19" fmla="*/ 90 h 90"/>
                      <a:gd name="T20" fmla="*/ 36 w 175"/>
                      <a:gd name="T21" fmla="*/ 85 h 90"/>
                      <a:gd name="T22" fmla="*/ 54 w 175"/>
                      <a:gd name="T23" fmla="*/ 72 h 90"/>
                      <a:gd name="T24" fmla="*/ 67 w 175"/>
                      <a:gd name="T25" fmla="*/ 72 h 90"/>
                      <a:gd name="T26" fmla="*/ 81 w 175"/>
                      <a:gd name="T27" fmla="*/ 63 h 90"/>
                      <a:gd name="T28" fmla="*/ 94 w 175"/>
                      <a:gd name="T29" fmla="*/ 63 h 90"/>
                      <a:gd name="T30" fmla="*/ 103 w 175"/>
                      <a:gd name="T31" fmla="*/ 54 h 90"/>
                      <a:gd name="T32" fmla="*/ 143 w 175"/>
                      <a:gd name="T33" fmla="*/ 40 h 90"/>
                      <a:gd name="T34" fmla="*/ 139 w 175"/>
                      <a:gd name="T35" fmla="*/ 31 h 90"/>
                      <a:gd name="T36" fmla="*/ 152 w 175"/>
                      <a:gd name="T37" fmla="*/ 22 h 90"/>
                      <a:gd name="T38" fmla="*/ 148 w 175"/>
                      <a:gd name="T39" fmla="*/ 0 h 90"/>
                      <a:gd name="T40" fmla="*/ 135 w 175"/>
                      <a:gd name="T41" fmla="*/ 14 h 90"/>
                      <a:gd name="T42" fmla="*/ 112 w 175"/>
                      <a:gd name="T43" fmla="*/ 18 h 90"/>
                      <a:gd name="T44" fmla="*/ 41 w 175"/>
                      <a:gd name="T45" fmla="*/ 45 h 90"/>
                      <a:gd name="T46" fmla="*/ 45 w 175"/>
                      <a:gd name="T47" fmla="*/ 22 h 90"/>
                      <a:gd name="T48" fmla="*/ 14 w 175"/>
                      <a:gd name="T49" fmla="*/ 14 h 90"/>
                      <a:gd name="T50" fmla="*/ 9 w 175"/>
                      <a:gd name="T51" fmla="*/ 27 h 90"/>
                      <a:gd name="T52" fmla="*/ 5 w 175"/>
                      <a:gd name="T53" fmla="*/ 27 h 90"/>
                      <a:gd name="T54" fmla="*/ 157 w 175"/>
                      <a:gd name="T55" fmla="*/ 85 h 90"/>
                      <a:gd name="T56" fmla="*/ 166 w 175"/>
                      <a:gd name="T57" fmla="*/ 90 h 90"/>
                      <a:gd name="T58" fmla="*/ 175 w 175"/>
                      <a:gd name="T59" fmla="*/ 85 h 90"/>
                      <a:gd name="T60" fmla="*/ 161 w 175"/>
                      <a:gd name="T61" fmla="*/ 81 h 90"/>
                      <a:gd name="T62" fmla="*/ 157 w 175"/>
                      <a:gd name="T63" fmla="*/ 8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5" h="90">
                        <a:moveTo>
                          <a:pt x="5" y="27"/>
                        </a:moveTo>
                        <a:lnTo>
                          <a:pt x="5" y="40"/>
                        </a:lnTo>
                        <a:lnTo>
                          <a:pt x="0" y="36"/>
                        </a:lnTo>
                        <a:lnTo>
                          <a:pt x="0" y="40"/>
                        </a:lnTo>
                        <a:lnTo>
                          <a:pt x="5" y="54"/>
                        </a:lnTo>
                        <a:lnTo>
                          <a:pt x="5" y="58"/>
                        </a:lnTo>
                        <a:lnTo>
                          <a:pt x="9" y="67"/>
                        </a:lnTo>
                        <a:lnTo>
                          <a:pt x="9" y="72"/>
                        </a:lnTo>
                        <a:lnTo>
                          <a:pt x="18" y="85"/>
                        </a:lnTo>
                        <a:lnTo>
                          <a:pt x="18" y="90"/>
                        </a:lnTo>
                        <a:lnTo>
                          <a:pt x="36" y="85"/>
                        </a:lnTo>
                        <a:lnTo>
                          <a:pt x="54" y="72"/>
                        </a:lnTo>
                        <a:lnTo>
                          <a:pt x="67" y="72"/>
                        </a:lnTo>
                        <a:lnTo>
                          <a:pt x="81" y="63"/>
                        </a:lnTo>
                        <a:lnTo>
                          <a:pt x="94" y="63"/>
                        </a:lnTo>
                        <a:lnTo>
                          <a:pt x="103" y="54"/>
                        </a:lnTo>
                        <a:lnTo>
                          <a:pt x="143" y="40"/>
                        </a:lnTo>
                        <a:lnTo>
                          <a:pt x="139" y="31"/>
                        </a:lnTo>
                        <a:lnTo>
                          <a:pt x="152" y="22"/>
                        </a:lnTo>
                        <a:lnTo>
                          <a:pt x="148" y="0"/>
                        </a:lnTo>
                        <a:lnTo>
                          <a:pt x="135" y="14"/>
                        </a:lnTo>
                        <a:lnTo>
                          <a:pt x="112" y="18"/>
                        </a:lnTo>
                        <a:lnTo>
                          <a:pt x="41" y="45"/>
                        </a:lnTo>
                        <a:lnTo>
                          <a:pt x="45" y="22"/>
                        </a:lnTo>
                        <a:lnTo>
                          <a:pt x="14" y="14"/>
                        </a:lnTo>
                        <a:lnTo>
                          <a:pt x="9" y="27"/>
                        </a:lnTo>
                        <a:lnTo>
                          <a:pt x="5" y="27"/>
                        </a:lnTo>
                        <a:close/>
                        <a:moveTo>
                          <a:pt x="157" y="85"/>
                        </a:moveTo>
                        <a:lnTo>
                          <a:pt x="166" y="90"/>
                        </a:lnTo>
                        <a:lnTo>
                          <a:pt x="175" y="85"/>
                        </a:lnTo>
                        <a:lnTo>
                          <a:pt x="161" y="81"/>
                        </a:lnTo>
                        <a:lnTo>
                          <a:pt x="157" y="8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129" name="Freeform 161">
                    <a:extLst>
                      <a:ext uri="{FF2B5EF4-FFF2-40B4-BE49-F238E27FC236}">
                        <a16:creationId xmlns:a16="http://schemas.microsoft.com/office/drawing/2014/main" id="{FB5D168F-92EF-44E1-BB08-2C2630BD1AE9}"/>
                      </a:ext>
                    </a:extLst>
                  </p:cNvPr>
                  <p:cNvSpPr>
                    <a:spLocks/>
                  </p:cNvSpPr>
                  <p:nvPr/>
                </p:nvSpPr>
                <p:spPr bwMode="gray">
                  <a:xfrm>
                    <a:off x="5367" y="2976"/>
                    <a:ext cx="9" cy="4"/>
                  </a:xfrm>
                  <a:custGeom>
                    <a:avLst/>
                    <a:gdLst>
                      <a:gd name="T0" fmla="*/ 0 w 9"/>
                      <a:gd name="T1" fmla="*/ 0 h 4"/>
                      <a:gd name="T2" fmla="*/ 5 w 9"/>
                      <a:gd name="T3" fmla="*/ 4 h 4"/>
                      <a:gd name="T4" fmla="*/ 9 w 9"/>
                      <a:gd name="T5" fmla="*/ 0 h 4"/>
                      <a:gd name="T6" fmla="*/ 5 w 9"/>
                      <a:gd name="T7" fmla="*/ 0 h 4"/>
                      <a:gd name="T8" fmla="*/ 0 w 9"/>
                      <a:gd name="T9" fmla="*/ 0 h 4"/>
                    </a:gdLst>
                    <a:ahLst/>
                    <a:cxnLst>
                      <a:cxn ang="0">
                        <a:pos x="T0" y="T1"/>
                      </a:cxn>
                      <a:cxn ang="0">
                        <a:pos x="T2" y="T3"/>
                      </a:cxn>
                      <a:cxn ang="0">
                        <a:pos x="T4" y="T5"/>
                      </a:cxn>
                      <a:cxn ang="0">
                        <a:pos x="T6" y="T7"/>
                      </a:cxn>
                      <a:cxn ang="0">
                        <a:pos x="T8" y="T9"/>
                      </a:cxn>
                    </a:cxnLst>
                    <a:rect l="0" t="0" r="r" b="b"/>
                    <a:pathLst>
                      <a:path w="9" h="4">
                        <a:moveTo>
                          <a:pt x="0" y="0"/>
                        </a:moveTo>
                        <a:lnTo>
                          <a:pt x="5" y="4"/>
                        </a:lnTo>
                        <a:lnTo>
                          <a:pt x="9" y="0"/>
                        </a:lnTo>
                        <a:lnTo>
                          <a:pt x="5" y="0"/>
                        </a:lnTo>
                        <a:lnTo>
                          <a:pt x="0" y="0"/>
                        </a:lnTo>
                      </a:path>
                    </a:pathLst>
                  </a:custGeom>
                  <a:grpFill/>
                  <a:ln w="9525" cmpd="sng">
                    <a:solidFill>
                      <a:schemeClr val="bg1"/>
                    </a:solidFill>
                    <a:prstDash val="solid"/>
                    <a:round/>
                    <a:headEnd/>
                    <a:tailEnd/>
                  </a:ln>
                </p:spPr>
                <p:txBody>
                  <a:bodyPr/>
                  <a:lstStyle/>
                  <a:p>
                    <a:endParaRPr lang="x-es-XL" dirty="0">
                      <a:latin typeface="Delivery" panose="020F0503020204020204" pitchFamily="34" charset="0"/>
                    </a:endParaRPr>
                  </a:p>
                </p:txBody>
              </p:sp>
              <p:sp>
                <p:nvSpPr>
                  <p:cNvPr id="130" name="Freeform 162">
                    <a:extLst>
                      <a:ext uri="{FF2B5EF4-FFF2-40B4-BE49-F238E27FC236}">
                        <a16:creationId xmlns:a16="http://schemas.microsoft.com/office/drawing/2014/main" id="{4B65EB36-C96C-4AED-9D2A-F6652FAF8C73}"/>
                      </a:ext>
                    </a:extLst>
                  </p:cNvPr>
                  <p:cNvSpPr>
                    <a:spLocks/>
                  </p:cNvSpPr>
                  <p:nvPr/>
                </p:nvSpPr>
                <p:spPr bwMode="gray">
                  <a:xfrm>
                    <a:off x="5381" y="2980"/>
                    <a:ext cx="8" cy="5"/>
                  </a:xfrm>
                  <a:custGeom>
                    <a:avLst/>
                    <a:gdLst>
                      <a:gd name="T0" fmla="*/ 0 w 8"/>
                      <a:gd name="T1" fmla="*/ 0 h 5"/>
                      <a:gd name="T2" fmla="*/ 4 w 8"/>
                      <a:gd name="T3" fmla="*/ 5 h 5"/>
                      <a:gd name="T4" fmla="*/ 8 w 8"/>
                      <a:gd name="T5" fmla="*/ 5 h 5"/>
                      <a:gd name="T6" fmla="*/ 4 w 8"/>
                      <a:gd name="T7" fmla="*/ 0 h 5"/>
                      <a:gd name="T8" fmla="*/ 0 w 8"/>
                      <a:gd name="T9" fmla="*/ 0 h 5"/>
                    </a:gdLst>
                    <a:ahLst/>
                    <a:cxnLst>
                      <a:cxn ang="0">
                        <a:pos x="T0" y="T1"/>
                      </a:cxn>
                      <a:cxn ang="0">
                        <a:pos x="T2" y="T3"/>
                      </a:cxn>
                      <a:cxn ang="0">
                        <a:pos x="T4" y="T5"/>
                      </a:cxn>
                      <a:cxn ang="0">
                        <a:pos x="T6" y="T7"/>
                      </a:cxn>
                      <a:cxn ang="0">
                        <a:pos x="T8" y="T9"/>
                      </a:cxn>
                    </a:cxnLst>
                    <a:rect l="0" t="0" r="r" b="b"/>
                    <a:pathLst>
                      <a:path w="8" h="5">
                        <a:moveTo>
                          <a:pt x="0" y="0"/>
                        </a:moveTo>
                        <a:lnTo>
                          <a:pt x="4" y="5"/>
                        </a:lnTo>
                        <a:lnTo>
                          <a:pt x="8" y="5"/>
                        </a:lnTo>
                        <a:lnTo>
                          <a:pt x="4" y="0"/>
                        </a:lnTo>
                        <a:lnTo>
                          <a:pt x="0" y="0"/>
                        </a:lnTo>
                      </a:path>
                    </a:pathLst>
                  </a:custGeom>
                  <a:grpFill/>
                  <a:ln w="9525" cmpd="sng">
                    <a:solidFill>
                      <a:schemeClr val="bg1"/>
                    </a:solidFill>
                    <a:prstDash val="solid"/>
                    <a:round/>
                    <a:headEnd/>
                    <a:tailEnd/>
                  </a:ln>
                </p:spPr>
                <p:txBody>
                  <a:bodyPr/>
                  <a:lstStyle/>
                  <a:p>
                    <a:endParaRPr lang="x-es-XL" dirty="0">
                      <a:latin typeface="Delivery" panose="020F0503020204020204" pitchFamily="34" charset="0"/>
                    </a:endParaRPr>
                  </a:p>
                </p:txBody>
              </p:sp>
            </p:grpSp>
          </p:grpSp>
          <p:sp>
            <p:nvSpPr>
              <p:cNvPr id="27" name="Freeform 163">
                <a:extLst>
                  <a:ext uri="{FF2B5EF4-FFF2-40B4-BE49-F238E27FC236}">
                    <a16:creationId xmlns:a16="http://schemas.microsoft.com/office/drawing/2014/main" id="{31FEA25B-52CA-4A05-9454-368C5FC459E0}"/>
                  </a:ext>
                </a:extLst>
              </p:cNvPr>
              <p:cNvSpPr>
                <a:spLocks noEditPoints="1"/>
              </p:cNvSpPr>
              <p:nvPr/>
            </p:nvSpPr>
            <p:spPr bwMode="gray">
              <a:xfrm>
                <a:off x="2666314" y="1409232"/>
                <a:ext cx="1178682" cy="1199689"/>
              </a:xfrm>
              <a:custGeom>
                <a:avLst/>
                <a:gdLst>
                  <a:gd name="T0" fmla="*/ 36 w 777"/>
                  <a:gd name="T1" fmla="*/ 9 h 791"/>
                  <a:gd name="T2" fmla="*/ 54 w 777"/>
                  <a:gd name="T3" fmla="*/ 36 h 791"/>
                  <a:gd name="T4" fmla="*/ 58 w 777"/>
                  <a:gd name="T5" fmla="*/ 40 h 791"/>
                  <a:gd name="T6" fmla="*/ 27 w 777"/>
                  <a:gd name="T7" fmla="*/ 62 h 791"/>
                  <a:gd name="T8" fmla="*/ 58 w 777"/>
                  <a:gd name="T9" fmla="*/ 112 h 791"/>
                  <a:gd name="T10" fmla="*/ 103 w 777"/>
                  <a:gd name="T11" fmla="*/ 112 h 791"/>
                  <a:gd name="T12" fmla="*/ 130 w 777"/>
                  <a:gd name="T13" fmla="*/ 130 h 791"/>
                  <a:gd name="T14" fmla="*/ 206 w 777"/>
                  <a:gd name="T15" fmla="*/ 138 h 791"/>
                  <a:gd name="T16" fmla="*/ 241 w 777"/>
                  <a:gd name="T17" fmla="*/ 308 h 791"/>
                  <a:gd name="T18" fmla="*/ 255 w 777"/>
                  <a:gd name="T19" fmla="*/ 366 h 791"/>
                  <a:gd name="T20" fmla="*/ 308 w 777"/>
                  <a:gd name="T21" fmla="*/ 393 h 791"/>
                  <a:gd name="T22" fmla="*/ 255 w 777"/>
                  <a:gd name="T23" fmla="*/ 402 h 791"/>
                  <a:gd name="T24" fmla="*/ 308 w 777"/>
                  <a:gd name="T25" fmla="*/ 487 h 791"/>
                  <a:gd name="T26" fmla="*/ 277 w 777"/>
                  <a:gd name="T27" fmla="*/ 509 h 791"/>
                  <a:gd name="T28" fmla="*/ 273 w 777"/>
                  <a:gd name="T29" fmla="*/ 590 h 791"/>
                  <a:gd name="T30" fmla="*/ 299 w 777"/>
                  <a:gd name="T31" fmla="*/ 643 h 791"/>
                  <a:gd name="T32" fmla="*/ 308 w 777"/>
                  <a:gd name="T33" fmla="*/ 684 h 791"/>
                  <a:gd name="T34" fmla="*/ 331 w 777"/>
                  <a:gd name="T35" fmla="*/ 733 h 791"/>
                  <a:gd name="T36" fmla="*/ 362 w 777"/>
                  <a:gd name="T37" fmla="*/ 751 h 791"/>
                  <a:gd name="T38" fmla="*/ 393 w 777"/>
                  <a:gd name="T39" fmla="*/ 769 h 791"/>
                  <a:gd name="T40" fmla="*/ 420 w 777"/>
                  <a:gd name="T41" fmla="*/ 777 h 791"/>
                  <a:gd name="T42" fmla="*/ 420 w 777"/>
                  <a:gd name="T43" fmla="*/ 755 h 791"/>
                  <a:gd name="T44" fmla="*/ 433 w 777"/>
                  <a:gd name="T45" fmla="*/ 715 h 791"/>
                  <a:gd name="T46" fmla="*/ 447 w 777"/>
                  <a:gd name="T47" fmla="*/ 675 h 791"/>
                  <a:gd name="T48" fmla="*/ 451 w 777"/>
                  <a:gd name="T49" fmla="*/ 626 h 791"/>
                  <a:gd name="T50" fmla="*/ 501 w 777"/>
                  <a:gd name="T51" fmla="*/ 608 h 791"/>
                  <a:gd name="T52" fmla="*/ 545 w 777"/>
                  <a:gd name="T53" fmla="*/ 576 h 791"/>
                  <a:gd name="T54" fmla="*/ 568 w 777"/>
                  <a:gd name="T55" fmla="*/ 518 h 791"/>
                  <a:gd name="T56" fmla="*/ 585 w 777"/>
                  <a:gd name="T57" fmla="*/ 500 h 791"/>
                  <a:gd name="T58" fmla="*/ 657 w 777"/>
                  <a:gd name="T59" fmla="*/ 483 h 791"/>
                  <a:gd name="T60" fmla="*/ 719 w 777"/>
                  <a:gd name="T61" fmla="*/ 424 h 791"/>
                  <a:gd name="T62" fmla="*/ 666 w 777"/>
                  <a:gd name="T63" fmla="*/ 424 h 791"/>
                  <a:gd name="T64" fmla="*/ 670 w 777"/>
                  <a:gd name="T65" fmla="*/ 384 h 791"/>
                  <a:gd name="T66" fmla="*/ 675 w 777"/>
                  <a:gd name="T67" fmla="*/ 362 h 791"/>
                  <a:gd name="T68" fmla="*/ 733 w 777"/>
                  <a:gd name="T69" fmla="*/ 416 h 791"/>
                  <a:gd name="T70" fmla="*/ 728 w 777"/>
                  <a:gd name="T71" fmla="*/ 353 h 791"/>
                  <a:gd name="T72" fmla="*/ 684 w 777"/>
                  <a:gd name="T73" fmla="*/ 326 h 791"/>
                  <a:gd name="T74" fmla="*/ 724 w 777"/>
                  <a:gd name="T75" fmla="*/ 317 h 791"/>
                  <a:gd name="T76" fmla="*/ 724 w 777"/>
                  <a:gd name="T77" fmla="*/ 290 h 791"/>
                  <a:gd name="T78" fmla="*/ 693 w 777"/>
                  <a:gd name="T79" fmla="*/ 259 h 791"/>
                  <a:gd name="T80" fmla="*/ 746 w 777"/>
                  <a:gd name="T81" fmla="*/ 264 h 791"/>
                  <a:gd name="T82" fmla="*/ 719 w 777"/>
                  <a:gd name="T83" fmla="*/ 241 h 791"/>
                  <a:gd name="T84" fmla="*/ 755 w 777"/>
                  <a:gd name="T85" fmla="*/ 223 h 791"/>
                  <a:gd name="T86" fmla="*/ 742 w 777"/>
                  <a:gd name="T87" fmla="*/ 165 h 791"/>
                  <a:gd name="T88" fmla="*/ 760 w 777"/>
                  <a:gd name="T89" fmla="*/ 174 h 791"/>
                  <a:gd name="T90" fmla="*/ 751 w 777"/>
                  <a:gd name="T91" fmla="*/ 130 h 791"/>
                  <a:gd name="T92" fmla="*/ 733 w 777"/>
                  <a:gd name="T93" fmla="*/ 107 h 791"/>
                  <a:gd name="T94" fmla="*/ 777 w 777"/>
                  <a:gd name="T95" fmla="*/ 58 h 791"/>
                  <a:gd name="T96" fmla="*/ 751 w 777"/>
                  <a:gd name="T97" fmla="*/ 4 h 791"/>
                  <a:gd name="T98" fmla="*/ 755 w 777"/>
                  <a:gd name="T99" fmla="*/ 0 h 791"/>
                  <a:gd name="T100" fmla="*/ 255 w 777"/>
                  <a:gd name="T101" fmla="*/ 424 h 791"/>
                  <a:gd name="T102" fmla="*/ 273 w 777"/>
                  <a:gd name="T103" fmla="*/ 460 h 791"/>
                  <a:gd name="T104" fmla="*/ 286 w 777"/>
                  <a:gd name="T105" fmla="*/ 433 h 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77" h="791">
                    <a:moveTo>
                      <a:pt x="0" y="0"/>
                    </a:moveTo>
                    <a:lnTo>
                      <a:pt x="5" y="4"/>
                    </a:lnTo>
                    <a:lnTo>
                      <a:pt x="36" y="9"/>
                    </a:lnTo>
                    <a:lnTo>
                      <a:pt x="31" y="18"/>
                    </a:lnTo>
                    <a:lnTo>
                      <a:pt x="36" y="31"/>
                    </a:lnTo>
                    <a:lnTo>
                      <a:pt x="54" y="36"/>
                    </a:lnTo>
                    <a:lnTo>
                      <a:pt x="81" y="31"/>
                    </a:lnTo>
                    <a:lnTo>
                      <a:pt x="94" y="40"/>
                    </a:lnTo>
                    <a:lnTo>
                      <a:pt x="58" y="40"/>
                    </a:lnTo>
                    <a:lnTo>
                      <a:pt x="49" y="49"/>
                    </a:lnTo>
                    <a:lnTo>
                      <a:pt x="31" y="45"/>
                    </a:lnTo>
                    <a:lnTo>
                      <a:pt x="27" y="62"/>
                    </a:lnTo>
                    <a:lnTo>
                      <a:pt x="63" y="71"/>
                    </a:lnTo>
                    <a:lnTo>
                      <a:pt x="45" y="85"/>
                    </a:lnTo>
                    <a:lnTo>
                      <a:pt x="58" y="112"/>
                    </a:lnTo>
                    <a:lnTo>
                      <a:pt x="85" y="125"/>
                    </a:lnTo>
                    <a:lnTo>
                      <a:pt x="85" y="107"/>
                    </a:lnTo>
                    <a:lnTo>
                      <a:pt x="103" y="112"/>
                    </a:lnTo>
                    <a:lnTo>
                      <a:pt x="107" y="121"/>
                    </a:lnTo>
                    <a:lnTo>
                      <a:pt x="125" y="116"/>
                    </a:lnTo>
                    <a:lnTo>
                      <a:pt x="130" y="130"/>
                    </a:lnTo>
                    <a:lnTo>
                      <a:pt x="139" y="116"/>
                    </a:lnTo>
                    <a:lnTo>
                      <a:pt x="170" y="121"/>
                    </a:lnTo>
                    <a:lnTo>
                      <a:pt x="206" y="138"/>
                    </a:lnTo>
                    <a:lnTo>
                      <a:pt x="206" y="179"/>
                    </a:lnTo>
                    <a:lnTo>
                      <a:pt x="228" y="210"/>
                    </a:lnTo>
                    <a:lnTo>
                      <a:pt x="241" y="308"/>
                    </a:lnTo>
                    <a:lnTo>
                      <a:pt x="241" y="326"/>
                    </a:lnTo>
                    <a:lnTo>
                      <a:pt x="237" y="353"/>
                    </a:lnTo>
                    <a:lnTo>
                      <a:pt x="255" y="366"/>
                    </a:lnTo>
                    <a:lnTo>
                      <a:pt x="273" y="344"/>
                    </a:lnTo>
                    <a:lnTo>
                      <a:pt x="282" y="371"/>
                    </a:lnTo>
                    <a:lnTo>
                      <a:pt x="308" y="393"/>
                    </a:lnTo>
                    <a:lnTo>
                      <a:pt x="299" y="411"/>
                    </a:lnTo>
                    <a:lnTo>
                      <a:pt x="264" y="398"/>
                    </a:lnTo>
                    <a:lnTo>
                      <a:pt x="255" y="402"/>
                    </a:lnTo>
                    <a:lnTo>
                      <a:pt x="268" y="416"/>
                    </a:lnTo>
                    <a:lnTo>
                      <a:pt x="308" y="438"/>
                    </a:lnTo>
                    <a:lnTo>
                      <a:pt x="308" y="487"/>
                    </a:lnTo>
                    <a:lnTo>
                      <a:pt x="282" y="483"/>
                    </a:lnTo>
                    <a:lnTo>
                      <a:pt x="268" y="500"/>
                    </a:lnTo>
                    <a:lnTo>
                      <a:pt x="277" y="509"/>
                    </a:lnTo>
                    <a:lnTo>
                      <a:pt x="268" y="523"/>
                    </a:lnTo>
                    <a:lnTo>
                      <a:pt x="268" y="576"/>
                    </a:lnTo>
                    <a:lnTo>
                      <a:pt x="273" y="590"/>
                    </a:lnTo>
                    <a:lnTo>
                      <a:pt x="286" y="608"/>
                    </a:lnTo>
                    <a:lnTo>
                      <a:pt x="295" y="652"/>
                    </a:lnTo>
                    <a:lnTo>
                      <a:pt x="299" y="643"/>
                    </a:lnTo>
                    <a:lnTo>
                      <a:pt x="304" y="648"/>
                    </a:lnTo>
                    <a:lnTo>
                      <a:pt x="295" y="661"/>
                    </a:lnTo>
                    <a:lnTo>
                      <a:pt x="308" y="684"/>
                    </a:lnTo>
                    <a:lnTo>
                      <a:pt x="326" y="719"/>
                    </a:lnTo>
                    <a:lnTo>
                      <a:pt x="335" y="728"/>
                    </a:lnTo>
                    <a:lnTo>
                      <a:pt x="331" y="733"/>
                    </a:lnTo>
                    <a:lnTo>
                      <a:pt x="340" y="746"/>
                    </a:lnTo>
                    <a:lnTo>
                      <a:pt x="349" y="760"/>
                    </a:lnTo>
                    <a:lnTo>
                      <a:pt x="362" y="751"/>
                    </a:lnTo>
                    <a:lnTo>
                      <a:pt x="375" y="751"/>
                    </a:lnTo>
                    <a:lnTo>
                      <a:pt x="384" y="760"/>
                    </a:lnTo>
                    <a:lnTo>
                      <a:pt x="393" y="769"/>
                    </a:lnTo>
                    <a:lnTo>
                      <a:pt x="389" y="777"/>
                    </a:lnTo>
                    <a:lnTo>
                      <a:pt x="411" y="791"/>
                    </a:lnTo>
                    <a:lnTo>
                      <a:pt x="420" y="777"/>
                    </a:lnTo>
                    <a:lnTo>
                      <a:pt x="416" y="769"/>
                    </a:lnTo>
                    <a:lnTo>
                      <a:pt x="425" y="760"/>
                    </a:lnTo>
                    <a:lnTo>
                      <a:pt x="420" y="755"/>
                    </a:lnTo>
                    <a:lnTo>
                      <a:pt x="442" y="728"/>
                    </a:lnTo>
                    <a:lnTo>
                      <a:pt x="438" y="719"/>
                    </a:lnTo>
                    <a:lnTo>
                      <a:pt x="433" y="715"/>
                    </a:lnTo>
                    <a:lnTo>
                      <a:pt x="433" y="697"/>
                    </a:lnTo>
                    <a:lnTo>
                      <a:pt x="442" y="693"/>
                    </a:lnTo>
                    <a:lnTo>
                      <a:pt x="447" y="675"/>
                    </a:lnTo>
                    <a:lnTo>
                      <a:pt x="456" y="666"/>
                    </a:lnTo>
                    <a:lnTo>
                      <a:pt x="460" y="639"/>
                    </a:lnTo>
                    <a:lnTo>
                      <a:pt x="451" y="626"/>
                    </a:lnTo>
                    <a:lnTo>
                      <a:pt x="469" y="621"/>
                    </a:lnTo>
                    <a:lnTo>
                      <a:pt x="469" y="612"/>
                    </a:lnTo>
                    <a:lnTo>
                      <a:pt x="501" y="608"/>
                    </a:lnTo>
                    <a:lnTo>
                      <a:pt x="505" y="594"/>
                    </a:lnTo>
                    <a:lnTo>
                      <a:pt x="514" y="594"/>
                    </a:lnTo>
                    <a:lnTo>
                      <a:pt x="545" y="576"/>
                    </a:lnTo>
                    <a:lnTo>
                      <a:pt x="545" y="567"/>
                    </a:lnTo>
                    <a:lnTo>
                      <a:pt x="554" y="567"/>
                    </a:lnTo>
                    <a:lnTo>
                      <a:pt x="568" y="518"/>
                    </a:lnTo>
                    <a:lnTo>
                      <a:pt x="581" y="509"/>
                    </a:lnTo>
                    <a:lnTo>
                      <a:pt x="576" y="491"/>
                    </a:lnTo>
                    <a:lnTo>
                      <a:pt x="585" y="500"/>
                    </a:lnTo>
                    <a:lnTo>
                      <a:pt x="585" y="509"/>
                    </a:lnTo>
                    <a:lnTo>
                      <a:pt x="612" y="505"/>
                    </a:lnTo>
                    <a:lnTo>
                      <a:pt x="657" y="483"/>
                    </a:lnTo>
                    <a:lnTo>
                      <a:pt x="702" y="451"/>
                    </a:lnTo>
                    <a:lnTo>
                      <a:pt x="719" y="429"/>
                    </a:lnTo>
                    <a:lnTo>
                      <a:pt x="719" y="424"/>
                    </a:lnTo>
                    <a:lnTo>
                      <a:pt x="710" y="429"/>
                    </a:lnTo>
                    <a:lnTo>
                      <a:pt x="684" y="420"/>
                    </a:lnTo>
                    <a:lnTo>
                      <a:pt x="666" y="424"/>
                    </a:lnTo>
                    <a:lnTo>
                      <a:pt x="657" y="407"/>
                    </a:lnTo>
                    <a:lnTo>
                      <a:pt x="679" y="398"/>
                    </a:lnTo>
                    <a:lnTo>
                      <a:pt x="670" y="384"/>
                    </a:lnTo>
                    <a:lnTo>
                      <a:pt x="679" y="371"/>
                    </a:lnTo>
                    <a:lnTo>
                      <a:pt x="670" y="362"/>
                    </a:lnTo>
                    <a:lnTo>
                      <a:pt x="675" y="362"/>
                    </a:lnTo>
                    <a:lnTo>
                      <a:pt x="693" y="375"/>
                    </a:lnTo>
                    <a:lnTo>
                      <a:pt x="697" y="407"/>
                    </a:lnTo>
                    <a:lnTo>
                      <a:pt x="733" y="416"/>
                    </a:lnTo>
                    <a:lnTo>
                      <a:pt x="728" y="366"/>
                    </a:lnTo>
                    <a:lnTo>
                      <a:pt x="719" y="371"/>
                    </a:lnTo>
                    <a:lnTo>
                      <a:pt x="728" y="353"/>
                    </a:lnTo>
                    <a:lnTo>
                      <a:pt x="710" y="348"/>
                    </a:lnTo>
                    <a:lnTo>
                      <a:pt x="715" y="340"/>
                    </a:lnTo>
                    <a:lnTo>
                      <a:pt x="684" y="326"/>
                    </a:lnTo>
                    <a:lnTo>
                      <a:pt x="688" y="317"/>
                    </a:lnTo>
                    <a:lnTo>
                      <a:pt x="719" y="331"/>
                    </a:lnTo>
                    <a:lnTo>
                      <a:pt x="724" y="317"/>
                    </a:lnTo>
                    <a:lnTo>
                      <a:pt x="706" y="304"/>
                    </a:lnTo>
                    <a:lnTo>
                      <a:pt x="724" y="304"/>
                    </a:lnTo>
                    <a:lnTo>
                      <a:pt x="724" y="290"/>
                    </a:lnTo>
                    <a:lnTo>
                      <a:pt x="710" y="281"/>
                    </a:lnTo>
                    <a:lnTo>
                      <a:pt x="684" y="268"/>
                    </a:lnTo>
                    <a:lnTo>
                      <a:pt x="693" y="259"/>
                    </a:lnTo>
                    <a:lnTo>
                      <a:pt x="719" y="277"/>
                    </a:lnTo>
                    <a:lnTo>
                      <a:pt x="733" y="259"/>
                    </a:lnTo>
                    <a:lnTo>
                      <a:pt x="746" y="264"/>
                    </a:lnTo>
                    <a:lnTo>
                      <a:pt x="746" y="241"/>
                    </a:lnTo>
                    <a:lnTo>
                      <a:pt x="733" y="237"/>
                    </a:lnTo>
                    <a:lnTo>
                      <a:pt x="719" y="241"/>
                    </a:lnTo>
                    <a:lnTo>
                      <a:pt x="728" y="228"/>
                    </a:lnTo>
                    <a:lnTo>
                      <a:pt x="742" y="232"/>
                    </a:lnTo>
                    <a:lnTo>
                      <a:pt x="755" y="223"/>
                    </a:lnTo>
                    <a:lnTo>
                      <a:pt x="764" y="205"/>
                    </a:lnTo>
                    <a:lnTo>
                      <a:pt x="742" y="179"/>
                    </a:lnTo>
                    <a:lnTo>
                      <a:pt x="742" y="165"/>
                    </a:lnTo>
                    <a:lnTo>
                      <a:pt x="751" y="165"/>
                    </a:lnTo>
                    <a:lnTo>
                      <a:pt x="755" y="179"/>
                    </a:lnTo>
                    <a:lnTo>
                      <a:pt x="760" y="174"/>
                    </a:lnTo>
                    <a:lnTo>
                      <a:pt x="764" y="152"/>
                    </a:lnTo>
                    <a:lnTo>
                      <a:pt x="760" y="134"/>
                    </a:lnTo>
                    <a:lnTo>
                      <a:pt x="751" y="130"/>
                    </a:lnTo>
                    <a:lnTo>
                      <a:pt x="760" y="125"/>
                    </a:lnTo>
                    <a:lnTo>
                      <a:pt x="760" y="107"/>
                    </a:lnTo>
                    <a:lnTo>
                      <a:pt x="733" y="107"/>
                    </a:lnTo>
                    <a:lnTo>
                      <a:pt x="733" y="67"/>
                    </a:lnTo>
                    <a:lnTo>
                      <a:pt x="746" y="49"/>
                    </a:lnTo>
                    <a:lnTo>
                      <a:pt x="777" y="58"/>
                    </a:lnTo>
                    <a:lnTo>
                      <a:pt x="777" y="36"/>
                    </a:lnTo>
                    <a:lnTo>
                      <a:pt x="751" y="27"/>
                    </a:lnTo>
                    <a:lnTo>
                      <a:pt x="751" y="4"/>
                    </a:lnTo>
                    <a:lnTo>
                      <a:pt x="764" y="13"/>
                    </a:lnTo>
                    <a:lnTo>
                      <a:pt x="773" y="9"/>
                    </a:lnTo>
                    <a:lnTo>
                      <a:pt x="755" y="0"/>
                    </a:lnTo>
                    <a:lnTo>
                      <a:pt x="0" y="0"/>
                    </a:lnTo>
                    <a:close/>
                    <a:moveTo>
                      <a:pt x="264" y="420"/>
                    </a:moveTo>
                    <a:lnTo>
                      <a:pt x="255" y="424"/>
                    </a:lnTo>
                    <a:lnTo>
                      <a:pt x="255" y="447"/>
                    </a:lnTo>
                    <a:lnTo>
                      <a:pt x="264" y="451"/>
                    </a:lnTo>
                    <a:lnTo>
                      <a:pt x="273" y="460"/>
                    </a:lnTo>
                    <a:lnTo>
                      <a:pt x="291" y="451"/>
                    </a:lnTo>
                    <a:lnTo>
                      <a:pt x="295" y="438"/>
                    </a:lnTo>
                    <a:lnTo>
                      <a:pt x="286" y="433"/>
                    </a:lnTo>
                    <a:lnTo>
                      <a:pt x="277" y="424"/>
                    </a:lnTo>
                    <a:lnTo>
                      <a:pt x="264" y="42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grpSp>
            <p:nvGrpSpPr>
              <p:cNvPr id="28" name="Group 164">
                <a:extLst>
                  <a:ext uri="{FF2B5EF4-FFF2-40B4-BE49-F238E27FC236}">
                    <a16:creationId xmlns:a16="http://schemas.microsoft.com/office/drawing/2014/main" id="{18470534-6A54-41FB-A427-A3EEC37DF5B7}"/>
                  </a:ext>
                </a:extLst>
              </p:cNvPr>
              <p:cNvGrpSpPr>
                <a:grpSpLocks/>
              </p:cNvGrpSpPr>
              <p:nvPr/>
            </p:nvGrpSpPr>
            <p:grpSpPr bwMode="gray">
              <a:xfrm>
                <a:off x="6698448" y="4506280"/>
                <a:ext cx="1620128" cy="928204"/>
                <a:chOff x="4304" y="2940"/>
                <a:chExt cx="1068" cy="612"/>
              </a:xfrm>
              <a:grpFill/>
            </p:grpSpPr>
            <p:sp>
              <p:nvSpPr>
                <p:cNvPr id="69" name="Freeform 165">
                  <a:extLst>
                    <a:ext uri="{FF2B5EF4-FFF2-40B4-BE49-F238E27FC236}">
                      <a16:creationId xmlns:a16="http://schemas.microsoft.com/office/drawing/2014/main" id="{F82C80BF-1400-4483-801C-41CE6CE38F71}"/>
                    </a:ext>
                  </a:extLst>
                </p:cNvPr>
                <p:cNvSpPr>
                  <a:spLocks noEditPoints="1"/>
                </p:cNvSpPr>
                <p:nvPr/>
              </p:nvSpPr>
              <p:spPr bwMode="gray">
                <a:xfrm>
                  <a:off x="4304" y="2940"/>
                  <a:ext cx="581" cy="550"/>
                </a:xfrm>
                <a:custGeom>
                  <a:avLst/>
                  <a:gdLst>
                    <a:gd name="T0" fmla="*/ 116 w 581"/>
                    <a:gd name="T1" fmla="*/ 134 h 550"/>
                    <a:gd name="T2" fmla="*/ 54 w 581"/>
                    <a:gd name="T3" fmla="*/ 152 h 550"/>
                    <a:gd name="T4" fmla="*/ 13 w 581"/>
                    <a:gd name="T5" fmla="*/ 165 h 550"/>
                    <a:gd name="T6" fmla="*/ 4 w 581"/>
                    <a:gd name="T7" fmla="*/ 210 h 550"/>
                    <a:gd name="T8" fmla="*/ 9 w 581"/>
                    <a:gd name="T9" fmla="*/ 228 h 550"/>
                    <a:gd name="T10" fmla="*/ 13 w 581"/>
                    <a:gd name="T11" fmla="*/ 268 h 550"/>
                    <a:gd name="T12" fmla="*/ 40 w 581"/>
                    <a:gd name="T13" fmla="*/ 331 h 550"/>
                    <a:gd name="T14" fmla="*/ 31 w 581"/>
                    <a:gd name="T15" fmla="*/ 376 h 550"/>
                    <a:gd name="T16" fmla="*/ 80 w 581"/>
                    <a:gd name="T17" fmla="*/ 380 h 550"/>
                    <a:gd name="T18" fmla="*/ 147 w 581"/>
                    <a:gd name="T19" fmla="*/ 367 h 550"/>
                    <a:gd name="T20" fmla="*/ 259 w 581"/>
                    <a:gd name="T21" fmla="*/ 326 h 550"/>
                    <a:gd name="T22" fmla="*/ 304 w 581"/>
                    <a:gd name="T23" fmla="*/ 353 h 550"/>
                    <a:gd name="T24" fmla="*/ 322 w 581"/>
                    <a:gd name="T25" fmla="*/ 380 h 550"/>
                    <a:gd name="T26" fmla="*/ 331 w 581"/>
                    <a:gd name="T27" fmla="*/ 380 h 550"/>
                    <a:gd name="T28" fmla="*/ 357 w 581"/>
                    <a:gd name="T29" fmla="*/ 340 h 550"/>
                    <a:gd name="T30" fmla="*/ 344 w 581"/>
                    <a:gd name="T31" fmla="*/ 384 h 550"/>
                    <a:gd name="T32" fmla="*/ 353 w 581"/>
                    <a:gd name="T33" fmla="*/ 389 h 550"/>
                    <a:gd name="T34" fmla="*/ 357 w 581"/>
                    <a:gd name="T35" fmla="*/ 398 h 550"/>
                    <a:gd name="T36" fmla="*/ 353 w 581"/>
                    <a:gd name="T37" fmla="*/ 411 h 550"/>
                    <a:gd name="T38" fmla="*/ 375 w 581"/>
                    <a:gd name="T39" fmla="*/ 402 h 550"/>
                    <a:gd name="T40" fmla="*/ 380 w 581"/>
                    <a:gd name="T41" fmla="*/ 434 h 550"/>
                    <a:gd name="T42" fmla="*/ 447 w 581"/>
                    <a:gd name="T43" fmla="*/ 451 h 550"/>
                    <a:gd name="T44" fmla="*/ 469 w 581"/>
                    <a:gd name="T45" fmla="*/ 465 h 550"/>
                    <a:gd name="T46" fmla="*/ 478 w 581"/>
                    <a:gd name="T47" fmla="*/ 460 h 550"/>
                    <a:gd name="T48" fmla="*/ 532 w 581"/>
                    <a:gd name="T49" fmla="*/ 434 h 550"/>
                    <a:gd name="T50" fmla="*/ 554 w 581"/>
                    <a:gd name="T51" fmla="*/ 353 h 550"/>
                    <a:gd name="T52" fmla="*/ 572 w 581"/>
                    <a:gd name="T53" fmla="*/ 233 h 550"/>
                    <a:gd name="T54" fmla="*/ 536 w 581"/>
                    <a:gd name="T55" fmla="*/ 192 h 550"/>
                    <a:gd name="T56" fmla="*/ 532 w 581"/>
                    <a:gd name="T57" fmla="*/ 170 h 550"/>
                    <a:gd name="T58" fmla="*/ 518 w 581"/>
                    <a:gd name="T59" fmla="*/ 165 h 550"/>
                    <a:gd name="T60" fmla="*/ 482 w 581"/>
                    <a:gd name="T61" fmla="*/ 130 h 550"/>
                    <a:gd name="T62" fmla="*/ 465 w 581"/>
                    <a:gd name="T63" fmla="*/ 85 h 550"/>
                    <a:gd name="T64" fmla="*/ 442 w 581"/>
                    <a:gd name="T65" fmla="*/ 54 h 550"/>
                    <a:gd name="T66" fmla="*/ 424 w 581"/>
                    <a:gd name="T67" fmla="*/ 14 h 550"/>
                    <a:gd name="T68" fmla="*/ 411 w 581"/>
                    <a:gd name="T69" fmla="*/ 5 h 550"/>
                    <a:gd name="T70" fmla="*/ 398 w 581"/>
                    <a:gd name="T71" fmla="*/ 98 h 550"/>
                    <a:gd name="T72" fmla="*/ 322 w 581"/>
                    <a:gd name="T73" fmla="*/ 58 h 550"/>
                    <a:gd name="T74" fmla="*/ 331 w 581"/>
                    <a:gd name="T75" fmla="*/ 14 h 550"/>
                    <a:gd name="T76" fmla="*/ 277 w 581"/>
                    <a:gd name="T77" fmla="*/ 9 h 550"/>
                    <a:gd name="T78" fmla="*/ 272 w 581"/>
                    <a:gd name="T79" fmla="*/ 14 h 550"/>
                    <a:gd name="T80" fmla="*/ 255 w 581"/>
                    <a:gd name="T81" fmla="*/ 22 h 550"/>
                    <a:gd name="T82" fmla="*/ 228 w 581"/>
                    <a:gd name="T83" fmla="*/ 63 h 550"/>
                    <a:gd name="T84" fmla="*/ 214 w 581"/>
                    <a:gd name="T85" fmla="*/ 58 h 550"/>
                    <a:gd name="T86" fmla="*/ 183 w 581"/>
                    <a:gd name="T87" fmla="*/ 58 h 550"/>
                    <a:gd name="T88" fmla="*/ 161 w 581"/>
                    <a:gd name="T89" fmla="*/ 85 h 550"/>
                    <a:gd name="T90" fmla="*/ 147 w 581"/>
                    <a:gd name="T91" fmla="*/ 98 h 550"/>
                    <a:gd name="T92" fmla="*/ 130 w 581"/>
                    <a:gd name="T93" fmla="*/ 107 h 550"/>
                    <a:gd name="T94" fmla="*/ 465 w 581"/>
                    <a:gd name="T95" fmla="*/ 527 h 550"/>
                    <a:gd name="T96" fmla="*/ 487 w 581"/>
                    <a:gd name="T97" fmla="*/ 550 h 550"/>
                    <a:gd name="T98" fmla="*/ 496 w 581"/>
                    <a:gd name="T99" fmla="*/ 532 h 550"/>
                    <a:gd name="T100" fmla="*/ 505 w 581"/>
                    <a:gd name="T101" fmla="*/ 496 h 550"/>
                    <a:gd name="T102" fmla="*/ 474 w 581"/>
                    <a:gd name="T103" fmla="*/ 501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81" h="550">
                      <a:moveTo>
                        <a:pt x="130" y="107"/>
                      </a:moveTo>
                      <a:lnTo>
                        <a:pt x="134" y="107"/>
                      </a:lnTo>
                      <a:lnTo>
                        <a:pt x="116" y="134"/>
                      </a:lnTo>
                      <a:lnTo>
                        <a:pt x="80" y="143"/>
                      </a:lnTo>
                      <a:lnTo>
                        <a:pt x="63" y="152"/>
                      </a:lnTo>
                      <a:lnTo>
                        <a:pt x="54" y="152"/>
                      </a:lnTo>
                      <a:lnTo>
                        <a:pt x="27" y="165"/>
                      </a:lnTo>
                      <a:lnTo>
                        <a:pt x="13" y="183"/>
                      </a:lnTo>
                      <a:lnTo>
                        <a:pt x="13" y="165"/>
                      </a:lnTo>
                      <a:lnTo>
                        <a:pt x="9" y="179"/>
                      </a:lnTo>
                      <a:lnTo>
                        <a:pt x="9" y="197"/>
                      </a:lnTo>
                      <a:lnTo>
                        <a:pt x="4" y="210"/>
                      </a:lnTo>
                      <a:lnTo>
                        <a:pt x="18" y="233"/>
                      </a:lnTo>
                      <a:lnTo>
                        <a:pt x="18" y="241"/>
                      </a:lnTo>
                      <a:lnTo>
                        <a:pt x="9" y="228"/>
                      </a:lnTo>
                      <a:lnTo>
                        <a:pt x="0" y="228"/>
                      </a:lnTo>
                      <a:lnTo>
                        <a:pt x="4" y="241"/>
                      </a:lnTo>
                      <a:lnTo>
                        <a:pt x="13" y="268"/>
                      </a:lnTo>
                      <a:lnTo>
                        <a:pt x="31" y="291"/>
                      </a:lnTo>
                      <a:lnTo>
                        <a:pt x="31" y="308"/>
                      </a:lnTo>
                      <a:lnTo>
                        <a:pt x="40" y="331"/>
                      </a:lnTo>
                      <a:lnTo>
                        <a:pt x="36" y="358"/>
                      </a:lnTo>
                      <a:lnTo>
                        <a:pt x="27" y="362"/>
                      </a:lnTo>
                      <a:lnTo>
                        <a:pt x="31" y="376"/>
                      </a:lnTo>
                      <a:lnTo>
                        <a:pt x="54" y="389"/>
                      </a:lnTo>
                      <a:lnTo>
                        <a:pt x="76" y="389"/>
                      </a:lnTo>
                      <a:lnTo>
                        <a:pt x="80" y="380"/>
                      </a:lnTo>
                      <a:lnTo>
                        <a:pt x="94" y="380"/>
                      </a:lnTo>
                      <a:lnTo>
                        <a:pt x="98" y="367"/>
                      </a:lnTo>
                      <a:lnTo>
                        <a:pt x="147" y="367"/>
                      </a:lnTo>
                      <a:lnTo>
                        <a:pt x="156" y="353"/>
                      </a:lnTo>
                      <a:lnTo>
                        <a:pt x="228" y="331"/>
                      </a:lnTo>
                      <a:lnTo>
                        <a:pt x="259" y="326"/>
                      </a:lnTo>
                      <a:lnTo>
                        <a:pt x="272" y="335"/>
                      </a:lnTo>
                      <a:lnTo>
                        <a:pt x="290" y="340"/>
                      </a:lnTo>
                      <a:lnTo>
                        <a:pt x="304" y="353"/>
                      </a:lnTo>
                      <a:lnTo>
                        <a:pt x="308" y="344"/>
                      </a:lnTo>
                      <a:lnTo>
                        <a:pt x="322" y="376"/>
                      </a:lnTo>
                      <a:lnTo>
                        <a:pt x="322" y="380"/>
                      </a:lnTo>
                      <a:lnTo>
                        <a:pt x="326" y="389"/>
                      </a:lnTo>
                      <a:lnTo>
                        <a:pt x="335" y="389"/>
                      </a:lnTo>
                      <a:lnTo>
                        <a:pt x="331" y="380"/>
                      </a:lnTo>
                      <a:lnTo>
                        <a:pt x="339" y="367"/>
                      </a:lnTo>
                      <a:lnTo>
                        <a:pt x="353" y="358"/>
                      </a:lnTo>
                      <a:lnTo>
                        <a:pt x="357" y="340"/>
                      </a:lnTo>
                      <a:lnTo>
                        <a:pt x="357" y="358"/>
                      </a:lnTo>
                      <a:lnTo>
                        <a:pt x="348" y="371"/>
                      </a:lnTo>
                      <a:lnTo>
                        <a:pt x="344" y="384"/>
                      </a:lnTo>
                      <a:lnTo>
                        <a:pt x="339" y="393"/>
                      </a:lnTo>
                      <a:lnTo>
                        <a:pt x="339" y="393"/>
                      </a:lnTo>
                      <a:lnTo>
                        <a:pt x="353" y="389"/>
                      </a:lnTo>
                      <a:lnTo>
                        <a:pt x="357" y="376"/>
                      </a:lnTo>
                      <a:lnTo>
                        <a:pt x="362" y="393"/>
                      </a:lnTo>
                      <a:lnTo>
                        <a:pt x="357" y="398"/>
                      </a:lnTo>
                      <a:lnTo>
                        <a:pt x="344" y="398"/>
                      </a:lnTo>
                      <a:lnTo>
                        <a:pt x="339" y="407"/>
                      </a:lnTo>
                      <a:lnTo>
                        <a:pt x="353" y="411"/>
                      </a:lnTo>
                      <a:lnTo>
                        <a:pt x="357" y="407"/>
                      </a:lnTo>
                      <a:lnTo>
                        <a:pt x="371" y="398"/>
                      </a:lnTo>
                      <a:lnTo>
                        <a:pt x="375" y="402"/>
                      </a:lnTo>
                      <a:lnTo>
                        <a:pt x="371" y="402"/>
                      </a:lnTo>
                      <a:lnTo>
                        <a:pt x="380" y="425"/>
                      </a:lnTo>
                      <a:lnTo>
                        <a:pt x="380" y="434"/>
                      </a:lnTo>
                      <a:lnTo>
                        <a:pt x="406" y="451"/>
                      </a:lnTo>
                      <a:lnTo>
                        <a:pt x="438" y="460"/>
                      </a:lnTo>
                      <a:lnTo>
                        <a:pt x="447" y="451"/>
                      </a:lnTo>
                      <a:lnTo>
                        <a:pt x="460" y="451"/>
                      </a:lnTo>
                      <a:lnTo>
                        <a:pt x="460" y="456"/>
                      </a:lnTo>
                      <a:lnTo>
                        <a:pt x="469" y="465"/>
                      </a:lnTo>
                      <a:lnTo>
                        <a:pt x="474" y="474"/>
                      </a:lnTo>
                      <a:lnTo>
                        <a:pt x="478" y="469"/>
                      </a:lnTo>
                      <a:lnTo>
                        <a:pt x="478" y="460"/>
                      </a:lnTo>
                      <a:lnTo>
                        <a:pt x="505" y="443"/>
                      </a:lnTo>
                      <a:lnTo>
                        <a:pt x="518" y="443"/>
                      </a:lnTo>
                      <a:lnTo>
                        <a:pt x="532" y="434"/>
                      </a:lnTo>
                      <a:lnTo>
                        <a:pt x="532" y="420"/>
                      </a:lnTo>
                      <a:lnTo>
                        <a:pt x="545" y="393"/>
                      </a:lnTo>
                      <a:lnTo>
                        <a:pt x="554" y="353"/>
                      </a:lnTo>
                      <a:lnTo>
                        <a:pt x="572" y="340"/>
                      </a:lnTo>
                      <a:lnTo>
                        <a:pt x="581" y="273"/>
                      </a:lnTo>
                      <a:lnTo>
                        <a:pt x="572" y="233"/>
                      </a:lnTo>
                      <a:lnTo>
                        <a:pt x="558" y="201"/>
                      </a:lnTo>
                      <a:lnTo>
                        <a:pt x="545" y="201"/>
                      </a:lnTo>
                      <a:lnTo>
                        <a:pt x="536" y="192"/>
                      </a:lnTo>
                      <a:lnTo>
                        <a:pt x="541" y="192"/>
                      </a:lnTo>
                      <a:lnTo>
                        <a:pt x="541" y="179"/>
                      </a:lnTo>
                      <a:lnTo>
                        <a:pt x="532" y="170"/>
                      </a:lnTo>
                      <a:lnTo>
                        <a:pt x="532" y="183"/>
                      </a:lnTo>
                      <a:lnTo>
                        <a:pt x="523" y="183"/>
                      </a:lnTo>
                      <a:lnTo>
                        <a:pt x="518" y="165"/>
                      </a:lnTo>
                      <a:lnTo>
                        <a:pt x="509" y="152"/>
                      </a:lnTo>
                      <a:lnTo>
                        <a:pt x="509" y="148"/>
                      </a:lnTo>
                      <a:lnTo>
                        <a:pt x="482" y="130"/>
                      </a:lnTo>
                      <a:lnTo>
                        <a:pt x="474" y="112"/>
                      </a:lnTo>
                      <a:lnTo>
                        <a:pt x="474" y="90"/>
                      </a:lnTo>
                      <a:lnTo>
                        <a:pt x="465" y="85"/>
                      </a:lnTo>
                      <a:lnTo>
                        <a:pt x="465" y="63"/>
                      </a:lnTo>
                      <a:lnTo>
                        <a:pt x="451" y="49"/>
                      </a:lnTo>
                      <a:lnTo>
                        <a:pt x="442" y="54"/>
                      </a:lnTo>
                      <a:lnTo>
                        <a:pt x="433" y="40"/>
                      </a:lnTo>
                      <a:lnTo>
                        <a:pt x="438" y="27"/>
                      </a:lnTo>
                      <a:lnTo>
                        <a:pt x="424" y="14"/>
                      </a:lnTo>
                      <a:lnTo>
                        <a:pt x="424" y="0"/>
                      </a:lnTo>
                      <a:lnTo>
                        <a:pt x="415" y="0"/>
                      </a:lnTo>
                      <a:lnTo>
                        <a:pt x="411" y="5"/>
                      </a:lnTo>
                      <a:lnTo>
                        <a:pt x="406" y="40"/>
                      </a:lnTo>
                      <a:lnTo>
                        <a:pt x="406" y="72"/>
                      </a:lnTo>
                      <a:lnTo>
                        <a:pt x="398" y="98"/>
                      </a:lnTo>
                      <a:lnTo>
                        <a:pt x="384" y="103"/>
                      </a:lnTo>
                      <a:lnTo>
                        <a:pt x="339" y="76"/>
                      </a:lnTo>
                      <a:lnTo>
                        <a:pt x="322" y="58"/>
                      </a:lnTo>
                      <a:lnTo>
                        <a:pt x="326" y="45"/>
                      </a:lnTo>
                      <a:lnTo>
                        <a:pt x="339" y="22"/>
                      </a:lnTo>
                      <a:lnTo>
                        <a:pt x="331" y="14"/>
                      </a:lnTo>
                      <a:lnTo>
                        <a:pt x="317" y="18"/>
                      </a:lnTo>
                      <a:lnTo>
                        <a:pt x="295" y="18"/>
                      </a:lnTo>
                      <a:lnTo>
                        <a:pt x="277" y="9"/>
                      </a:lnTo>
                      <a:lnTo>
                        <a:pt x="241" y="9"/>
                      </a:lnTo>
                      <a:lnTo>
                        <a:pt x="241" y="18"/>
                      </a:lnTo>
                      <a:lnTo>
                        <a:pt x="272" y="14"/>
                      </a:lnTo>
                      <a:lnTo>
                        <a:pt x="281" y="22"/>
                      </a:lnTo>
                      <a:lnTo>
                        <a:pt x="277" y="27"/>
                      </a:lnTo>
                      <a:lnTo>
                        <a:pt x="255" y="22"/>
                      </a:lnTo>
                      <a:lnTo>
                        <a:pt x="232" y="49"/>
                      </a:lnTo>
                      <a:lnTo>
                        <a:pt x="241" y="72"/>
                      </a:lnTo>
                      <a:lnTo>
                        <a:pt x="228" y="63"/>
                      </a:lnTo>
                      <a:lnTo>
                        <a:pt x="219" y="63"/>
                      </a:lnTo>
                      <a:lnTo>
                        <a:pt x="214" y="72"/>
                      </a:lnTo>
                      <a:lnTo>
                        <a:pt x="214" y="58"/>
                      </a:lnTo>
                      <a:lnTo>
                        <a:pt x="205" y="45"/>
                      </a:lnTo>
                      <a:lnTo>
                        <a:pt x="188" y="45"/>
                      </a:lnTo>
                      <a:lnTo>
                        <a:pt x="183" y="58"/>
                      </a:lnTo>
                      <a:lnTo>
                        <a:pt x="179" y="54"/>
                      </a:lnTo>
                      <a:lnTo>
                        <a:pt x="165" y="67"/>
                      </a:lnTo>
                      <a:lnTo>
                        <a:pt x="161" y="85"/>
                      </a:lnTo>
                      <a:lnTo>
                        <a:pt x="152" y="81"/>
                      </a:lnTo>
                      <a:lnTo>
                        <a:pt x="147" y="81"/>
                      </a:lnTo>
                      <a:lnTo>
                        <a:pt x="147" y="98"/>
                      </a:lnTo>
                      <a:lnTo>
                        <a:pt x="138" y="81"/>
                      </a:lnTo>
                      <a:lnTo>
                        <a:pt x="130" y="94"/>
                      </a:lnTo>
                      <a:lnTo>
                        <a:pt x="130" y="107"/>
                      </a:lnTo>
                      <a:close/>
                      <a:moveTo>
                        <a:pt x="451" y="492"/>
                      </a:moveTo>
                      <a:lnTo>
                        <a:pt x="451" y="501"/>
                      </a:lnTo>
                      <a:lnTo>
                        <a:pt x="465" y="527"/>
                      </a:lnTo>
                      <a:lnTo>
                        <a:pt x="460" y="527"/>
                      </a:lnTo>
                      <a:lnTo>
                        <a:pt x="474" y="550"/>
                      </a:lnTo>
                      <a:lnTo>
                        <a:pt x="487" y="550"/>
                      </a:lnTo>
                      <a:lnTo>
                        <a:pt x="491" y="536"/>
                      </a:lnTo>
                      <a:lnTo>
                        <a:pt x="505" y="545"/>
                      </a:lnTo>
                      <a:lnTo>
                        <a:pt x="496" y="532"/>
                      </a:lnTo>
                      <a:lnTo>
                        <a:pt x="505" y="523"/>
                      </a:lnTo>
                      <a:lnTo>
                        <a:pt x="509" y="523"/>
                      </a:lnTo>
                      <a:lnTo>
                        <a:pt x="505" y="496"/>
                      </a:lnTo>
                      <a:lnTo>
                        <a:pt x="500" y="492"/>
                      </a:lnTo>
                      <a:lnTo>
                        <a:pt x="487" y="496"/>
                      </a:lnTo>
                      <a:lnTo>
                        <a:pt x="474" y="501"/>
                      </a:lnTo>
                      <a:lnTo>
                        <a:pt x="451" y="49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70" name="Freeform 166">
                  <a:extLst>
                    <a:ext uri="{FF2B5EF4-FFF2-40B4-BE49-F238E27FC236}">
                      <a16:creationId xmlns:a16="http://schemas.microsoft.com/office/drawing/2014/main" id="{5F516E11-5C80-4F70-8DA2-0B7C87EA567A}"/>
                    </a:ext>
                  </a:extLst>
                </p:cNvPr>
                <p:cNvSpPr>
                  <a:spLocks noEditPoints="1"/>
                </p:cNvSpPr>
                <p:nvPr/>
              </p:nvSpPr>
              <p:spPr bwMode="gray">
                <a:xfrm>
                  <a:off x="5220" y="3016"/>
                  <a:ext cx="40" cy="40"/>
                </a:xfrm>
                <a:custGeom>
                  <a:avLst/>
                  <a:gdLst>
                    <a:gd name="T0" fmla="*/ 0 w 40"/>
                    <a:gd name="T1" fmla="*/ 31 h 40"/>
                    <a:gd name="T2" fmla="*/ 4 w 40"/>
                    <a:gd name="T3" fmla="*/ 36 h 40"/>
                    <a:gd name="T4" fmla="*/ 9 w 40"/>
                    <a:gd name="T5" fmla="*/ 36 h 40"/>
                    <a:gd name="T6" fmla="*/ 18 w 40"/>
                    <a:gd name="T7" fmla="*/ 40 h 40"/>
                    <a:gd name="T8" fmla="*/ 22 w 40"/>
                    <a:gd name="T9" fmla="*/ 31 h 40"/>
                    <a:gd name="T10" fmla="*/ 22 w 40"/>
                    <a:gd name="T11" fmla="*/ 22 h 40"/>
                    <a:gd name="T12" fmla="*/ 13 w 40"/>
                    <a:gd name="T13" fmla="*/ 22 h 40"/>
                    <a:gd name="T14" fmla="*/ 4 w 40"/>
                    <a:gd name="T15" fmla="*/ 22 h 40"/>
                    <a:gd name="T16" fmla="*/ 0 w 40"/>
                    <a:gd name="T17" fmla="*/ 31 h 40"/>
                    <a:gd name="T18" fmla="*/ 40 w 40"/>
                    <a:gd name="T19" fmla="*/ 0 h 40"/>
                    <a:gd name="T20" fmla="*/ 22 w 40"/>
                    <a:gd name="T21" fmla="*/ 9 h 40"/>
                    <a:gd name="T22" fmla="*/ 22 w 40"/>
                    <a:gd name="T23" fmla="*/ 9 h 40"/>
                    <a:gd name="T24" fmla="*/ 22 w 40"/>
                    <a:gd name="T25" fmla="*/ 14 h 40"/>
                    <a:gd name="T26" fmla="*/ 40 w 40"/>
                    <a:gd name="T27" fmla="*/ 14 h 40"/>
                    <a:gd name="T28" fmla="*/ 40 w 40"/>
                    <a:gd name="T29" fmla="*/ 9 h 40"/>
                    <a:gd name="T30" fmla="*/ 35 w 40"/>
                    <a:gd name="T31" fmla="*/ 9 h 40"/>
                    <a:gd name="T32" fmla="*/ 40 w 40"/>
                    <a:gd name="T3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40">
                      <a:moveTo>
                        <a:pt x="0" y="31"/>
                      </a:moveTo>
                      <a:lnTo>
                        <a:pt x="4" y="36"/>
                      </a:lnTo>
                      <a:lnTo>
                        <a:pt x="9" y="36"/>
                      </a:lnTo>
                      <a:lnTo>
                        <a:pt x="18" y="40"/>
                      </a:lnTo>
                      <a:lnTo>
                        <a:pt x="22" y="31"/>
                      </a:lnTo>
                      <a:lnTo>
                        <a:pt x="22" y="22"/>
                      </a:lnTo>
                      <a:lnTo>
                        <a:pt x="13" y="22"/>
                      </a:lnTo>
                      <a:lnTo>
                        <a:pt x="4" y="22"/>
                      </a:lnTo>
                      <a:lnTo>
                        <a:pt x="0" y="31"/>
                      </a:lnTo>
                      <a:close/>
                      <a:moveTo>
                        <a:pt x="40" y="0"/>
                      </a:moveTo>
                      <a:lnTo>
                        <a:pt x="22" y="9"/>
                      </a:lnTo>
                      <a:lnTo>
                        <a:pt x="22" y="9"/>
                      </a:lnTo>
                      <a:lnTo>
                        <a:pt x="22" y="14"/>
                      </a:lnTo>
                      <a:lnTo>
                        <a:pt x="40" y="14"/>
                      </a:lnTo>
                      <a:lnTo>
                        <a:pt x="40" y="9"/>
                      </a:lnTo>
                      <a:lnTo>
                        <a:pt x="35" y="9"/>
                      </a:lnTo>
                      <a:lnTo>
                        <a:pt x="40"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71" name="Freeform 167">
                  <a:extLst>
                    <a:ext uri="{FF2B5EF4-FFF2-40B4-BE49-F238E27FC236}">
                      <a16:creationId xmlns:a16="http://schemas.microsoft.com/office/drawing/2014/main" id="{0764EC37-AC63-4EE7-B67C-B244221BE8E1}"/>
                    </a:ext>
                  </a:extLst>
                </p:cNvPr>
                <p:cNvSpPr>
                  <a:spLocks noEditPoints="1"/>
                </p:cNvSpPr>
                <p:nvPr/>
              </p:nvSpPr>
              <p:spPr bwMode="gray">
                <a:xfrm>
                  <a:off x="5068" y="3320"/>
                  <a:ext cx="174" cy="232"/>
                </a:xfrm>
                <a:custGeom>
                  <a:avLst/>
                  <a:gdLst>
                    <a:gd name="T0" fmla="*/ 85 w 174"/>
                    <a:gd name="T1" fmla="*/ 107 h 232"/>
                    <a:gd name="T2" fmla="*/ 76 w 174"/>
                    <a:gd name="T3" fmla="*/ 116 h 232"/>
                    <a:gd name="T4" fmla="*/ 76 w 174"/>
                    <a:gd name="T5" fmla="*/ 130 h 232"/>
                    <a:gd name="T6" fmla="*/ 71 w 174"/>
                    <a:gd name="T7" fmla="*/ 130 h 232"/>
                    <a:gd name="T8" fmla="*/ 62 w 174"/>
                    <a:gd name="T9" fmla="*/ 156 h 232"/>
                    <a:gd name="T10" fmla="*/ 27 w 174"/>
                    <a:gd name="T11" fmla="*/ 179 h 232"/>
                    <a:gd name="T12" fmla="*/ 0 w 174"/>
                    <a:gd name="T13" fmla="*/ 206 h 232"/>
                    <a:gd name="T14" fmla="*/ 0 w 174"/>
                    <a:gd name="T15" fmla="*/ 219 h 232"/>
                    <a:gd name="T16" fmla="*/ 4 w 174"/>
                    <a:gd name="T17" fmla="*/ 223 h 232"/>
                    <a:gd name="T18" fmla="*/ 18 w 174"/>
                    <a:gd name="T19" fmla="*/ 223 h 232"/>
                    <a:gd name="T20" fmla="*/ 40 w 174"/>
                    <a:gd name="T21" fmla="*/ 232 h 232"/>
                    <a:gd name="T22" fmla="*/ 49 w 174"/>
                    <a:gd name="T23" fmla="*/ 228 h 232"/>
                    <a:gd name="T24" fmla="*/ 62 w 174"/>
                    <a:gd name="T25" fmla="*/ 219 h 232"/>
                    <a:gd name="T26" fmla="*/ 71 w 174"/>
                    <a:gd name="T27" fmla="*/ 179 h 232"/>
                    <a:gd name="T28" fmla="*/ 94 w 174"/>
                    <a:gd name="T29" fmla="*/ 170 h 232"/>
                    <a:gd name="T30" fmla="*/ 89 w 174"/>
                    <a:gd name="T31" fmla="*/ 156 h 232"/>
                    <a:gd name="T32" fmla="*/ 98 w 174"/>
                    <a:gd name="T33" fmla="*/ 152 h 232"/>
                    <a:gd name="T34" fmla="*/ 107 w 174"/>
                    <a:gd name="T35" fmla="*/ 130 h 232"/>
                    <a:gd name="T36" fmla="*/ 103 w 174"/>
                    <a:gd name="T37" fmla="*/ 121 h 232"/>
                    <a:gd name="T38" fmla="*/ 98 w 174"/>
                    <a:gd name="T39" fmla="*/ 125 h 232"/>
                    <a:gd name="T40" fmla="*/ 85 w 174"/>
                    <a:gd name="T41" fmla="*/ 112 h 232"/>
                    <a:gd name="T42" fmla="*/ 94 w 174"/>
                    <a:gd name="T43" fmla="*/ 107 h 232"/>
                    <a:gd name="T44" fmla="*/ 85 w 174"/>
                    <a:gd name="T45" fmla="*/ 107 h 232"/>
                    <a:gd name="T46" fmla="*/ 174 w 174"/>
                    <a:gd name="T47" fmla="*/ 54 h 232"/>
                    <a:gd name="T48" fmla="*/ 165 w 174"/>
                    <a:gd name="T49" fmla="*/ 54 h 232"/>
                    <a:gd name="T50" fmla="*/ 156 w 174"/>
                    <a:gd name="T51" fmla="*/ 63 h 232"/>
                    <a:gd name="T52" fmla="*/ 134 w 174"/>
                    <a:gd name="T53" fmla="*/ 54 h 232"/>
                    <a:gd name="T54" fmla="*/ 134 w 174"/>
                    <a:gd name="T55" fmla="*/ 45 h 232"/>
                    <a:gd name="T56" fmla="*/ 129 w 174"/>
                    <a:gd name="T57" fmla="*/ 36 h 232"/>
                    <a:gd name="T58" fmla="*/ 125 w 174"/>
                    <a:gd name="T59" fmla="*/ 36 h 232"/>
                    <a:gd name="T60" fmla="*/ 125 w 174"/>
                    <a:gd name="T61" fmla="*/ 49 h 232"/>
                    <a:gd name="T62" fmla="*/ 120 w 174"/>
                    <a:gd name="T63" fmla="*/ 36 h 232"/>
                    <a:gd name="T64" fmla="*/ 112 w 174"/>
                    <a:gd name="T65" fmla="*/ 13 h 232"/>
                    <a:gd name="T66" fmla="*/ 98 w 174"/>
                    <a:gd name="T67" fmla="*/ 4 h 232"/>
                    <a:gd name="T68" fmla="*/ 89 w 174"/>
                    <a:gd name="T69" fmla="*/ 0 h 232"/>
                    <a:gd name="T70" fmla="*/ 89 w 174"/>
                    <a:gd name="T71" fmla="*/ 9 h 232"/>
                    <a:gd name="T72" fmla="*/ 107 w 174"/>
                    <a:gd name="T73" fmla="*/ 36 h 232"/>
                    <a:gd name="T74" fmla="*/ 116 w 174"/>
                    <a:gd name="T75" fmla="*/ 54 h 232"/>
                    <a:gd name="T76" fmla="*/ 112 w 174"/>
                    <a:gd name="T77" fmla="*/ 80 h 232"/>
                    <a:gd name="T78" fmla="*/ 103 w 174"/>
                    <a:gd name="T79" fmla="*/ 80 h 232"/>
                    <a:gd name="T80" fmla="*/ 103 w 174"/>
                    <a:gd name="T81" fmla="*/ 85 h 232"/>
                    <a:gd name="T82" fmla="*/ 120 w 174"/>
                    <a:gd name="T83" fmla="*/ 103 h 232"/>
                    <a:gd name="T84" fmla="*/ 116 w 174"/>
                    <a:gd name="T85" fmla="*/ 121 h 232"/>
                    <a:gd name="T86" fmla="*/ 112 w 174"/>
                    <a:gd name="T87" fmla="*/ 130 h 232"/>
                    <a:gd name="T88" fmla="*/ 125 w 174"/>
                    <a:gd name="T89" fmla="*/ 134 h 232"/>
                    <a:gd name="T90" fmla="*/ 152 w 174"/>
                    <a:gd name="T91" fmla="*/ 94 h 232"/>
                    <a:gd name="T92" fmla="*/ 147 w 174"/>
                    <a:gd name="T93" fmla="*/ 89 h 232"/>
                    <a:gd name="T94" fmla="*/ 161 w 174"/>
                    <a:gd name="T95" fmla="*/ 85 h 232"/>
                    <a:gd name="T96" fmla="*/ 165 w 174"/>
                    <a:gd name="T97" fmla="*/ 89 h 232"/>
                    <a:gd name="T98" fmla="*/ 165 w 174"/>
                    <a:gd name="T99" fmla="*/ 80 h 232"/>
                    <a:gd name="T100" fmla="*/ 170 w 174"/>
                    <a:gd name="T101" fmla="*/ 76 h 232"/>
                    <a:gd name="T102" fmla="*/ 174 w 174"/>
                    <a:gd name="T103" fmla="*/ 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4" h="232">
                      <a:moveTo>
                        <a:pt x="85" y="107"/>
                      </a:moveTo>
                      <a:lnTo>
                        <a:pt x="76" y="116"/>
                      </a:lnTo>
                      <a:lnTo>
                        <a:pt x="76" y="130"/>
                      </a:lnTo>
                      <a:lnTo>
                        <a:pt x="71" y="130"/>
                      </a:lnTo>
                      <a:lnTo>
                        <a:pt x="62" y="156"/>
                      </a:lnTo>
                      <a:lnTo>
                        <a:pt x="27" y="179"/>
                      </a:lnTo>
                      <a:lnTo>
                        <a:pt x="0" y="206"/>
                      </a:lnTo>
                      <a:lnTo>
                        <a:pt x="0" y="219"/>
                      </a:lnTo>
                      <a:lnTo>
                        <a:pt x="4" y="223"/>
                      </a:lnTo>
                      <a:lnTo>
                        <a:pt x="18" y="223"/>
                      </a:lnTo>
                      <a:lnTo>
                        <a:pt x="40" y="232"/>
                      </a:lnTo>
                      <a:lnTo>
                        <a:pt x="49" y="228"/>
                      </a:lnTo>
                      <a:lnTo>
                        <a:pt x="62" y="219"/>
                      </a:lnTo>
                      <a:lnTo>
                        <a:pt x="71" y="179"/>
                      </a:lnTo>
                      <a:lnTo>
                        <a:pt x="94" y="170"/>
                      </a:lnTo>
                      <a:lnTo>
                        <a:pt x="89" y="156"/>
                      </a:lnTo>
                      <a:lnTo>
                        <a:pt x="98" y="152"/>
                      </a:lnTo>
                      <a:lnTo>
                        <a:pt x="107" y="130"/>
                      </a:lnTo>
                      <a:lnTo>
                        <a:pt x="103" y="121"/>
                      </a:lnTo>
                      <a:lnTo>
                        <a:pt x="98" y="125"/>
                      </a:lnTo>
                      <a:lnTo>
                        <a:pt x="85" y="112"/>
                      </a:lnTo>
                      <a:lnTo>
                        <a:pt x="94" y="107"/>
                      </a:lnTo>
                      <a:lnTo>
                        <a:pt x="85" y="107"/>
                      </a:lnTo>
                      <a:close/>
                      <a:moveTo>
                        <a:pt x="174" y="54"/>
                      </a:moveTo>
                      <a:lnTo>
                        <a:pt x="165" y="54"/>
                      </a:lnTo>
                      <a:lnTo>
                        <a:pt x="156" y="63"/>
                      </a:lnTo>
                      <a:lnTo>
                        <a:pt x="134" y="54"/>
                      </a:lnTo>
                      <a:lnTo>
                        <a:pt x="134" y="45"/>
                      </a:lnTo>
                      <a:lnTo>
                        <a:pt x="129" y="36"/>
                      </a:lnTo>
                      <a:lnTo>
                        <a:pt x="125" y="36"/>
                      </a:lnTo>
                      <a:lnTo>
                        <a:pt x="125" y="49"/>
                      </a:lnTo>
                      <a:lnTo>
                        <a:pt x="120" y="36"/>
                      </a:lnTo>
                      <a:lnTo>
                        <a:pt x="112" y="13"/>
                      </a:lnTo>
                      <a:lnTo>
                        <a:pt x="98" y="4"/>
                      </a:lnTo>
                      <a:lnTo>
                        <a:pt x="89" y="0"/>
                      </a:lnTo>
                      <a:lnTo>
                        <a:pt x="89" y="9"/>
                      </a:lnTo>
                      <a:lnTo>
                        <a:pt x="107" y="36"/>
                      </a:lnTo>
                      <a:lnTo>
                        <a:pt x="116" y="54"/>
                      </a:lnTo>
                      <a:lnTo>
                        <a:pt x="112" y="80"/>
                      </a:lnTo>
                      <a:lnTo>
                        <a:pt x="103" y="80"/>
                      </a:lnTo>
                      <a:lnTo>
                        <a:pt x="103" y="85"/>
                      </a:lnTo>
                      <a:lnTo>
                        <a:pt x="120" y="103"/>
                      </a:lnTo>
                      <a:lnTo>
                        <a:pt x="116" y="121"/>
                      </a:lnTo>
                      <a:lnTo>
                        <a:pt x="112" y="130"/>
                      </a:lnTo>
                      <a:lnTo>
                        <a:pt x="125" y="134"/>
                      </a:lnTo>
                      <a:lnTo>
                        <a:pt x="152" y="94"/>
                      </a:lnTo>
                      <a:lnTo>
                        <a:pt x="147" y="89"/>
                      </a:lnTo>
                      <a:lnTo>
                        <a:pt x="161" y="85"/>
                      </a:lnTo>
                      <a:lnTo>
                        <a:pt x="165" y="89"/>
                      </a:lnTo>
                      <a:lnTo>
                        <a:pt x="165" y="80"/>
                      </a:lnTo>
                      <a:lnTo>
                        <a:pt x="170" y="76"/>
                      </a:lnTo>
                      <a:lnTo>
                        <a:pt x="174" y="5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72" name="Freeform 168">
                  <a:extLst>
                    <a:ext uri="{FF2B5EF4-FFF2-40B4-BE49-F238E27FC236}">
                      <a16:creationId xmlns:a16="http://schemas.microsoft.com/office/drawing/2014/main" id="{7771559A-B338-430E-8F50-9C94F7687A75}"/>
                    </a:ext>
                  </a:extLst>
                </p:cNvPr>
                <p:cNvSpPr>
                  <a:spLocks noEditPoints="1"/>
                </p:cNvSpPr>
                <p:nvPr/>
              </p:nvSpPr>
              <p:spPr bwMode="gray">
                <a:xfrm>
                  <a:off x="5336" y="3070"/>
                  <a:ext cx="36" cy="40"/>
                </a:xfrm>
                <a:custGeom>
                  <a:avLst/>
                  <a:gdLst>
                    <a:gd name="T0" fmla="*/ 0 w 36"/>
                    <a:gd name="T1" fmla="*/ 40 h 40"/>
                    <a:gd name="T2" fmla="*/ 4 w 36"/>
                    <a:gd name="T3" fmla="*/ 40 h 40"/>
                    <a:gd name="T4" fmla="*/ 4 w 36"/>
                    <a:gd name="T5" fmla="*/ 40 h 40"/>
                    <a:gd name="T6" fmla="*/ 0 w 36"/>
                    <a:gd name="T7" fmla="*/ 40 h 40"/>
                    <a:gd name="T8" fmla="*/ 18 w 36"/>
                    <a:gd name="T9" fmla="*/ 27 h 40"/>
                    <a:gd name="T10" fmla="*/ 18 w 36"/>
                    <a:gd name="T11" fmla="*/ 31 h 40"/>
                    <a:gd name="T12" fmla="*/ 22 w 36"/>
                    <a:gd name="T13" fmla="*/ 27 h 40"/>
                    <a:gd name="T14" fmla="*/ 18 w 36"/>
                    <a:gd name="T15" fmla="*/ 27 h 40"/>
                    <a:gd name="T16" fmla="*/ 18 w 36"/>
                    <a:gd name="T17" fmla="*/ 13 h 40"/>
                    <a:gd name="T18" fmla="*/ 18 w 36"/>
                    <a:gd name="T19" fmla="*/ 18 h 40"/>
                    <a:gd name="T20" fmla="*/ 22 w 36"/>
                    <a:gd name="T21" fmla="*/ 13 h 40"/>
                    <a:gd name="T22" fmla="*/ 18 w 36"/>
                    <a:gd name="T23" fmla="*/ 13 h 40"/>
                    <a:gd name="T24" fmla="*/ 31 w 36"/>
                    <a:gd name="T25" fmla="*/ 13 h 40"/>
                    <a:gd name="T26" fmla="*/ 31 w 36"/>
                    <a:gd name="T27" fmla="*/ 13 h 40"/>
                    <a:gd name="T28" fmla="*/ 31 w 36"/>
                    <a:gd name="T29" fmla="*/ 13 h 40"/>
                    <a:gd name="T30" fmla="*/ 31 w 36"/>
                    <a:gd name="T31" fmla="*/ 13 h 40"/>
                    <a:gd name="T32" fmla="*/ 36 w 36"/>
                    <a:gd name="T33" fmla="*/ 0 h 40"/>
                    <a:gd name="T34" fmla="*/ 36 w 36"/>
                    <a:gd name="T35" fmla="*/ 0 h 40"/>
                    <a:gd name="T36" fmla="*/ 36 w 36"/>
                    <a:gd name="T37" fmla="*/ 0 h 40"/>
                    <a:gd name="T38" fmla="*/ 36 w 36"/>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40">
                      <a:moveTo>
                        <a:pt x="0" y="40"/>
                      </a:moveTo>
                      <a:lnTo>
                        <a:pt x="4" y="40"/>
                      </a:lnTo>
                      <a:lnTo>
                        <a:pt x="4" y="40"/>
                      </a:lnTo>
                      <a:lnTo>
                        <a:pt x="0" y="40"/>
                      </a:lnTo>
                      <a:close/>
                      <a:moveTo>
                        <a:pt x="18" y="27"/>
                      </a:moveTo>
                      <a:lnTo>
                        <a:pt x="18" y="31"/>
                      </a:lnTo>
                      <a:lnTo>
                        <a:pt x="22" y="27"/>
                      </a:lnTo>
                      <a:lnTo>
                        <a:pt x="18" y="27"/>
                      </a:lnTo>
                      <a:close/>
                      <a:moveTo>
                        <a:pt x="18" y="13"/>
                      </a:moveTo>
                      <a:lnTo>
                        <a:pt x="18" y="18"/>
                      </a:lnTo>
                      <a:lnTo>
                        <a:pt x="22" y="13"/>
                      </a:lnTo>
                      <a:lnTo>
                        <a:pt x="18" y="13"/>
                      </a:lnTo>
                      <a:close/>
                      <a:moveTo>
                        <a:pt x="31" y="13"/>
                      </a:moveTo>
                      <a:lnTo>
                        <a:pt x="31" y="13"/>
                      </a:lnTo>
                      <a:lnTo>
                        <a:pt x="31" y="13"/>
                      </a:lnTo>
                      <a:lnTo>
                        <a:pt x="31" y="13"/>
                      </a:lnTo>
                      <a:close/>
                      <a:moveTo>
                        <a:pt x="36" y="0"/>
                      </a:moveTo>
                      <a:lnTo>
                        <a:pt x="36" y="0"/>
                      </a:lnTo>
                      <a:lnTo>
                        <a:pt x="36" y="0"/>
                      </a:lnTo>
                      <a:lnTo>
                        <a:pt x="36"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grpSp>
          <p:grpSp>
            <p:nvGrpSpPr>
              <p:cNvPr id="29" name="Group 169">
                <a:extLst>
                  <a:ext uri="{FF2B5EF4-FFF2-40B4-BE49-F238E27FC236}">
                    <a16:creationId xmlns:a16="http://schemas.microsoft.com/office/drawing/2014/main" id="{F53956A5-DF00-49D2-A86E-77DEC88316F7}"/>
                  </a:ext>
                </a:extLst>
              </p:cNvPr>
              <p:cNvGrpSpPr>
                <a:grpSpLocks/>
              </p:cNvGrpSpPr>
              <p:nvPr/>
            </p:nvGrpSpPr>
            <p:grpSpPr bwMode="gray">
              <a:xfrm>
                <a:off x="3709991" y="1977983"/>
                <a:ext cx="1504831" cy="1647106"/>
                <a:chOff x="2379" y="1273"/>
                <a:chExt cx="992" cy="1086"/>
              </a:xfrm>
              <a:grpFill/>
            </p:grpSpPr>
            <p:sp>
              <p:nvSpPr>
                <p:cNvPr id="30" name="Freeform 170">
                  <a:extLst>
                    <a:ext uri="{FF2B5EF4-FFF2-40B4-BE49-F238E27FC236}">
                      <a16:creationId xmlns:a16="http://schemas.microsoft.com/office/drawing/2014/main" id="{CB205D84-315F-4011-9127-41C097DD0AFC}"/>
                    </a:ext>
                  </a:extLst>
                </p:cNvPr>
                <p:cNvSpPr>
                  <a:spLocks/>
                </p:cNvSpPr>
                <p:nvPr/>
              </p:nvSpPr>
              <p:spPr bwMode="gray">
                <a:xfrm>
                  <a:off x="3004" y="2091"/>
                  <a:ext cx="27" cy="63"/>
                </a:xfrm>
                <a:custGeom>
                  <a:avLst/>
                  <a:gdLst>
                    <a:gd name="T0" fmla="*/ 0 w 27"/>
                    <a:gd name="T1" fmla="*/ 13 h 63"/>
                    <a:gd name="T2" fmla="*/ 5 w 27"/>
                    <a:gd name="T3" fmla="*/ 13 h 63"/>
                    <a:gd name="T4" fmla="*/ 0 w 27"/>
                    <a:gd name="T5" fmla="*/ 18 h 63"/>
                    <a:gd name="T6" fmla="*/ 0 w 27"/>
                    <a:gd name="T7" fmla="*/ 36 h 63"/>
                    <a:gd name="T8" fmla="*/ 0 w 27"/>
                    <a:gd name="T9" fmla="*/ 40 h 63"/>
                    <a:gd name="T10" fmla="*/ 0 w 27"/>
                    <a:gd name="T11" fmla="*/ 45 h 63"/>
                    <a:gd name="T12" fmla="*/ 5 w 27"/>
                    <a:gd name="T13" fmla="*/ 54 h 63"/>
                    <a:gd name="T14" fmla="*/ 5 w 27"/>
                    <a:gd name="T15" fmla="*/ 58 h 63"/>
                    <a:gd name="T16" fmla="*/ 9 w 27"/>
                    <a:gd name="T17" fmla="*/ 63 h 63"/>
                    <a:gd name="T18" fmla="*/ 14 w 27"/>
                    <a:gd name="T19" fmla="*/ 63 h 63"/>
                    <a:gd name="T20" fmla="*/ 14 w 27"/>
                    <a:gd name="T21" fmla="*/ 54 h 63"/>
                    <a:gd name="T22" fmla="*/ 27 w 27"/>
                    <a:gd name="T23" fmla="*/ 40 h 63"/>
                    <a:gd name="T24" fmla="*/ 18 w 27"/>
                    <a:gd name="T25" fmla="*/ 36 h 63"/>
                    <a:gd name="T26" fmla="*/ 18 w 27"/>
                    <a:gd name="T27" fmla="*/ 13 h 63"/>
                    <a:gd name="T28" fmla="*/ 14 w 27"/>
                    <a:gd name="T29" fmla="*/ 13 h 63"/>
                    <a:gd name="T30" fmla="*/ 14 w 27"/>
                    <a:gd name="T31" fmla="*/ 5 h 63"/>
                    <a:gd name="T32" fmla="*/ 5 w 27"/>
                    <a:gd name="T33" fmla="*/ 0 h 63"/>
                    <a:gd name="T34" fmla="*/ 0 w 27"/>
                    <a:gd name="T35"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63">
                      <a:moveTo>
                        <a:pt x="0" y="13"/>
                      </a:moveTo>
                      <a:lnTo>
                        <a:pt x="5" y="13"/>
                      </a:lnTo>
                      <a:lnTo>
                        <a:pt x="0" y="18"/>
                      </a:lnTo>
                      <a:lnTo>
                        <a:pt x="0" y="36"/>
                      </a:lnTo>
                      <a:lnTo>
                        <a:pt x="0" y="40"/>
                      </a:lnTo>
                      <a:lnTo>
                        <a:pt x="0" y="45"/>
                      </a:lnTo>
                      <a:lnTo>
                        <a:pt x="5" y="54"/>
                      </a:lnTo>
                      <a:lnTo>
                        <a:pt x="5" y="58"/>
                      </a:lnTo>
                      <a:lnTo>
                        <a:pt x="9" y="63"/>
                      </a:lnTo>
                      <a:lnTo>
                        <a:pt x="14" y="63"/>
                      </a:lnTo>
                      <a:lnTo>
                        <a:pt x="14" y="54"/>
                      </a:lnTo>
                      <a:lnTo>
                        <a:pt x="27" y="40"/>
                      </a:lnTo>
                      <a:lnTo>
                        <a:pt x="18" y="36"/>
                      </a:lnTo>
                      <a:lnTo>
                        <a:pt x="18" y="13"/>
                      </a:lnTo>
                      <a:lnTo>
                        <a:pt x="14" y="13"/>
                      </a:lnTo>
                      <a:lnTo>
                        <a:pt x="14" y="5"/>
                      </a:lnTo>
                      <a:lnTo>
                        <a:pt x="5" y="0"/>
                      </a:lnTo>
                      <a:lnTo>
                        <a:pt x="0" y="13"/>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31" name="Freeform 171">
                  <a:extLst>
                    <a:ext uri="{FF2B5EF4-FFF2-40B4-BE49-F238E27FC236}">
                      <a16:creationId xmlns:a16="http://schemas.microsoft.com/office/drawing/2014/main" id="{19F6166D-9B9A-4AF0-92B5-A6B577B1E999}"/>
                    </a:ext>
                  </a:extLst>
                </p:cNvPr>
                <p:cNvSpPr>
                  <a:spLocks/>
                </p:cNvSpPr>
                <p:nvPr/>
              </p:nvSpPr>
              <p:spPr bwMode="gray">
                <a:xfrm>
                  <a:off x="2866" y="1957"/>
                  <a:ext cx="107" cy="58"/>
                </a:xfrm>
                <a:custGeom>
                  <a:avLst/>
                  <a:gdLst>
                    <a:gd name="T0" fmla="*/ 0 w 107"/>
                    <a:gd name="T1" fmla="*/ 31 h 58"/>
                    <a:gd name="T2" fmla="*/ 0 w 107"/>
                    <a:gd name="T3" fmla="*/ 45 h 58"/>
                    <a:gd name="T4" fmla="*/ 0 w 107"/>
                    <a:gd name="T5" fmla="*/ 49 h 58"/>
                    <a:gd name="T6" fmla="*/ 9 w 107"/>
                    <a:gd name="T7" fmla="*/ 45 h 58"/>
                    <a:gd name="T8" fmla="*/ 9 w 107"/>
                    <a:gd name="T9" fmla="*/ 49 h 58"/>
                    <a:gd name="T10" fmla="*/ 18 w 107"/>
                    <a:gd name="T11" fmla="*/ 49 h 58"/>
                    <a:gd name="T12" fmla="*/ 22 w 107"/>
                    <a:gd name="T13" fmla="*/ 45 h 58"/>
                    <a:gd name="T14" fmla="*/ 36 w 107"/>
                    <a:gd name="T15" fmla="*/ 45 h 58"/>
                    <a:gd name="T16" fmla="*/ 40 w 107"/>
                    <a:gd name="T17" fmla="*/ 54 h 58"/>
                    <a:gd name="T18" fmla="*/ 54 w 107"/>
                    <a:gd name="T19" fmla="*/ 58 h 58"/>
                    <a:gd name="T20" fmla="*/ 67 w 107"/>
                    <a:gd name="T21" fmla="*/ 58 h 58"/>
                    <a:gd name="T22" fmla="*/ 76 w 107"/>
                    <a:gd name="T23" fmla="*/ 54 h 58"/>
                    <a:gd name="T24" fmla="*/ 89 w 107"/>
                    <a:gd name="T25" fmla="*/ 49 h 58"/>
                    <a:gd name="T26" fmla="*/ 94 w 107"/>
                    <a:gd name="T27" fmla="*/ 45 h 58"/>
                    <a:gd name="T28" fmla="*/ 94 w 107"/>
                    <a:gd name="T29" fmla="*/ 40 h 58"/>
                    <a:gd name="T30" fmla="*/ 94 w 107"/>
                    <a:gd name="T31" fmla="*/ 36 h 58"/>
                    <a:gd name="T32" fmla="*/ 94 w 107"/>
                    <a:gd name="T33" fmla="*/ 31 h 58"/>
                    <a:gd name="T34" fmla="*/ 103 w 107"/>
                    <a:gd name="T35" fmla="*/ 31 h 58"/>
                    <a:gd name="T36" fmla="*/ 107 w 107"/>
                    <a:gd name="T37" fmla="*/ 22 h 58"/>
                    <a:gd name="T38" fmla="*/ 107 w 107"/>
                    <a:gd name="T39" fmla="*/ 18 h 58"/>
                    <a:gd name="T40" fmla="*/ 107 w 107"/>
                    <a:gd name="T41" fmla="*/ 13 h 58"/>
                    <a:gd name="T42" fmla="*/ 103 w 107"/>
                    <a:gd name="T43" fmla="*/ 13 h 58"/>
                    <a:gd name="T44" fmla="*/ 98 w 107"/>
                    <a:gd name="T45" fmla="*/ 13 h 58"/>
                    <a:gd name="T46" fmla="*/ 98 w 107"/>
                    <a:gd name="T47" fmla="*/ 4 h 58"/>
                    <a:gd name="T48" fmla="*/ 76 w 107"/>
                    <a:gd name="T49" fmla="*/ 0 h 58"/>
                    <a:gd name="T50" fmla="*/ 67 w 107"/>
                    <a:gd name="T51" fmla="*/ 9 h 58"/>
                    <a:gd name="T52" fmla="*/ 58 w 107"/>
                    <a:gd name="T53" fmla="*/ 9 h 58"/>
                    <a:gd name="T54" fmla="*/ 54 w 107"/>
                    <a:gd name="T55" fmla="*/ 13 h 58"/>
                    <a:gd name="T56" fmla="*/ 45 w 107"/>
                    <a:gd name="T57" fmla="*/ 18 h 58"/>
                    <a:gd name="T58" fmla="*/ 40 w 107"/>
                    <a:gd name="T59" fmla="*/ 22 h 58"/>
                    <a:gd name="T60" fmla="*/ 49 w 107"/>
                    <a:gd name="T61" fmla="*/ 27 h 58"/>
                    <a:gd name="T62" fmla="*/ 45 w 107"/>
                    <a:gd name="T63" fmla="*/ 36 h 58"/>
                    <a:gd name="T64" fmla="*/ 40 w 107"/>
                    <a:gd name="T65" fmla="*/ 31 h 58"/>
                    <a:gd name="T66" fmla="*/ 22 w 107"/>
                    <a:gd name="T67" fmla="*/ 36 h 58"/>
                    <a:gd name="T68" fmla="*/ 0 w 107"/>
                    <a:gd name="T69" fmla="*/ 3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58">
                      <a:moveTo>
                        <a:pt x="0" y="31"/>
                      </a:moveTo>
                      <a:lnTo>
                        <a:pt x="0" y="45"/>
                      </a:lnTo>
                      <a:lnTo>
                        <a:pt x="0" y="49"/>
                      </a:lnTo>
                      <a:lnTo>
                        <a:pt x="9" y="45"/>
                      </a:lnTo>
                      <a:lnTo>
                        <a:pt x="9" y="49"/>
                      </a:lnTo>
                      <a:lnTo>
                        <a:pt x="18" y="49"/>
                      </a:lnTo>
                      <a:lnTo>
                        <a:pt x="22" y="45"/>
                      </a:lnTo>
                      <a:lnTo>
                        <a:pt x="36" y="45"/>
                      </a:lnTo>
                      <a:lnTo>
                        <a:pt x="40" y="54"/>
                      </a:lnTo>
                      <a:lnTo>
                        <a:pt x="54" y="58"/>
                      </a:lnTo>
                      <a:lnTo>
                        <a:pt x="67" y="58"/>
                      </a:lnTo>
                      <a:lnTo>
                        <a:pt x="76" y="54"/>
                      </a:lnTo>
                      <a:lnTo>
                        <a:pt x="89" y="49"/>
                      </a:lnTo>
                      <a:lnTo>
                        <a:pt x="94" y="45"/>
                      </a:lnTo>
                      <a:lnTo>
                        <a:pt x="94" y="40"/>
                      </a:lnTo>
                      <a:lnTo>
                        <a:pt x="94" y="36"/>
                      </a:lnTo>
                      <a:lnTo>
                        <a:pt x="94" y="31"/>
                      </a:lnTo>
                      <a:lnTo>
                        <a:pt x="103" y="31"/>
                      </a:lnTo>
                      <a:lnTo>
                        <a:pt x="107" y="22"/>
                      </a:lnTo>
                      <a:lnTo>
                        <a:pt x="107" y="18"/>
                      </a:lnTo>
                      <a:lnTo>
                        <a:pt x="107" y="13"/>
                      </a:lnTo>
                      <a:lnTo>
                        <a:pt x="103" y="13"/>
                      </a:lnTo>
                      <a:lnTo>
                        <a:pt x="98" y="13"/>
                      </a:lnTo>
                      <a:lnTo>
                        <a:pt x="98" y="4"/>
                      </a:lnTo>
                      <a:lnTo>
                        <a:pt x="76" y="0"/>
                      </a:lnTo>
                      <a:lnTo>
                        <a:pt x="67" y="9"/>
                      </a:lnTo>
                      <a:lnTo>
                        <a:pt x="58" y="9"/>
                      </a:lnTo>
                      <a:lnTo>
                        <a:pt x="54" y="13"/>
                      </a:lnTo>
                      <a:lnTo>
                        <a:pt x="45" y="18"/>
                      </a:lnTo>
                      <a:lnTo>
                        <a:pt x="40" y="22"/>
                      </a:lnTo>
                      <a:lnTo>
                        <a:pt x="49" y="27"/>
                      </a:lnTo>
                      <a:lnTo>
                        <a:pt x="45" y="36"/>
                      </a:lnTo>
                      <a:lnTo>
                        <a:pt x="40" y="31"/>
                      </a:lnTo>
                      <a:lnTo>
                        <a:pt x="22" y="36"/>
                      </a:lnTo>
                      <a:lnTo>
                        <a:pt x="0" y="31"/>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32" name="Freeform 172">
                  <a:extLst>
                    <a:ext uri="{FF2B5EF4-FFF2-40B4-BE49-F238E27FC236}">
                      <a16:creationId xmlns:a16="http://schemas.microsoft.com/office/drawing/2014/main" id="{43015A1C-1432-47D6-BC41-80B12843C660}"/>
                    </a:ext>
                  </a:extLst>
                </p:cNvPr>
                <p:cNvSpPr>
                  <a:spLocks/>
                </p:cNvSpPr>
                <p:nvPr/>
              </p:nvSpPr>
              <p:spPr bwMode="gray">
                <a:xfrm>
                  <a:off x="2763" y="1899"/>
                  <a:ext cx="58" cy="49"/>
                </a:xfrm>
                <a:custGeom>
                  <a:avLst/>
                  <a:gdLst>
                    <a:gd name="T0" fmla="*/ 0 w 58"/>
                    <a:gd name="T1" fmla="*/ 9 h 49"/>
                    <a:gd name="T2" fmla="*/ 9 w 58"/>
                    <a:gd name="T3" fmla="*/ 22 h 49"/>
                    <a:gd name="T4" fmla="*/ 14 w 58"/>
                    <a:gd name="T5" fmla="*/ 22 h 49"/>
                    <a:gd name="T6" fmla="*/ 18 w 58"/>
                    <a:gd name="T7" fmla="*/ 27 h 49"/>
                    <a:gd name="T8" fmla="*/ 23 w 58"/>
                    <a:gd name="T9" fmla="*/ 27 h 49"/>
                    <a:gd name="T10" fmla="*/ 23 w 58"/>
                    <a:gd name="T11" fmla="*/ 36 h 49"/>
                    <a:gd name="T12" fmla="*/ 27 w 58"/>
                    <a:gd name="T13" fmla="*/ 36 h 49"/>
                    <a:gd name="T14" fmla="*/ 36 w 58"/>
                    <a:gd name="T15" fmla="*/ 31 h 49"/>
                    <a:gd name="T16" fmla="*/ 32 w 58"/>
                    <a:gd name="T17" fmla="*/ 40 h 49"/>
                    <a:gd name="T18" fmla="*/ 40 w 58"/>
                    <a:gd name="T19" fmla="*/ 45 h 49"/>
                    <a:gd name="T20" fmla="*/ 45 w 58"/>
                    <a:gd name="T21" fmla="*/ 49 h 49"/>
                    <a:gd name="T22" fmla="*/ 49 w 58"/>
                    <a:gd name="T23" fmla="*/ 49 h 49"/>
                    <a:gd name="T24" fmla="*/ 49 w 58"/>
                    <a:gd name="T25" fmla="*/ 45 h 49"/>
                    <a:gd name="T26" fmla="*/ 49 w 58"/>
                    <a:gd name="T27" fmla="*/ 36 h 49"/>
                    <a:gd name="T28" fmla="*/ 54 w 58"/>
                    <a:gd name="T29" fmla="*/ 36 h 49"/>
                    <a:gd name="T30" fmla="*/ 58 w 58"/>
                    <a:gd name="T31" fmla="*/ 27 h 49"/>
                    <a:gd name="T32" fmla="*/ 54 w 58"/>
                    <a:gd name="T33" fmla="*/ 18 h 49"/>
                    <a:gd name="T34" fmla="*/ 49 w 58"/>
                    <a:gd name="T35" fmla="*/ 18 h 49"/>
                    <a:gd name="T36" fmla="*/ 49 w 58"/>
                    <a:gd name="T37" fmla="*/ 13 h 49"/>
                    <a:gd name="T38" fmla="*/ 45 w 58"/>
                    <a:gd name="T39" fmla="*/ 9 h 49"/>
                    <a:gd name="T40" fmla="*/ 36 w 58"/>
                    <a:gd name="T41" fmla="*/ 9 h 49"/>
                    <a:gd name="T42" fmla="*/ 27 w 58"/>
                    <a:gd name="T43" fmla="*/ 0 h 49"/>
                    <a:gd name="T44" fmla="*/ 23 w 58"/>
                    <a:gd name="T45" fmla="*/ 9 h 49"/>
                    <a:gd name="T46" fmla="*/ 18 w 58"/>
                    <a:gd name="T47" fmla="*/ 9 h 49"/>
                    <a:gd name="T48" fmla="*/ 9 w 58"/>
                    <a:gd name="T49" fmla="*/ 9 h 49"/>
                    <a:gd name="T50" fmla="*/ 9 w 58"/>
                    <a:gd name="T51" fmla="*/ 4 h 49"/>
                    <a:gd name="T52" fmla="*/ 5 w 58"/>
                    <a:gd name="T53" fmla="*/ 4 h 49"/>
                    <a:gd name="T54" fmla="*/ 0 w 58"/>
                    <a:gd name="T55"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 h="49">
                      <a:moveTo>
                        <a:pt x="0" y="9"/>
                      </a:moveTo>
                      <a:lnTo>
                        <a:pt x="9" y="22"/>
                      </a:lnTo>
                      <a:lnTo>
                        <a:pt x="14" y="22"/>
                      </a:lnTo>
                      <a:lnTo>
                        <a:pt x="18" y="27"/>
                      </a:lnTo>
                      <a:lnTo>
                        <a:pt x="23" y="27"/>
                      </a:lnTo>
                      <a:lnTo>
                        <a:pt x="23" y="36"/>
                      </a:lnTo>
                      <a:lnTo>
                        <a:pt x="27" y="36"/>
                      </a:lnTo>
                      <a:lnTo>
                        <a:pt x="36" y="31"/>
                      </a:lnTo>
                      <a:lnTo>
                        <a:pt x="32" y="40"/>
                      </a:lnTo>
                      <a:lnTo>
                        <a:pt x="40" y="45"/>
                      </a:lnTo>
                      <a:lnTo>
                        <a:pt x="45" y="49"/>
                      </a:lnTo>
                      <a:lnTo>
                        <a:pt x="49" y="49"/>
                      </a:lnTo>
                      <a:lnTo>
                        <a:pt x="49" y="45"/>
                      </a:lnTo>
                      <a:lnTo>
                        <a:pt x="49" y="36"/>
                      </a:lnTo>
                      <a:lnTo>
                        <a:pt x="54" y="36"/>
                      </a:lnTo>
                      <a:lnTo>
                        <a:pt x="58" y="27"/>
                      </a:lnTo>
                      <a:lnTo>
                        <a:pt x="54" y="18"/>
                      </a:lnTo>
                      <a:lnTo>
                        <a:pt x="49" y="18"/>
                      </a:lnTo>
                      <a:lnTo>
                        <a:pt x="49" y="13"/>
                      </a:lnTo>
                      <a:lnTo>
                        <a:pt x="45" y="9"/>
                      </a:lnTo>
                      <a:lnTo>
                        <a:pt x="36" y="9"/>
                      </a:lnTo>
                      <a:lnTo>
                        <a:pt x="27" y="0"/>
                      </a:lnTo>
                      <a:lnTo>
                        <a:pt x="23" y="9"/>
                      </a:lnTo>
                      <a:lnTo>
                        <a:pt x="18" y="9"/>
                      </a:lnTo>
                      <a:lnTo>
                        <a:pt x="9" y="9"/>
                      </a:lnTo>
                      <a:lnTo>
                        <a:pt x="9" y="4"/>
                      </a:lnTo>
                      <a:lnTo>
                        <a:pt x="5" y="4"/>
                      </a:lnTo>
                      <a:lnTo>
                        <a:pt x="0" y="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33" name="Freeform 173">
                  <a:extLst>
                    <a:ext uri="{FF2B5EF4-FFF2-40B4-BE49-F238E27FC236}">
                      <a16:creationId xmlns:a16="http://schemas.microsoft.com/office/drawing/2014/main" id="{356BDA8E-F49E-4745-A652-A150C748EFF9}"/>
                    </a:ext>
                  </a:extLst>
                </p:cNvPr>
                <p:cNvSpPr>
                  <a:spLocks/>
                </p:cNvSpPr>
                <p:nvPr/>
              </p:nvSpPr>
              <p:spPr bwMode="gray">
                <a:xfrm>
                  <a:off x="2946" y="2037"/>
                  <a:ext cx="58" cy="50"/>
                </a:xfrm>
                <a:custGeom>
                  <a:avLst/>
                  <a:gdLst>
                    <a:gd name="T0" fmla="*/ 32 w 58"/>
                    <a:gd name="T1" fmla="*/ 45 h 50"/>
                    <a:gd name="T2" fmla="*/ 32 w 58"/>
                    <a:gd name="T3" fmla="*/ 45 h 50"/>
                    <a:gd name="T4" fmla="*/ 36 w 58"/>
                    <a:gd name="T5" fmla="*/ 45 h 50"/>
                    <a:gd name="T6" fmla="*/ 45 w 58"/>
                    <a:gd name="T7" fmla="*/ 50 h 50"/>
                    <a:gd name="T8" fmla="*/ 45 w 58"/>
                    <a:gd name="T9" fmla="*/ 50 h 50"/>
                    <a:gd name="T10" fmla="*/ 45 w 58"/>
                    <a:gd name="T11" fmla="*/ 50 h 50"/>
                    <a:gd name="T12" fmla="*/ 45 w 58"/>
                    <a:gd name="T13" fmla="*/ 45 h 50"/>
                    <a:gd name="T14" fmla="*/ 45 w 58"/>
                    <a:gd name="T15" fmla="*/ 45 h 50"/>
                    <a:gd name="T16" fmla="*/ 45 w 58"/>
                    <a:gd name="T17" fmla="*/ 41 h 50"/>
                    <a:gd name="T18" fmla="*/ 50 w 58"/>
                    <a:gd name="T19" fmla="*/ 36 h 50"/>
                    <a:gd name="T20" fmla="*/ 50 w 58"/>
                    <a:gd name="T21" fmla="*/ 36 h 50"/>
                    <a:gd name="T22" fmla="*/ 50 w 58"/>
                    <a:gd name="T23" fmla="*/ 36 h 50"/>
                    <a:gd name="T24" fmla="*/ 50 w 58"/>
                    <a:gd name="T25" fmla="*/ 32 h 50"/>
                    <a:gd name="T26" fmla="*/ 54 w 58"/>
                    <a:gd name="T27" fmla="*/ 32 h 50"/>
                    <a:gd name="T28" fmla="*/ 58 w 58"/>
                    <a:gd name="T29" fmla="*/ 27 h 50"/>
                    <a:gd name="T30" fmla="*/ 54 w 58"/>
                    <a:gd name="T31" fmla="*/ 23 h 50"/>
                    <a:gd name="T32" fmla="*/ 58 w 58"/>
                    <a:gd name="T33" fmla="*/ 23 h 50"/>
                    <a:gd name="T34" fmla="*/ 58 w 58"/>
                    <a:gd name="T35" fmla="*/ 23 h 50"/>
                    <a:gd name="T36" fmla="*/ 50 w 58"/>
                    <a:gd name="T37" fmla="*/ 18 h 50"/>
                    <a:gd name="T38" fmla="*/ 50 w 58"/>
                    <a:gd name="T39" fmla="*/ 14 h 50"/>
                    <a:gd name="T40" fmla="*/ 54 w 58"/>
                    <a:gd name="T41" fmla="*/ 9 h 50"/>
                    <a:gd name="T42" fmla="*/ 54 w 58"/>
                    <a:gd name="T43" fmla="*/ 5 h 50"/>
                    <a:gd name="T44" fmla="*/ 50 w 58"/>
                    <a:gd name="T45" fmla="*/ 5 h 50"/>
                    <a:gd name="T46" fmla="*/ 45 w 58"/>
                    <a:gd name="T47" fmla="*/ 5 h 50"/>
                    <a:gd name="T48" fmla="*/ 45 w 58"/>
                    <a:gd name="T49" fmla="*/ 5 h 50"/>
                    <a:gd name="T50" fmla="*/ 41 w 58"/>
                    <a:gd name="T51" fmla="*/ 0 h 50"/>
                    <a:gd name="T52" fmla="*/ 36 w 58"/>
                    <a:gd name="T53" fmla="*/ 0 h 50"/>
                    <a:gd name="T54" fmla="*/ 32 w 58"/>
                    <a:gd name="T55" fmla="*/ 5 h 50"/>
                    <a:gd name="T56" fmla="*/ 23 w 58"/>
                    <a:gd name="T57" fmla="*/ 0 h 50"/>
                    <a:gd name="T58" fmla="*/ 18 w 58"/>
                    <a:gd name="T59" fmla="*/ 0 h 50"/>
                    <a:gd name="T60" fmla="*/ 18 w 58"/>
                    <a:gd name="T61" fmla="*/ 0 h 50"/>
                    <a:gd name="T62" fmla="*/ 14 w 58"/>
                    <a:gd name="T63" fmla="*/ 0 h 50"/>
                    <a:gd name="T64" fmla="*/ 9 w 58"/>
                    <a:gd name="T65" fmla="*/ 5 h 50"/>
                    <a:gd name="T66" fmla="*/ 5 w 58"/>
                    <a:gd name="T67" fmla="*/ 0 h 50"/>
                    <a:gd name="T68" fmla="*/ 5 w 58"/>
                    <a:gd name="T69" fmla="*/ 0 h 50"/>
                    <a:gd name="T70" fmla="*/ 0 w 58"/>
                    <a:gd name="T71" fmla="*/ 9 h 50"/>
                    <a:gd name="T72" fmla="*/ 5 w 58"/>
                    <a:gd name="T73" fmla="*/ 9 h 50"/>
                    <a:gd name="T74" fmla="*/ 9 w 58"/>
                    <a:gd name="T75" fmla="*/ 18 h 50"/>
                    <a:gd name="T76" fmla="*/ 9 w 58"/>
                    <a:gd name="T77" fmla="*/ 23 h 50"/>
                    <a:gd name="T78" fmla="*/ 23 w 58"/>
                    <a:gd name="T79" fmla="*/ 36 h 50"/>
                    <a:gd name="T80" fmla="*/ 27 w 58"/>
                    <a:gd name="T81" fmla="*/ 36 h 50"/>
                    <a:gd name="T82" fmla="*/ 27 w 58"/>
                    <a:gd name="T83" fmla="*/ 36 h 50"/>
                    <a:gd name="T84" fmla="*/ 32 w 58"/>
                    <a:gd name="T85" fmla="*/ 45 h 50"/>
                    <a:gd name="T86" fmla="*/ 32 w 58"/>
                    <a:gd name="T87" fmla="*/ 4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 h="50">
                      <a:moveTo>
                        <a:pt x="32" y="45"/>
                      </a:moveTo>
                      <a:lnTo>
                        <a:pt x="32" y="45"/>
                      </a:lnTo>
                      <a:lnTo>
                        <a:pt x="36" y="45"/>
                      </a:lnTo>
                      <a:lnTo>
                        <a:pt x="45" y="50"/>
                      </a:lnTo>
                      <a:lnTo>
                        <a:pt x="45" y="50"/>
                      </a:lnTo>
                      <a:lnTo>
                        <a:pt x="45" y="50"/>
                      </a:lnTo>
                      <a:lnTo>
                        <a:pt x="45" y="45"/>
                      </a:lnTo>
                      <a:lnTo>
                        <a:pt x="45" y="45"/>
                      </a:lnTo>
                      <a:lnTo>
                        <a:pt x="45" y="41"/>
                      </a:lnTo>
                      <a:lnTo>
                        <a:pt x="50" y="36"/>
                      </a:lnTo>
                      <a:lnTo>
                        <a:pt x="50" y="36"/>
                      </a:lnTo>
                      <a:lnTo>
                        <a:pt x="50" y="36"/>
                      </a:lnTo>
                      <a:lnTo>
                        <a:pt x="50" y="32"/>
                      </a:lnTo>
                      <a:lnTo>
                        <a:pt x="54" y="32"/>
                      </a:lnTo>
                      <a:lnTo>
                        <a:pt x="58" y="27"/>
                      </a:lnTo>
                      <a:lnTo>
                        <a:pt x="54" y="23"/>
                      </a:lnTo>
                      <a:lnTo>
                        <a:pt x="58" y="23"/>
                      </a:lnTo>
                      <a:lnTo>
                        <a:pt x="58" y="23"/>
                      </a:lnTo>
                      <a:lnTo>
                        <a:pt x="50" y="18"/>
                      </a:lnTo>
                      <a:lnTo>
                        <a:pt x="50" y="14"/>
                      </a:lnTo>
                      <a:lnTo>
                        <a:pt x="54" y="9"/>
                      </a:lnTo>
                      <a:lnTo>
                        <a:pt x="54" y="5"/>
                      </a:lnTo>
                      <a:lnTo>
                        <a:pt x="50" y="5"/>
                      </a:lnTo>
                      <a:lnTo>
                        <a:pt x="45" y="5"/>
                      </a:lnTo>
                      <a:lnTo>
                        <a:pt x="45" y="5"/>
                      </a:lnTo>
                      <a:lnTo>
                        <a:pt x="41" y="0"/>
                      </a:lnTo>
                      <a:lnTo>
                        <a:pt x="36" y="0"/>
                      </a:lnTo>
                      <a:lnTo>
                        <a:pt x="32" y="5"/>
                      </a:lnTo>
                      <a:lnTo>
                        <a:pt x="23" y="0"/>
                      </a:lnTo>
                      <a:lnTo>
                        <a:pt x="18" y="0"/>
                      </a:lnTo>
                      <a:lnTo>
                        <a:pt x="18" y="0"/>
                      </a:lnTo>
                      <a:lnTo>
                        <a:pt x="14" y="0"/>
                      </a:lnTo>
                      <a:lnTo>
                        <a:pt x="9" y="5"/>
                      </a:lnTo>
                      <a:lnTo>
                        <a:pt x="5" y="0"/>
                      </a:lnTo>
                      <a:lnTo>
                        <a:pt x="5" y="0"/>
                      </a:lnTo>
                      <a:lnTo>
                        <a:pt x="0" y="9"/>
                      </a:lnTo>
                      <a:lnTo>
                        <a:pt x="5" y="9"/>
                      </a:lnTo>
                      <a:lnTo>
                        <a:pt x="9" y="18"/>
                      </a:lnTo>
                      <a:lnTo>
                        <a:pt x="9" y="23"/>
                      </a:lnTo>
                      <a:lnTo>
                        <a:pt x="23" y="36"/>
                      </a:lnTo>
                      <a:lnTo>
                        <a:pt x="27" y="36"/>
                      </a:lnTo>
                      <a:lnTo>
                        <a:pt x="27" y="36"/>
                      </a:lnTo>
                      <a:lnTo>
                        <a:pt x="32" y="45"/>
                      </a:lnTo>
                      <a:lnTo>
                        <a:pt x="32" y="4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34" name="Freeform 174">
                  <a:extLst>
                    <a:ext uri="{FF2B5EF4-FFF2-40B4-BE49-F238E27FC236}">
                      <a16:creationId xmlns:a16="http://schemas.microsoft.com/office/drawing/2014/main" id="{70F0A7A9-FDC3-4D84-8159-063F42507216}"/>
                    </a:ext>
                  </a:extLst>
                </p:cNvPr>
                <p:cNvSpPr>
                  <a:spLocks/>
                </p:cNvSpPr>
                <p:nvPr/>
              </p:nvSpPr>
              <p:spPr bwMode="gray">
                <a:xfrm>
                  <a:off x="3045" y="2055"/>
                  <a:ext cx="89" cy="63"/>
                </a:xfrm>
                <a:custGeom>
                  <a:avLst/>
                  <a:gdLst>
                    <a:gd name="T0" fmla="*/ 4 w 89"/>
                    <a:gd name="T1" fmla="*/ 0 h 63"/>
                    <a:gd name="T2" fmla="*/ 0 w 89"/>
                    <a:gd name="T3" fmla="*/ 18 h 63"/>
                    <a:gd name="T4" fmla="*/ 13 w 89"/>
                    <a:gd name="T5" fmla="*/ 27 h 63"/>
                    <a:gd name="T6" fmla="*/ 13 w 89"/>
                    <a:gd name="T7" fmla="*/ 32 h 63"/>
                    <a:gd name="T8" fmla="*/ 4 w 89"/>
                    <a:gd name="T9" fmla="*/ 36 h 63"/>
                    <a:gd name="T10" fmla="*/ 4 w 89"/>
                    <a:gd name="T11" fmla="*/ 45 h 63"/>
                    <a:gd name="T12" fmla="*/ 13 w 89"/>
                    <a:gd name="T13" fmla="*/ 49 h 63"/>
                    <a:gd name="T14" fmla="*/ 13 w 89"/>
                    <a:gd name="T15" fmla="*/ 63 h 63"/>
                    <a:gd name="T16" fmla="*/ 22 w 89"/>
                    <a:gd name="T17" fmla="*/ 63 h 63"/>
                    <a:gd name="T18" fmla="*/ 31 w 89"/>
                    <a:gd name="T19" fmla="*/ 58 h 63"/>
                    <a:gd name="T20" fmla="*/ 40 w 89"/>
                    <a:gd name="T21" fmla="*/ 63 h 63"/>
                    <a:gd name="T22" fmla="*/ 53 w 89"/>
                    <a:gd name="T23" fmla="*/ 63 h 63"/>
                    <a:gd name="T24" fmla="*/ 53 w 89"/>
                    <a:gd name="T25" fmla="*/ 54 h 63"/>
                    <a:gd name="T26" fmla="*/ 71 w 89"/>
                    <a:gd name="T27" fmla="*/ 45 h 63"/>
                    <a:gd name="T28" fmla="*/ 76 w 89"/>
                    <a:gd name="T29" fmla="*/ 49 h 63"/>
                    <a:gd name="T30" fmla="*/ 85 w 89"/>
                    <a:gd name="T31" fmla="*/ 49 h 63"/>
                    <a:gd name="T32" fmla="*/ 80 w 89"/>
                    <a:gd name="T33" fmla="*/ 36 h 63"/>
                    <a:gd name="T34" fmla="*/ 76 w 89"/>
                    <a:gd name="T35" fmla="*/ 36 h 63"/>
                    <a:gd name="T36" fmla="*/ 80 w 89"/>
                    <a:gd name="T37" fmla="*/ 32 h 63"/>
                    <a:gd name="T38" fmla="*/ 80 w 89"/>
                    <a:gd name="T39" fmla="*/ 18 h 63"/>
                    <a:gd name="T40" fmla="*/ 89 w 89"/>
                    <a:gd name="T41" fmla="*/ 18 h 63"/>
                    <a:gd name="T42" fmla="*/ 89 w 89"/>
                    <a:gd name="T43" fmla="*/ 14 h 63"/>
                    <a:gd name="T44" fmla="*/ 71 w 89"/>
                    <a:gd name="T45" fmla="*/ 5 h 63"/>
                    <a:gd name="T46" fmla="*/ 58 w 89"/>
                    <a:gd name="T47" fmla="*/ 9 h 63"/>
                    <a:gd name="T48" fmla="*/ 49 w 89"/>
                    <a:gd name="T49" fmla="*/ 18 h 63"/>
                    <a:gd name="T50" fmla="*/ 35 w 89"/>
                    <a:gd name="T51" fmla="*/ 18 h 63"/>
                    <a:gd name="T52" fmla="*/ 22 w 89"/>
                    <a:gd name="T53" fmla="*/ 14 h 63"/>
                    <a:gd name="T54" fmla="*/ 9 w 89"/>
                    <a:gd name="T55" fmla="*/ 9 h 63"/>
                    <a:gd name="T56" fmla="*/ 9 w 89"/>
                    <a:gd name="T57" fmla="*/ 0 h 63"/>
                    <a:gd name="T58" fmla="*/ 4 w 89"/>
                    <a:gd name="T5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63">
                      <a:moveTo>
                        <a:pt x="4" y="0"/>
                      </a:moveTo>
                      <a:lnTo>
                        <a:pt x="0" y="18"/>
                      </a:lnTo>
                      <a:lnTo>
                        <a:pt x="13" y="27"/>
                      </a:lnTo>
                      <a:lnTo>
                        <a:pt x="13" y="32"/>
                      </a:lnTo>
                      <a:lnTo>
                        <a:pt x="4" y="36"/>
                      </a:lnTo>
                      <a:lnTo>
                        <a:pt x="4" y="45"/>
                      </a:lnTo>
                      <a:lnTo>
                        <a:pt x="13" y="49"/>
                      </a:lnTo>
                      <a:lnTo>
                        <a:pt x="13" y="63"/>
                      </a:lnTo>
                      <a:lnTo>
                        <a:pt x="22" y="63"/>
                      </a:lnTo>
                      <a:lnTo>
                        <a:pt x="31" y="58"/>
                      </a:lnTo>
                      <a:lnTo>
                        <a:pt x="40" y="63"/>
                      </a:lnTo>
                      <a:lnTo>
                        <a:pt x="53" y="63"/>
                      </a:lnTo>
                      <a:lnTo>
                        <a:pt x="53" y="54"/>
                      </a:lnTo>
                      <a:lnTo>
                        <a:pt x="71" y="45"/>
                      </a:lnTo>
                      <a:lnTo>
                        <a:pt x="76" y="49"/>
                      </a:lnTo>
                      <a:lnTo>
                        <a:pt x="85" y="49"/>
                      </a:lnTo>
                      <a:lnTo>
                        <a:pt x="80" y="36"/>
                      </a:lnTo>
                      <a:lnTo>
                        <a:pt x="76" y="36"/>
                      </a:lnTo>
                      <a:lnTo>
                        <a:pt x="80" y="32"/>
                      </a:lnTo>
                      <a:lnTo>
                        <a:pt x="80" y="18"/>
                      </a:lnTo>
                      <a:lnTo>
                        <a:pt x="89" y="18"/>
                      </a:lnTo>
                      <a:lnTo>
                        <a:pt x="89" y="14"/>
                      </a:lnTo>
                      <a:lnTo>
                        <a:pt x="71" y="5"/>
                      </a:lnTo>
                      <a:lnTo>
                        <a:pt x="58" y="9"/>
                      </a:lnTo>
                      <a:lnTo>
                        <a:pt x="49" y="18"/>
                      </a:lnTo>
                      <a:lnTo>
                        <a:pt x="35" y="18"/>
                      </a:lnTo>
                      <a:lnTo>
                        <a:pt x="22" y="14"/>
                      </a:lnTo>
                      <a:lnTo>
                        <a:pt x="9" y="9"/>
                      </a:lnTo>
                      <a:lnTo>
                        <a:pt x="9" y="0"/>
                      </a:lnTo>
                      <a:lnTo>
                        <a:pt x="4"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35" name="Freeform 175">
                  <a:extLst>
                    <a:ext uri="{FF2B5EF4-FFF2-40B4-BE49-F238E27FC236}">
                      <a16:creationId xmlns:a16="http://schemas.microsoft.com/office/drawing/2014/main" id="{493F4137-79B1-4175-A17A-B2DAB25F9BCE}"/>
                    </a:ext>
                  </a:extLst>
                </p:cNvPr>
                <p:cNvSpPr>
                  <a:spLocks/>
                </p:cNvSpPr>
                <p:nvPr/>
              </p:nvSpPr>
              <p:spPr bwMode="gray">
                <a:xfrm>
                  <a:off x="3058" y="1787"/>
                  <a:ext cx="134" cy="121"/>
                </a:xfrm>
                <a:custGeom>
                  <a:avLst/>
                  <a:gdLst>
                    <a:gd name="T0" fmla="*/ 13 w 134"/>
                    <a:gd name="T1" fmla="*/ 116 h 121"/>
                    <a:gd name="T2" fmla="*/ 22 w 134"/>
                    <a:gd name="T3" fmla="*/ 103 h 121"/>
                    <a:gd name="T4" fmla="*/ 45 w 134"/>
                    <a:gd name="T5" fmla="*/ 112 h 121"/>
                    <a:gd name="T6" fmla="*/ 63 w 134"/>
                    <a:gd name="T7" fmla="*/ 112 h 121"/>
                    <a:gd name="T8" fmla="*/ 67 w 134"/>
                    <a:gd name="T9" fmla="*/ 116 h 121"/>
                    <a:gd name="T10" fmla="*/ 76 w 134"/>
                    <a:gd name="T11" fmla="*/ 112 h 121"/>
                    <a:gd name="T12" fmla="*/ 85 w 134"/>
                    <a:gd name="T13" fmla="*/ 112 h 121"/>
                    <a:gd name="T14" fmla="*/ 98 w 134"/>
                    <a:gd name="T15" fmla="*/ 116 h 121"/>
                    <a:gd name="T16" fmla="*/ 107 w 134"/>
                    <a:gd name="T17" fmla="*/ 116 h 121"/>
                    <a:gd name="T18" fmla="*/ 112 w 134"/>
                    <a:gd name="T19" fmla="*/ 99 h 121"/>
                    <a:gd name="T20" fmla="*/ 121 w 134"/>
                    <a:gd name="T21" fmla="*/ 94 h 121"/>
                    <a:gd name="T22" fmla="*/ 121 w 134"/>
                    <a:gd name="T23" fmla="*/ 76 h 121"/>
                    <a:gd name="T24" fmla="*/ 125 w 134"/>
                    <a:gd name="T25" fmla="*/ 81 h 121"/>
                    <a:gd name="T26" fmla="*/ 134 w 134"/>
                    <a:gd name="T27" fmla="*/ 72 h 121"/>
                    <a:gd name="T28" fmla="*/ 125 w 134"/>
                    <a:gd name="T29" fmla="*/ 63 h 121"/>
                    <a:gd name="T30" fmla="*/ 116 w 134"/>
                    <a:gd name="T31" fmla="*/ 54 h 121"/>
                    <a:gd name="T32" fmla="*/ 112 w 134"/>
                    <a:gd name="T33" fmla="*/ 45 h 121"/>
                    <a:gd name="T34" fmla="*/ 112 w 134"/>
                    <a:gd name="T35" fmla="*/ 31 h 121"/>
                    <a:gd name="T36" fmla="*/ 98 w 134"/>
                    <a:gd name="T37" fmla="*/ 9 h 121"/>
                    <a:gd name="T38" fmla="*/ 85 w 134"/>
                    <a:gd name="T39" fmla="*/ 5 h 121"/>
                    <a:gd name="T40" fmla="*/ 76 w 134"/>
                    <a:gd name="T41" fmla="*/ 0 h 121"/>
                    <a:gd name="T42" fmla="*/ 67 w 134"/>
                    <a:gd name="T43" fmla="*/ 0 h 121"/>
                    <a:gd name="T44" fmla="*/ 63 w 134"/>
                    <a:gd name="T45" fmla="*/ 9 h 121"/>
                    <a:gd name="T46" fmla="*/ 45 w 134"/>
                    <a:gd name="T47" fmla="*/ 18 h 121"/>
                    <a:gd name="T48" fmla="*/ 45 w 134"/>
                    <a:gd name="T49" fmla="*/ 23 h 121"/>
                    <a:gd name="T50" fmla="*/ 45 w 134"/>
                    <a:gd name="T51" fmla="*/ 27 h 121"/>
                    <a:gd name="T52" fmla="*/ 40 w 134"/>
                    <a:gd name="T53" fmla="*/ 31 h 121"/>
                    <a:gd name="T54" fmla="*/ 31 w 134"/>
                    <a:gd name="T55" fmla="*/ 45 h 121"/>
                    <a:gd name="T56" fmla="*/ 27 w 134"/>
                    <a:gd name="T57" fmla="*/ 49 h 121"/>
                    <a:gd name="T58" fmla="*/ 13 w 134"/>
                    <a:gd name="T59" fmla="*/ 49 h 121"/>
                    <a:gd name="T60" fmla="*/ 9 w 134"/>
                    <a:gd name="T61" fmla="*/ 72 h 121"/>
                    <a:gd name="T62" fmla="*/ 13 w 134"/>
                    <a:gd name="T63" fmla="*/ 90 h 121"/>
                    <a:gd name="T64" fmla="*/ 5 w 134"/>
                    <a:gd name="T65" fmla="*/ 103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4" h="121">
                      <a:moveTo>
                        <a:pt x="5" y="112"/>
                      </a:moveTo>
                      <a:lnTo>
                        <a:pt x="13" y="116"/>
                      </a:lnTo>
                      <a:lnTo>
                        <a:pt x="18" y="107"/>
                      </a:lnTo>
                      <a:lnTo>
                        <a:pt x="22" y="103"/>
                      </a:lnTo>
                      <a:lnTo>
                        <a:pt x="36" y="107"/>
                      </a:lnTo>
                      <a:lnTo>
                        <a:pt x="45" y="112"/>
                      </a:lnTo>
                      <a:lnTo>
                        <a:pt x="58" y="107"/>
                      </a:lnTo>
                      <a:lnTo>
                        <a:pt x="63" y="112"/>
                      </a:lnTo>
                      <a:lnTo>
                        <a:pt x="67" y="121"/>
                      </a:lnTo>
                      <a:lnTo>
                        <a:pt x="67" y="116"/>
                      </a:lnTo>
                      <a:lnTo>
                        <a:pt x="76" y="116"/>
                      </a:lnTo>
                      <a:lnTo>
                        <a:pt x="76" y="112"/>
                      </a:lnTo>
                      <a:lnTo>
                        <a:pt x="80" y="116"/>
                      </a:lnTo>
                      <a:lnTo>
                        <a:pt x="85" y="112"/>
                      </a:lnTo>
                      <a:lnTo>
                        <a:pt x="89" y="121"/>
                      </a:lnTo>
                      <a:lnTo>
                        <a:pt x="98" y="116"/>
                      </a:lnTo>
                      <a:lnTo>
                        <a:pt x="107" y="121"/>
                      </a:lnTo>
                      <a:lnTo>
                        <a:pt x="107" y="116"/>
                      </a:lnTo>
                      <a:lnTo>
                        <a:pt x="107" y="112"/>
                      </a:lnTo>
                      <a:lnTo>
                        <a:pt x="112" y="99"/>
                      </a:lnTo>
                      <a:lnTo>
                        <a:pt x="121" y="103"/>
                      </a:lnTo>
                      <a:lnTo>
                        <a:pt x="121" y="94"/>
                      </a:lnTo>
                      <a:lnTo>
                        <a:pt x="116" y="81"/>
                      </a:lnTo>
                      <a:lnTo>
                        <a:pt x="121" y="76"/>
                      </a:lnTo>
                      <a:lnTo>
                        <a:pt x="125" y="81"/>
                      </a:lnTo>
                      <a:lnTo>
                        <a:pt x="125" y="81"/>
                      </a:lnTo>
                      <a:lnTo>
                        <a:pt x="130" y="76"/>
                      </a:lnTo>
                      <a:lnTo>
                        <a:pt x="134" y="72"/>
                      </a:lnTo>
                      <a:lnTo>
                        <a:pt x="130" y="72"/>
                      </a:lnTo>
                      <a:lnTo>
                        <a:pt x="125" y="63"/>
                      </a:lnTo>
                      <a:lnTo>
                        <a:pt x="116" y="67"/>
                      </a:lnTo>
                      <a:lnTo>
                        <a:pt x="116" y="54"/>
                      </a:lnTo>
                      <a:lnTo>
                        <a:pt x="112" y="49"/>
                      </a:lnTo>
                      <a:lnTo>
                        <a:pt x="112" y="45"/>
                      </a:lnTo>
                      <a:lnTo>
                        <a:pt x="112" y="36"/>
                      </a:lnTo>
                      <a:lnTo>
                        <a:pt x="112" y="31"/>
                      </a:lnTo>
                      <a:lnTo>
                        <a:pt x="107" y="18"/>
                      </a:lnTo>
                      <a:lnTo>
                        <a:pt x="98" y="9"/>
                      </a:lnTo>
                      <a:lnTo>
                        <a:pt x="89" y="14"/>
                      </a:lnTo>
                      <a:lnTo>
                        <a:pt x="85" y="5"/>
                      </a:lnTo>
                      <a:lnTo>
                        <a:pt x="76" y="5"/>
                      </a:lnTo>
                      <a:lnTo>
                        <a:pt x="76" y="0"/>
                      </a:lnTo>
                      <a:lnTo>
                        <a:pt x="72" y="0"/>
                      </a:lnTo>
                      <a:lnTo>
                        <a:pt x="67" y="0"/>
                      </a:lnTo>
                      <a:lnTo>
                        <a:pt x="67" y="0"/>
                      </a:lnTo>
                      <a:lnTo>
                        <a:pt x="63" y="9"/>
                      </a:lnTo>
                      <a:lnTo>
                        <a:pt x="58" y="14"/>
                      </a:lnTo>
                      <a:lnTo>
                        <a:pt x="45" y="18"/>
                      </a:lnTo>
                      <a:lnTo>
                        <a:pt x="45" y="23"/>
                      </a:lnTo>
                      <a:lnTo>
                        <a:pt x="45" y="23"/>
                      </a:lnTo>
                      <a:lnTo>
                        <a:pt x="49" y="27"/>
                      </a:lnTo>
                      <a:lnTo>
                        <a:pt x="45" y="27"/>
                      </a:lnTo>
                      <a:lnTo>
                        <a:pt x="45" y="27"/>
                      </a:lnTo>
                      <a:lnTo>
                        <a:pt x="40" y="31"/>
                      </a:lnTo>
                      <a:lnTo>
                        <a:pt x="36" y="40"/>
                      </a:lnTo>
                      <a:lnTo>
                        <a:pt x="31" y="45"/>
                      </a:lnTo>
                      <a:lnTo>
                        <a:pt x="31" y="54"/>
                      </a:lnTo>
                      <a:lnTo>
                        <a:pt x="27" y="49"/>
                      </a:lnTo>
                      <a:lnTo>
                        <a:pt x="22" y="54"/>
                      </a:lnTo>
                      <a:lnTo>
                        <a:pt x="13" y="49"/>
                      </a:lnTo>
                      <a:lnTo>
                        <a:pt x="5" y="58"/>
                      </a:lnTo>
                      <a:lnTo>
                        <a:pt x="9" y="72"/>
                      </a:lnTo>
                      <a:lnTo>
                        <a:pt x="13" y="81"/>
                      </a:lnTo>
                      <a:lnTo>
                        <a:pt x="13" y="90"/>
                      </a:lnTo>
                      <a:lnTo>
                        <a:pt x="0" y="94"/>
                      </a:lnTo>
                      <a:lnTo>
                        <a:pt x="5" y="103"/>
                      </a:lnTo>
                      <a:lnTo>
                        <a:pt x="5" y="11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36" name="Freeform 176">
                  <a:extLst>
                    <a:ext uri="{FF2B5EF4-FFF2-40B4-BE49-F238E27FC236}">
                      <a16:creationId xmlns:a16="http://schemas.microsoft.com/office/drawing/2014/main" id="{DC798454-C183-4284-925D-96215AFF327C}"/>
                    </a:ext>
                  </a:extLst>
                </p:cNvPr>
                <p:cNvSpPr>
                  <a:spLocks noEditPoints="1"/>
                </p:cNvSpPr>
                <p:nvPr/>
              </p:nvSpPr>
              <p:spPr bwMode="gray">
                <a:xfrm>
                  <a:off x="2915" y="2011"/>
                  <a:ext cx="85" cy="80"/>
                </a:xfrm>
                <a:custGeom>
                  <a:avLst/>
                  <a:gdLst>
                    <a:gd name="T0" fmla="*/ 0 w 85"/>
                    <a:gd name="T1" fmla="*/ 22 h 80"/>
                    <a:gd name="T2" fmla="*/ 9 w 85"/>
                    <a:gd name="T3" fmla="*/ 35 h 80"/>
                    <a:gd name="T4" fmla="*/ 22 w 85"/>
                    <a:gd name="T5" fmla="*/ 31 h 80"/>
                    <a:gd name="T6" fmla="*/ 27 w 85"/>
                    <a:gd name="T7" fmla="*/ 44 h 80"/>
                    <a:gd name="T8" fmla="*/ 22 w 85"/>
                    <a:gd name="T9" fmla="*/ 53 h 80"/>
                    <a:gd name="T10" fmla="*/ 36 w 85"/>
                    <a:gd name="T11" fmla="*/ 62 h 80"/>
                    <a:gd name="T12" fmla="*/ 45 w 85"/>
                    <a:gd name="T13" fmla="*/ 67 h 80"/>
                    <a:gd name="T14" fmla="*/ 45 w 85"/>
                    <a:gd name="T15" fmla="*/ 62 h 80"/>
                    <a:gd name="T16" fmla="*/ 54 w 85"/>
                    <a:gd name="T17" fmla="*/ 67 h 80"/>
                    <a:gd name="T18" fmla="*/ 63 w 85"/>
                    <a:gd name="T19" fmla="*/ 71 h 80"/>
                    <a:gd name="T20" fmla="*/ 58 w 85"/>
                    <a:gd name="T21" fmla="*/ 62 h 80"/>
                    <a:gd name="T22" fmla="*/ 54 w 85"/>
                    <a:gd name="T23" fmla="*/ 62 h 80"/>
                    <a:gd name="T24" fmla="*/ 40 w 85"/>
                    <a:gd name="T25" fmla="*/ 44 h 80"/>
                    <a:gd name="T26" fmla="*/ 31 w 85"/>
                    <a:gd name="T27" fmla="*/ 35 h 80"/>
                    <a:gd name="T28" fmla="*/ 36 w 85"/>
                    <a:gd name="T29" fmla="*/ 26 h 80"/>
                    <a:gd name="T30" fmla="*/ 45 w 85"/>
                    <a:gd name="T31" fmla="*/ 26 h 80"/>
                    <a:gd name="T32" fmla="*/ 49 w 85"/>
                    <a:gd name="T33" fmla="*/ 26 h 80"/>
                    <a:gd name="T34" fmla="*/ 63 w 85"/>
                    <a:gd name="T35" fmla="*/ 31 h 80"/>
                    <a:gd name="T36" fmla="*/ 72 w 85"/>
                    <a:gd name="T37" fmla="*/ 26 h 80"/>
                    <a:gd name="T38" fmla="*/ 76 w 85"/>
                    <a:gd name="T39" fmla="*/ 31 h 80"/>
                    <a:gd name="T40" fmla="*/ 81 w 85"/>
                    <a:gd name="T41" fmla="*/ 26 h 80"/>
                    <a:gd name="T42" fmla="*/ 85 w 85"/>
                    <a:gd name="T43" fmla="*/ 22 h 80"/>
                    <a:gd name="T44" fmla="*/ 81 w 85"/>
                    <a:gd name="T45" fmla="*/ 22 h 80"/>
                    <a:gd name="T46" fmla="*/ 81 w 85"/>
                    <a:gd name="T47" fmla="*/ 18 h 80"/>
                    <a:gd name="T48" fmla="*/ 76 w 85"/>
                    <a:gd name="T49" fmla="*/ 13 h 80"/>
                    <a:gd name="T50" fmla="*/ 49 w 85"/>
                    <a:gd name="T51" fmla="*/ 13 h 80"/>
                    <a:gd name="T52" fmla="*/ 45 w 85"/>
                    <a:gd name="T53" fmla="*/ 4 h 80"/>
                    <a:gd name="T54" fmla="*/ 40 w 85"/>
                    <a:gd name="T55" fmla="*/ 0 h 80"/>
                    <a:gd name="T56" fmla="*/ 40 w 85"/>
                    <a:gd name="T57" fmla="*/ 4 h 80"/>
                    <a:gd name="T58" fmla="*/ 36 w 85"/>
                    <a:gd name="T59" fmla="*/ 9 h 80"/>
                    <a:gd name="T60" fmla="*/ 31 w 85"/>
                    <a:gd name="T61" fmla="*/ 9 h 80"/>
                    <a:gd name="T62" fmla="*/ 31 w 85"/>
                    <a:gd name="T63" fmla="*/ 13 h 80"/>
                    <a:gd name="T64" fmla="*/ 27 w 85"/>
                    <a:gd name="T65" fmla="*/ 22 h 80"/>
                    <a:gd name="T66" fmla="*/ 22 w 85"/>
                    <a:gd name="T67" fmla="*/ 22 h 80"/>
                    <a:gd name="T68" fmla="*/ 14 w 85"/>
                    <a:gd name="T69" fmla="*/ 22 h 80"/>
                    <a:gd name="T70" fmla="*/ 5 w 85"/>
                    <a:gd name="T71" fmla="*/ 22 h 80"/>
                    <a:gd name="T72" fmla="*/ 63 w 85"/>
                    <a:gd name="T73" fmla="*/ 71 h 80"/>
                    <a:gd name="T74" fmla="*/ 72 w 85"/>
                    <a:gd name="T75" fmla="*/ 80 h 80"/>
                    <a:gd name="T76" fmla="*/ 76 w 85"/>
                    <a:gd name="T77" fmla="*/ 76 h 80"/>
                    <a:gd name="T78" fmla="*/ 63 w 85"/>
                    <a:gd name="T79" fmla="*/ 7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5" h="80">
                      <a:moveTo>
                        <a:pt x="5" y="22"/>
                      </a:moveTo>
                      <a:lnTo>
                        <a:pt x="0" y="22"/>
                      </a:lnTo>
                      <a:lnTo>
                        <a:pt x="5" y="35"/>
                      </a:lnTo>
                      <a:lnTo>
                        <a:pt x="9" y="35"/>
                      </a:lnTo>
                      <a:lnTo>
                        <a:pt x="14" y="26"/>
                      </a:lnTo>
                      <a:lnTo>
                        <a:pt x="22" y="31"/>
                      </a:lnTo>
                      <a:lnTo>
                        <a:pt x="18" y="35"/>
                      </a:lnTo>
                      <a:lnTo>
                        <a:pt x="27" y="44"/>
                      </a:lnTo>
                      <a:lnTo>
                        <a:pt x="22" y="44"/>
                      </a:lnTo>
                      <a:lnTo>
                        <a:pt x="22" y="53"/>
                      </a:lnTo>
                      <a:lnTo>
                        <a:pt x="31" y="49"/>
                      </a:lnTo>
                      <a:lnTo>
                        <a:pt x="36" y="62"/>
                      </a:lnTo>
                      <a:lnTo>
                        <a:pt x="45" y="62"/>
                      </a:lnTo>
                      <a:lnTo>
                        <a:pt x="45" y="67"/>
                      </a:lnTo>
                      <a:lnTo>
                        <a:pt x="54" y="67"/>
                      </a:lnTo>
                      <a:lnTo>
                        <a:pt x="45" y="62"/>
                      </a:lnTo>
                      <a:lnTo>
                        <a:pt x="49" y="62"/>
                      </a:lnTo>
                      <a:lnTo>
                        <a:pt x="54" y="67"/>
                      </a:lnTo>
                      <a:lnTo>
                        <a:pt x="54" y="71"/>
                      </a:lnTo>
                      <a:lnTo>
                        <a:pt x="63" y="71"/>
                      </a:lnTo>
                      <a:lnTo>
                        <a:pt x="63" y="71"/>
                      </a:lnTo>
                      <a:lnTo>
                        <a:pt x="58" y="62"/>
                      </a:lnTo>
                      <a:lnTo>
                        <a:pt x="58" y="62"/>
                      </a:lnTo>
                      <a:lnTo>
                        <a:pt x="54" y="62"/>
                      </a:lnTo>
                      <a:lnTo>
                        <a:pt x="40" y="49"/>
                      </a:lnTo>
                      <a:lnTo>
                        <a:pt x="40" y="44"/>
                      </a:lnTo>
                      <a:lnTo>
                        <a:pt x="36" y="35"/>
                      </a:lnTo>
                      <a:lnTo>
                        <a:pt x="31" y="35"/>
                      </a:lnTo>
                      <a:lnTo>
                        <a:pt x="36" y="26"/>
                      </a:lnTo>
                      <a:lnTo>
                        <a:pt x="36" y="26"/>
                      </a:lnTo>
                      <a:lnTo>
                        <a:pt x="40" y="31"/>
                      </a:lnTo>
                      <a:lnTo>
                        <a:pt x="45" y="26"/>
                      </a:lnTo>
                      <a:lnTo>
                        <a:pt x="49" y="26"/>
                      </a:lnTo>
                      <a:lnTo>
                        <a:pt x="49" y="26"/>
                      </a:lnTo>
                      <a:lnTo>
                        <a:pt x="54" y="26"/>
                      </a:lnTo>
                      <a:lnTo>
                        <a:pt x="63" y="31"/>
                      </a:lnTo>
                      <a:lnTo>
                        <a:pt x="67" y="26"/>
                      </a:lnTo>
                      <a:lnTo>
                        <a:pt x="72" y="26"/>
                      </a:lnTo>
                      <a:lnTo>
                        <a:pt x="76" y="31"/>
                      </a:lnTo>
                      <a:lnTo>
                        <a:pt x="76" y="31"/>
                      </a:lnTo>
                      <a:lnTo>
                        <a:pt x="81" y="31"/>
                      </a:lnTo>
                      <a:lnTo>
                        <a:pt x="81" y="26"/>
                      </a:lnTo>
                      <a:lnTo>
                        <a:pt x="85" y="26"/>
                      </a:lnTo>
                      <a:lnTo>
                        <a:pt x="85" y="22"/>
                      </a:lnTo>
                      <a:lnTo>
                        <a:pt x="81" y="22"/>
                      </a:lnTo>
                      <a:lnTo>
                        <a:pt x="81" y="22"/>
                      </a:lnTo>
                      <a:lnTo>
                        <a:pt x="81" y="18"/>
                      </a:lnTo>
                      <a:lnTo>
                        <a:pt x="81" y="18"/>
                      </a:lnTo>
                      <a:lnTo>
                        <a:pt x="81" y="13"/>
                      </a:lnTo>
                      <a:lnTo>
                        <a:pt x="76" y="13"/>
                      </a:lnTo>
                      <a:lnTo>
                        <a:pt x="67" y="18"/>
                      </a:lnTo>
                      <a:lnTo>
                        <a:pt x="49" y="13"/>
                      </a:lnTo>
                      <a:lnTo>
                        <a:pt x="45" y="4"/>
                      </a:lnTo>
                      <a:lnTo>
                        <a:pt x="45" y="4"/>
                      </a:lnTo>
                      <a:lnTo>
                        <a:pt x="45" y="4"/>
                      </a:lnTo>
                      <a:lnTo>
                        <a:pt x="40" y="0"/>
                      </a:lnTo>
                      <a:lnTo>
                        <a:pt x="40" y="4"/>
                      </a:lnTo>
                      <a:lnTo>
                        <a:pt x="40" y="4"/>
                      </a:lnTo>
                      <a:lnTo>
                        <a:pt x="36" y="4"/>
                      </a:lnTo>
                      <a:lnTo>
                        <a:pt x="36" y="9"/>
                      </a:lnTo>
                      <a:lnTo>
                        <a:pt x="31" y="9"/>
                      </a:lnTo>
                      <a:lnTo>
                        <a:pt x="31" y="9"/>
                      </a:lnTo>
                      <a:lnTo>
                        <a:pt x="31" y="13"/>
                      </a:lnTo>
                      <a:lnTo>
                        <a:pt x="31" y="13"/>
                      </a:lnTo>
                      <a:lnTo>
                        <a:pt x="27" y="18"/>
                      </a:lnTo>
                      <a:lnTo>
                        <a:pt x="27" y="22"/>
                      </a:lnTo>
                      <a:lnTo>
                        <a:pt x="27" y="22"/>
                      </a:lnTo>
                      <a:lnTo>
                        <a:pt x="22" y="22"/>
                      </a:lnTo>
                      <a:lnTo>
                        <a:pt x="18" y="18"/>
                      </a:lnTo>
                      <a:lnTo>
                        <a:pt x="14" y="22"/>
                      </a:lnTo>
                      <a:lnTo>
                        <a:pt x="14" y="22"/>
                      </a:lnTo>
                      <a:lnTo>
                        <a:pt x="5" y="22"/>
                      </a:lnTo>
                      <a:lnTo>
                        <a:pt x="5" y="22"/>
                      </a:lnTo>
                      <a:close/>
                      <a:moveTo>
                        <a:pt x="63" y="71"/>
                      </a:moveTo>
                      <a:lnTo>
                        <a:pt x="72" y="80"/>
                      </a:lnTo>
                      <a:lnTo>
                        <a:pt x="72" y="80"/>
                      </a:lnTo>
                      <a:lnTo>
                        <a:pt x="76" y="80"/>
                      </a:lnTo>
                      <a:lnTo>
                        <a:pt x="76" y="76"/>
                      </a:lnTo>
                      <a:lnTo>
                        <a:pt x="67" y="71"/>
                      </a:lnTo>
                      <a:lnTo>
                        <a:pt x="63" y="71"/>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37" name="Freeform 177">
                  <a:extLst>
                    <a:ext uri="{FF2B5EF4-FFF2-40B4-BE49-F238E27FC236}">
                      <a16:creationId xmlns:a16="http://schemas.microsoft.com/office/drawing/2014/main" id="{6F03FE43-0FC7-4167-976A-7897E806F44F}"/>
                    </a:ext>
                  </a:extLst>
                </p:cNvPr>
                <p:cNvSpPr>
                  <a:spLocks/>
                </p:cNvSpPr>
                <p:nvPr/>
              </p:nvSpPr>
              <p:spPr bwMode="gray">
                <a:xfrm>
                  <a:off x="3188" y="2221"/>
                  <a:ext cx="35" cy="18"/>
                </a:xfrm>
                <a:custGeom>
                  <a:avLst/>
                  <a:gdLst>
                    <a:gd name="T0" fmla="*/ 9 w 35"/>
                    <a:gd name="T1" fmla="*/ 9 h 18"/>
                    <a:gd name="T2" fmla="*/ 9 w 35"/>
                    <a:gd name="T3" fmla="*/ 9 h 18"/>
                    <a:gd name="T4" fmla="*/ 0 w 35"/>
                    <a:gd name="T5" fmla="*/ 13 h 18"/>
                    <a:gd name="T6" fmla="*/ 4 w 35"/>
                    <a:gd name="T7" fmla="*/ 18 h 18"/>
                    <a:gd name="T8" fmla="*/ 13 w 35"/>
                    <a:gd name="T9" fmla="*/ 18 h 18"/>
                    <a:gd name="T10" fmla="*/ 22 w 35"/>
                    <a:gd name="T11" fmla="*/ 13 h 18"/>
                    <a:gd name="T12" fmla="*/ 22 w 35"/>
                    <a:gd name="T13" fmla="*/ 9 h 18"/>
                    <a:gd name="T14" fmla="*/ 35 w 35"/>
                    <a:gd name="T15" fmla="*/ 0 h 18"/>
                    <a:gd name="T16" fmla="*/ 31 w 35"/>
                    <a:gd name="T17" fmla="*/ 0 h 18"/>
                    <a:gd name="T18" fmla="*/ 26 w 35"/>
                    <a:gd name="T19" fmla="*/ 0 h 18"/>
                    <a:gd name="T20" fmla="*/ 17 w 35"/>
                    <a:gd name="T21" fmla="*/ 9 h 18"/>
                    <a:gd name="T22" fmla="*/ 9 w 35"/>
                    <a:gd name="T23"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18">
                      <a:moveTo>
                        <a:pt x="9" y="9"/>
                      </a:moveTo>
                      <a:lnTo>
                        <a:pt x="9" y="9"/>
                      </a:lnTo>
                      <a:lnTo>
                        <a:pt x="0" y="13"/>
                      </a:lnTo>
                      <a:lnTo>
                        <a:pt x="4" y="18"/>
                      </a:lnTo>
                      <a:lnTo>
                        <a:pt x="13" y="18"/>
                      </a:lnTo>
                      <a:lnTo>
                        <a:pt x="22" y="13"/>
                      </a:lnTo>
                      <a:lnTo>
                        <a:pt x="22" y="9"/>
                      </a:lnTo>
                      <a:lnTo>
                        <a:pt x="35" y="0"/>
                      </a:lnTo>
                      <a:lnTo>
                        <a:pt x="31" y="0"/>
                      </a:lnTo>
                      <a:lnTo>
                        <a:pt x="26" y="0"/>
                      </a:lnTo>
                      <a:lnTo>
                        <a:pt x="17" y="9"/>
                      </a:lnTo>
                      <a:lnTo>
                        <a:pt x="9" y="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38" name="Freeform 178">
                  <a:extLst>
                    <a:ext uri="{FF2B5EF4-FFF2-40B4-BE49-F238E27FC236}">
                      <a16:creationId xmlns:a16="http://schemas.microsoft.com/office/drawing/2014/main" id="{A852A950-386D-4E03-9807-D2204C7F0DF9}"/>
                    </a:ext>
                  </a:extLst>
                </p:cNvPr>
                <p:cNvSpPr>
                  <a:spLocks/>
                </p:cNvSpPr>
                <p:nvPr/>
              </p:nvSpPr>
              <p:spPr bwMode="gray">
                <a:xfrm>
                  <a:off x="2897" y="1917"/>
                  <a:ext cx="94" cy="53"/>
                </a:xfrm>
                <a:custGeom>
                  <a:avLst/>
                  <a:gdLst>
                    <a:gd name="T0" fmla="*/ 40 w 94"/>
                    <a:gd name="T1" fmla="*/ 0 h 53"/>
                    <a:gd name="T2" fmla="*/ 36 w 94"/>
                    <a:gd name="T3" fmla="*/ 0 h 53"/>
                    <a:gd name="T4" fmla="*/ 32 w 94"/>
                    <a:gd name="T5" fmla="*/ 9 h 53"/>
                    <a:gd name="T6" fmla="*/ 18 w 94"/>
                    <a:gd name="T7" fmla="*/ 9 h 53"/>
                    <a:gd name="T8" fmla="*/ 9 w 94"/>
                    <a:gd name="T9" fmla="*/ 18 h 53"/>
                    <a:gd name="T10" fmla="*/ 5 w 94"/>
                    <a:gd name="T11" fmla="*/ 18 h 53"/>
                    <a:gd name="T12" fmla="*/ 0 w 94"/>
                    <a:gd name="T13" fmla="*/ 18 h 53"/>
                    <a:gd name="T14" fmla="*/ 5 w 94"/>
                    <a:gd name="T15" fmla="*/ 27 h 53"/>
                    <a:gd name="T16" fmla="*/ 9 w 94"/>
                    <a:gd name="T17" fmla="*/ 36 h 53"/>
                    <a:gd name="T18" fmla="*/ 18 w 94"/>
                    <a:gd name="T19" fmla="*/ 36 h 53"/>
                    <a:gd name="T20" fmla="*/ 27 w 94"/>
                    <a:gd name="T21" fmla="*/ 44 h 53"/>
                    <a:gd name="T22" fmla="*/ 27 w 94"/>
                    <a:gd name="T23" fmla="*/ 49 h 53"/>
                    <a:gd name="T24" fmla="*/ 36 w 94"/>
                    <a:gd name="T25" fmla="*/ 49 h 53"/>
                    <a:gd name="T26" fmla="*/ 45 w 94"/>
                    <a:gd name="T27" fmla="*/ 40 h 53"/>
                    <a:gd name="T28" fmla="*/ 67 w 94"/>
                    <a:gd name="T29" fmla="*/ 44 h 53"/>
                    <a:gd name="T30" fmla="*/ 67 w 94"/>
                    <a:gd name="T31" fmla="*/ 53 h 53"/>
                    <a:gd name="T32" fmla="*/ 72 w 94"/>
                    <a:gd name="T33" fmla="*/ 49 h 53"/>
                    <a:gd name="T34" fmla="*/ 81 w 94"/>
                    <a:gd name="T35" fmla="*/ 49 h 53"/>
                    <a:gd name="T36" fmla="*/ 85 w 94"/>
                    <a:gd name="T37" fmla="*/ 44 h 53"/>
                    <a:gd name="T38" fmla="*/ 90 w 94"/>
                    <a:gd name="T39" fmla="*/ 36 h 53"/>
                    <a:gd name="T40" fmla="*/ 94 w 94"/>
                    <a:gd name="T41" fmla="*/ 31 h 53"/>
                    <a:gd name="T42" fmla="*/ 94 w 94"/>
                    <a:gd name="T43" fmla="*/ 22 h 53"/>
                    <a:gd name="T44" fmla="*/ 85 w 94"/>
                    <a:gd name="T45" fmla="*/ 22 h 53"/>
                    <a:gd name="T46" fmla="*/ 81 w 94"/>
                    <a:gd name="T47" fmla="*/ 13 h 53"/>
                    <a:gd name="T48" fmla="*/ 72 w 94"/>
                    <a:gd name="T49" fmla="*/ 9 h 53"/>
                    <a:gd name="T50" fmla="*/ 67 w 94"/>
                    <a:gd name="T51" fmla="*/ 18 h 53"/>
                    <a:gd name="T52" fmla="*/ 58 w 94"/>
                    <a:gd name="T53" fmla="*/ 13 h 53"/>
                    <a:gd name="T54" fmla="*/ 63 w 94"/>
                    <a:gd name="T55" fmla="*/ 9 h 53"/>
                    <a:gd name="T56" fmla="*/ 54 w 94"/>
                    <a:gd name="T57" fmla="*/ 9 h 53"/>
                    <a:gd name="T58" fmla="*/ 49 w 94"/>
                    <a:gd name="T59" fmla="*/ 0 h 53"/>
                    <a:gd name="T60" fmla="*/ 45 w 94"/>
                    <a:gd name="T61" fmla="*/ 4 h 53"/>
                    <a:gd name="T62" fmla="*/ 40 w 94"/>
                    <a:gd name="T6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4" h="53">
                      <a:moveTo>
                        <a:pt x="40" y="0"/>
                      </a:moveTo>
                      <a:lnTo>
                        <a:pt x="36" y="0"/>
                      </a:lnTo>
                      <a:lnTo>
                        <a:pt x="32" y="9"/>
                      </a:lnTo>
                      <a:lnTo>
                        <a:pt x="18" y="9"/>
                      </a:lnTo>
                      <a:lnTo>
                        <a:pt x="9" y="18"/>
                      </a:lnTo>
                      <a:lnTo>
                        <a:pt x="5" y="18"/>
                      </a:lnTo>
                      <a:lnTo>
                        <a:pt x="0" y="18"/>
                      </a:lnTo>
                      <a:lnTo>
                        <a:pt x="5" y="27"/>
                      </a:lnTo>
                      <a:lnTo>
                        <a:pt x="9" y="36"/>
                      </a:lnTo>
                      <a:lnTo>
                        <a:pt x="18" y="36"/>
                      </a:lnTo>
                      <a:lnTo>
                        <a:pt x="27" y="44"/>
                      </a:lnTo>
                      <a:lnTo>
                        <a:pt x="27" y="49"/>
                      </a:lnTo>
                      <a:lnTo>
                        <a:pt x="36" y="49"/>
                      </a:lnTo>
                      <a:lnTo>
                        <a:pt x="45" y="40"/>
                      </a:lnTo>
                      <a:lnTo>
                        <a:pt x="67" y="44"/>
                      </a:lnTo>
                      <a:lnTo>
                        <a:pt x="67" y="53"/>
                      </a:lnTo>
                      <a:lnTo>
                        <a:pt x="72" y="49"/>
                      </a:lnTo>
                      <a:lnTo>
                        <a:pt x="81" y="49"/>
                      </a:lnTo>
                      <a:lnTo>
                        <a:pt x="85" y="44"/>
                      </a:lnTo>
                      <a:lnTo>
                        <a:pt x="90" y="36"/>
                      </a:lnTo>
                      <a:lnTo>
                        <a:pt x="94" y="31"/>
                      </a:lnTo>
                      <a:lnTo>
                        <a:pt x="94" y="22"/>
                      </a:lnTo>
                      <a:lnTo>
                        <a:pt x="85" y="22"/>
                      </a:lnTo>
                      <a:lnTo>
                        <a:pt x="81" y="13"/>
                      </a:lnTo>
                      <a:lnTo>
                        <a:pt x="72" y="9"/>
                      </a:lnTo>
                      <a:lnTo>
                        <a:pt x="67" y="18"/>
                      </a:lnTo>
                      <a:lnTo>
                        <a:pt x="58" y="13"/>
                      </a:lnTo>
                      <a:lnTo>
                        <a:pt x="63" y="9"/>
                      </a:lnTo>
                      <a:lnTo>
                        <a:pt x="54" y="9"/>
                      </a:lnTo>
                      <a:lnTo>
                        <a:pt x="49" y="0"/>
                      </a:lnTo>
                      <a:lnTo>
                        <a:pt x="45" y="4"/>
                      </a:lnTo>
                      <a:lnTo>
                        <a:pt x="40"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39" name="Freeform 179">
                  <a:extLst>
                    <a:ext uri="{FF2B5EF4-FFF2-40B4-BE49-F238E27FC236}">
                      <a16:creationId xmlns:a16="http://schemas.microsoft.com/office/drawing/2014/main" id="{D34C4352-9412-48F6-B5D1-8B5AA6CC0B6A}"/>
                    </a:ext>
                  </a:extLst>
                </p:cNvPr>
                <p:cNvSpPr>
                  <a:spLocks noEditPoints="1"/>
                </p:cNvSpPr>
                <p:nvPr/>
              </p:nvSpPr>
              <p:spPr bwMode="gray">
                <a:xfrm>
                  <a:off x="2629" y="1604"/>
                  <a:ext cx="313" cy="223"/>
                </a:xfrm>
                <a:custGeom>
                  <a:avLst/>
                  <a:gdLst>
                    <a:gd name="T0" fmla="*/ 0 w 313"/>
                    <a:gd name="T1" fmla="*/ 9 h 223"/>
                    <a:gd name="T2" fmla="*/ 5 w 313"/>
                    <a:gd name="T3" fmla="*/ 18 h 223"/>
                    <a:gd name="T4" fmla="*/ 5 w 313"/>
                    <a:gd name="T5" fmla="*/ 27 h 223"/>
                    <a:gd name="T6" fmla="*/ 9 w 313"/>
                    <a:gd name="T7" fmla="*/ 31 h 223"/>
                    <a:gd name="T8" fmla="*/ 9 w 313"/>
                    <a:gd name="T9" fmla="*/ 18 h 223"/>
                    <a:gd name="T10" fmla="*/ 5 w 313"/>
                    <a:gd name="T11" fmla="*/ 13 h 223"/>
                    <a:gd name="T12" fmla="*/ 14 w 313"/>
                    <a:gd name="T13" fmla="*/ 0 h 223"/>
                    <a:gd name="T14" fmla="*/ 0 w 313"/>
                    <a:gd name="T15" fmla="*/ 4 h 223"/>
                    <a:gd name="T16" fmla="*/ 241 w 313"/>
                    <a:gd name="T17" fmla="*/ 214 h 223"/>
                    <a:gd name="T18" fmla="*/ 237 w 313"/>
                    <a:gd name="T19" fmla="*/ 206 h 223"/>
                    <a:gd name="T20" fmla="*/ 237 w 313"/>
                    <a:gd name="T21" fmla="*/ 192 h 223"/>
                    <a:gd name="T22" fmla="*/ 241 w 313"/>
                    <a:gd name="T23" fmla="*/ 188 h 223"/>
                    <a:gd name="T24" fmla="*/ 246 w 313"/>
                    <a:gd name="T25" fmla="*/ 183 h 223"/>
                    <a:gd name="T26" fmla="*/ 250 w 313"/>
                    <a:gd name="T27" fmla="*/ 170 h 223"/>
                    <a:gd name="T28" fmla="*/ 246 w 313"/>
                    <a:gd name="T29" fmla="*/ 165 h 223"/>
                    <a:gd name="T30" fmla="*/ 241 w 313"/>
                    <a:gd name="T31" fmla="*/ 156 h 223"/>
                    <a:gd name="T32" fmla="*/ 246 w 313"/>
                    <a:gd name="T33" fmla="*/ 156 h 223"/>
                    <a:gd name="T34" fmla="*/ 246 w 313"/>
                    <a:gd name="T35" fmla="*/ 143 h 223"/>
                    <a:gd name="T36" fmla="*/ 246 w 313"/>
                    <a:gd name="T37" fmla="*/ 134 h 223"/>
                    <a:gd name="T38" fmla="*/ 237 w 313"/>
                    <a:gd name="T39" fmla="*/ 152 h 223"/>
                    <a:gd name="T40" fmla="*/ 219 w 313"/>
                    <a:gd name="T41" fmla="*/ 161 h 223"/>
                    <a:gd name="T42" fmla="*/ 224 w 313"/>
                    <a:gd name="T43" fmla="*/ 165 h 223"/>
                    <a:gd name="T44" fmla="*/ 219 w 313"/>
                    <a:gd name="T45" fmla="*/ 170 h 223"/>
                    <a:gd name="T46" fmla="*/ 224 w 313"/>
                    <a:gd name="T47" fmla="*/ 174 h 223"/>
                    <a:gd name="T48" fmla="*/ 219 w 313"/>
                    <a:gd name="T49" fmla="*/ 183 h 223"/>
                    <a:gd name="T50" fmla="*/ 224 w 313"/>
                    <a:gd name="T51" fmla="*/ 188 h 223"/>
                    <a:gd name="T52" fmla="*/ 219 w 313"/>
                    <a:gd name="T53" fmla="*/ 201 h 223"/>
                    <a:gd name="T54" fmla="*/ 224 w 313"/>
                    <a:gd name="T55" fmla="*/ 206 h 223"/>
                    <a:gd name="T56" fmla="*/ 224 w 313"/>
                    <a:gd name="T57" fmla="*/ 219 h 223"/>
                    <a:gd name="T58" fmla="*/ 241 w 313"/>
                    <a:gd name="T59" fmla="*/ 206 h 223"/>
                    <a:gd name="T60" fmla="*/ 246 w 313"/>
                    <a:gd name="T61" fmla="*/ 210 h 223"/>
                    <a:gd name="T62" fmla="*/ 246 w 313"/>
                    <a:gd name="T63" fmla="*/ 219 h 223"/>
                    <a:gd name="T64" fmla="*/ 246 w 313"/>
                    <a:gd name="T65" fmla="*/ 210 h 223"/>
                    <a:gd name="T66" fmla="*/ 246 w 313"/>
                    <a:gd name="T67" fmla="*/ 201 h 223"/>
                    <a:gd name="T68" fmla="*/ 250 w 313"/>
                    <a:gd name="T69" fmla="*/ 214 h 223"/>
                    <a:gd name="T70" fmla="*/ 259 w 313"/>
                    <a:gd name="T71" fmla="*/ 223 h 223"/>
                    <a:gd name="T72" fmla="*/ 264 w 313"/>
                    <a:gd name="T73" fmla="*/ 219 h 223"/>
                    <a:gd name="T74" fmla="*/ 264 w 313"/>
                    <a:gd name="T75" fmla="*/ 214 h 223"/>
                    <a:gd name="T76" fmla="*/ 250 w 313"/>
                    <a:gd name="T77" fmla="*/ 214 h 223"/>
                    <a:gd name="T78" fmla="*/ 264 w 313"/>
                    <a:gd name="T79" fmla="*/ 192 h 223"/>
                    <a:gd name="T80" fmla="*/ 255 w 313"/>
                    <a:gd name="T81" fmla="*/ 192 h 223"/>
                    <a:gd name="T82" fmla="*/ 255 w 313"/>
                    <a:gd name="T83" fmla="*/ 206 h 223"/>
                    <a:gd name="T84" fmla="*/ 264 w 313"/>
                    <a:gd name="T85" fmla="*/ 210 h 223"/>
                    <a:gd name="T86" fmla="*/ 273 w 313"/>
                    <a:gd name="T87" fmla="*/ 210 h 223"/>
                    <a:gd name="T88" fmla="*/ 273 w 313"/>
                    <a:gd name="T89" fmla="*/ 201 h 223"/>
                    <a:gd name="T90" fmla="*/ 273 w 313"/>
                    <a:gd name="T91" fmla="*/ 197 h 223"/>
                    <a:gd name="T92" fmla="*/ 273 w 313"/>
                    <a:gd name="T93" fmla="*/ 183 h 223"/>
                    <a:gd name="T94" fmla="*/ 264 w 313"/>
                    <a:gd name="T95" fmla="*/ 183 h 223"/>
                    <a:gd name="T96" fmla="*/ 304 w 313"/>
                    <a:gd name="T97" fmla="*/ 210 h 223"/>
                    <a:gd name="T98" fmla="*/ 313 w 313"/>
                    <a:gd name="T99" fmla="*/ 206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3" h="223">
                      <a:moveTo>
                        <a:pt x="0" y="4"/>
                      </a:moveTo>
                      <a:lnTo>
                        <a:pt x="0" y="9"/>
                      </a:lnTo>
                      <a:lnTo>
                        <a:pt x="5" y="13"/>
                      </a:lnTo>
                      <a:lnTo>
                        <a:pt x="5" y="18"/>
                      </a:lnTo>
                      <a:lnTo>
                        <a:pt x="9" y="22"/>
                      </a:lnTo>
                      <a:lnTo>
                        <a:pt x="5" y="27"/>
                      </a:lnTo>
                      <a:lnTo>
                        <a:pt x="9" y="31"/>
                      </a:lnTo>
                      <a:lnTo>
                        <a:pt x="9" y="31"/>
                      </a:lnTo>
                      <a:lnTo>
                        <a:pt x="5" y="27"/>
                      </a:lnTo>
                      <a:lnTo>
                        <a:pt x="9" y="18"/>
                      </a:lnTo>
                      <a:lnTo>
                        <a:pt x="5" y="13"/>
                      </a:lnTo>
                      <a:lnTo>
                        <a:pt x="5" y="13"/>
                      </a:lnTo>
                      <a:lnTo>
                        <a:pt x="5" y="4"/>
                      </a:lnTo>
                      <a:lnTo>
                        <a:pt x="14" y="0"/>
                      </a:lnTo>
                      <a:lnTo>
                        <a:pt x="9" y="0"/>
                      </a:lnTo>
                      <a:lnTo>
                        <a:pt x="0" y="4"/>
                      </a:lnTo>
                      <a:close/>
                      <a:moveTo>
                        <a:pt x="224" y="219"/>
                      </a:moveTo>
                      <a:lnTo>
                        <a:pt x="241" y="214"/>
                      </a:lnTo>
                      <a:lnTo>
                        <a:pt x="237" y="210"/>
                      </a:lnTo>
                      <a:lnTo>
                        <a:pt x="237" y="206"/>
                      </a:lnTo>
                      <a:lnTo>
                        <a:pt x="241" y="197"/>
                      </a:lnTo>
                      <a:lnTo>
                        <a:pt x="237" y="192"/>
                      </a:lnTo>
                      <a:lnTo>
                        <a:pt x="241" y="192"/>
                      </a:lnTo>
                      <a:lnTo>
                        <a:pt x="241" y="188"/>
                      </a:lnTo>
                      <a:lnTo>
                        <a:pt x="241" y="179"/>
                      </a:lnTo>
                      <a:lnTo>
                        <a:pt x="246" y="183"/>
                      </a:lnTo>
                      <a:lnTo>
                        <a:pt x="250" y="174"/>
                      </a:lnTo>
                      <a:lnTo>
                        <a:pt x="250" y="170"/>
                      </a:lnTo>
                      <a:lnTo>
                        <a:pt x="246" y="170"/>
                      </a:lnTo>
                      <a:lnTo>
                        <a:pt x="246" y="165"/>
                      </a:lnTo>
                      <a:lnTo>
                        <a:pt x="241" y="156"/>
                      </a:lnTo>
                      <a:lnTo>
                        <a:pt x="241" y="156"/>
                      </a:lnTo>
                      <a:lnTo>
                        <a:pt x="241" y="152"/>
                      </a:lnTo>
                      <a:lnTo>
                        <a:pt x="246" y="156"/>
                      </a:lnTo>
                      <a:lnTo>
                        <a:pt x="250" y="147"/>
                      </a:lnTo>
                      <a:lnTo>
                        <a:pt x="246" y="143"/>
                      </a:lnTo>
                      <a:lnTo>
                        <a:pt x="246" y="139"/>
                      </a:lnTo>
                      <a:lnTo>
                        <a:pt x="246" y="134"/>
                      </a:lnTo>
                      <a:lnTo>
                        <a:pt x="241" y="134"/>
                      </a:lnTo>
                      <a:lnTo>
                        <a:pt x="237" y="152"/>
                      </a:lnTo>
                      <a:lnTo>
                        <a:pt x="224" y="156"/>
                      </a:lnTo>
                      <a:lnTo>
                        <a:pt x="219" y="161"/>
                      </a:lnTo>
                      <a:lnTo>
                        <a:pt x="219" y="165"/>
                      </a:lnTo>
                      <a:lnTo>
                        <a:pt x="224" y="165"/>
                      </a:lnTo>
                      <a:lnTo>
                        <a:pt x="224" y="170"/>
                      </a:lnTo>
                      <a:lnTo>
                        <a:pt x="219" y="170"/>
                      </a:lnTo>
                      <a:lnTo>
                        <a:pt x="219" y="174"/>
                      </a:lnTo>
                      <a:lnTo>
                        <a:pt x="224" y="174"/>
                      </a:lnTo>
                      <a:lnTo>
                        <a:pt x="219" y="179"/>
                      </a:lnTo>
                      <a:lnTo>
                        <a:pt x="219" y="183"/>
                      </a:lnTo>
                      <a:lnTo>
                        <a:pt x="219" y="183"/>
                      </a:lnTo>
                      <a:lnTo>
                        <a:pt x="224" y="188"/>
                      </a:lnTo>
                      <a:lnTo>
                        <a:pt x="219" y="192"/>
                      </a:lnTo>
                      <a:lnTo>
                        <a:pt x="219" y="201"/>
                      </a:lnTo>
                      <a:lnTo>
                        <a:pt x="224" y="197"/>
                      </a:lnTo>
                      <a:lnTo>
                        <a:pt x="224" y="206"/>
                      </a:lnTo>
                      <a:lnTo>
                        <a:pt x="224" y="214"/>
                      </a:lnTo>
                      <a:lnTo>
                        <a:pt x="224" y="219"/>
                      </a:lnTo>
                      <a:close/>
                      <a:moveTo>
                        <a:pt x="241" y="197"/>
                      </a:moveTo>
                      <a:lnTo>
                        <a:pt x="241" y="206"/>
                      </a:lnTo>
                      <a:lnTo>
                        <a:pt x="241" y="210"/>
                      </a:lnTo>
                      <a:lnTo>
                        <a:pt x="246" y="210"/>
                      </a:lnTo>
                      <a:lnTo>
                        <a:pt x="246" y="219"/>
                      </a:lnTo>
                      <a:lnTo>
                        <a:pt x="246" y="219"/>
                      </a:lnTo>
                      <a:lnTo>
                        <a:pt x="250" y="210"/>
                      </a:lnTo>
                      <a:lnTo>
                        <a:pt x="246" y="210"/>
                      </a:lnTo>
                      <a:lnTo>
                        <a:pt x="246" y="206"/>
                      </a:lnTo>
                      <a:lnTo>
                        <a:pt x="246" y="201"/>
                      </a:lnTo>
                      <a:lnTo>
                        <a:pt x="241" y="197"/>
                      </a:lnTo>
                      <a:close/>
                      <a:moveTo>
                        <a:pt x="250" y="214"/>
                      </a:moveTo>
                      <a:lnTo>
                        <a:pt x="250" y="219"/>
                      </a:lnTo>
                      <a:lnTo>
                        <a:pt x="259" y="223"/>
                      </a:lnTo>
                      <a:lnTo>
                        <a:pt x="264" y="219"/>
                      </a:lnTo>
                      <a:lnTo>
                        <a:pt x="264" y="219"/>
                      </a:lnTo>
                      <a:lnTo>
                        <a:pt x="268" y="219"/>
                      </a:lnTo>
                      <a:lnTo>
                        <a:pt x="264" y="214"/>
                      </a:lnTo>
                      <a:lnTo>
                        <a:pt x="259" y="214"/>
                      </a:lnTo>
                      <a:lnTo>
                        <a:pt x="250" y="214"/>
                      </a:lnTo>
                      <a:close/>
                      <a:moveTo>
                        <a:pt x="264" y="183"/>
                      </a:moveTo>
                      <a:lnTo>
                        <a:pt x="264" y="192"/>
                      </a:lnTo>
                      <a:lnTo>
                        <a:pt x="259" y="183"/>
                      </a:lnTo>
                      <a:lnTo>
                        <a:pt x="255" y="192"/>
                      </a:lnTo>
                      <a:lnTo>
                        <a:pt x="250" y="192"/>
                      </a:lnTo>
                      <a:lnTo>
                        <a:pt x="255" y="206"/>
                      </a:lnTo>
                      <a:lnTo>
                        <a:pt x="259" y="206"/>
                      </a:lnTo>
                      <a:lnTo>
                        <a:pt x="264" y="210"/>
                      </a:lnTo>
                      <a:lnTo>
                        <a:pt x="273" y="214"/>
                      </a:lnTo>
                      <a:lnTo>
                        <a:pt x="273" y="210"/>
                      </a:lnTo>
                      <a:lnTo>
                        <a:pt x="268" y="206"/>
                      </a:lnTo>
                      <a:lnTo>
                        <a:pt x="273" y="201"/>
                      </a:lnTo>
                      <a:lnTo>
                        <a:pt x="268" y="197"/>
                      </a:lnTo>
                      <a:lnTo>
                        <a:pt x="273" y="197"/>
                      </a:lnTo>
                      <a:lnTo>
                        <a:pt x="273" y="192"/>
                      </a:lnTo>
                      <a:lnTo>
                        <a:pt x="273" y="183"/>
                      </a:lnTo>
                      <a:lnTo>
                        <a:pt x="268" y="179"/>
                      </a:lnTo>
                      <a:lnTo>
                        <a:pt x="264" y="183"/>
                      </a:lnTo>
                      <a:close/>
                      <a:moveTo>
                        <a:pt x="308" y="206"/>
                      </a:moveTo>
                      <a:lnTo>
                        <a:pt x="304" y="210"/>
                      </a:lnTo>
                      <a:lnTo>
                        <a:pt x="313" y="210"/>
                      </a:lnTo>
                      <a:lnTo>
                        <a:pt x="313" y="206"/>
                      </a:lnTo>
                      <a:lnTo>
                        <a:pt x="308" y="206"/>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40" name="Freeform 180">
                  <a:extLst>
                    <a:ext uri="{FF2B5EF4-FFF2-40B4-BE49-F238E27FC236}">
                      <a16:creationId xmlns:a16="http://schemas.microsoft.com/office/drawing/2014/main" id="{BC75CB58-BFAA-4473-9D90-57BC5986605C}"/>
                    </a:ext>
                  </a:extLst>
                </p:cNvPr>
                <p:cNvSpPr>
                  <a:spLocks noEditPoints="1"/>
                </p:cNvSpPr>
                <p:nvPr/>
              </p:nvSpPr>
              <p:spPr bwMode="gray">
                <a:xfrm>
                  <a:off x="3036" y="1689"/>
                  <a:ext cx="98" cy="62"/>
                </a:xfrm>
                <a:custGeom>
                  <a:avLst/>
                  <a:gdLst>
                    <a:gd name="T0" fmla="*/ 4 w 98"/>
                    <a:gd name="T1" fmla="*/ 31 h 62"/>
                    <a:gd name="T2" fmla="*/ 0 w 98"/>
                    <a:gd name="T3" fmla="*/ 36 h 62"/>
                    <a:gd name="T4" fmla="*/ 4 w 98"/>
                    <a:gd name="T5" fmla="*/ 40 h 62"/>
                    <a:gd name="T6" fmla="*/ 0 w 98"/>
                    <a:gd name="T7" fmla="*/ 45 h 62"/>
                    <a:gd name="T8" fmla="*/ 4 w 98"/>
                    <a:gd name="T9" fmla="*/ 49 h 62"/>
                    <a:gd name="T10" fmla="*/ 9 w 98"/>
                    <a:gd name="T11" fmla="*/ 40 h 62"/>
                    <a:gd name="T12" fmla="*/ 13 w 98"/>
                    <a:gd name="T13" fmla="*/ 40 h 62"/>
                    <a:gd name="T14" fmla="*/ 22 w 98"/>
                    <a:gd name="T15" fmla="*/ 31 h 62"/>
                    <a:gd name="T16" fmla="*/ 22 w 98"/>
                    <a:gd name="T17" fmla="*/ 27 h 62"/>
                    <a:gd name="T18" fmla="*/ 18 w 98"/>
                    <a:gd name="T19" fmla="*/ 27 h 62"/>
                    <a:gd name="T20" fmla="*/ 13 w 98"/>
                    <a:gd name="T21" fmla="*/ 27 h 62"/>
                    <a:gd name="T22" fmla="*/ 22 w 98"/>
                    <a:gd name="T23" fmla="*/ 22 h 62"/>
                    <a:gd name="T24" fmla="*/ 13 w 98"/>
                    <a:gd name="T25" fmla="*/ 18 h 62"/>
                    <a:gd name="T26" fmla="*/ 9 w 98"/>
                    <a:gd name="T27" fmla="*/ 22 h 62"/>
                    <a:gd name="T28" fmla="*/ 13 w 98"/>
                    <a:gd name="T29" fmla="*/ 27 h 62"/>
                    <a:gd name="T30" fmla="*/ 13 w 98"/>
                    <a:gd name="T31" fmla="*/ 27 h 62"/>
                    <a:gd name="T32" fmla="*/ 4 w 98"/>
                    <a:gd name="T33" fmla="*/ 31 h 62"/>
                    <a:gd name="T34" fmla="*/ 40 w 98"/>
                    <a:gd name="T35" fmla="*/ 54 h 62"/>
                    <a:gd name="T36" fmla="*/ 53 w 98"/>
                    <a:gd name="T37" fmla="*/ 49 h 62"/>
                    <a:gd name="T38" fmla="*/ 62 w 98"/>
                    <a:gd name="T39" fmla="*/ 54 h 62"/>
                    <a:gd name="T40" fmla="*/ 71 w 98"/>
                    <a:gd name="T41" fmla="*/ 58 h 62"/>
                    <a:gd name="T42" fmla="*/ 76 w 98"/>
                    <a:gd name="T43" fmla="*/ 58 h 62"/>
                    <a:gd name="T44" fmla="*/ 85 w 98"/>
                    <a:gd name="T45" fmla="*/ 62 h 62"/>
                    <a:gd name="T46" fmla="*/ 94 w 98"/>
                    <a:gd name="T47" fmla="*/ 58 h 62"/>
                    <a:gd name="T48" fmla="*/ 98 w 98"/>
                    <a:gd name="T49" fmla="*/ 54 h 62"/>
                    <a:gd name="T50" fmla="*/ 89 w 98"/>
                    <a:gd name="T51" fmla="*/ 45 h 62"/>
                    <a:gd name="T52" fmla="*/ 85 w 98"/>
                    <a:gd name="T53" fmla="*/ 36 h 62"/>
                    <a:gd name="T54" fmla="*/ 85 w 98"/>
                    <a:gd name="T55" fmla="*/ 31 h 62"/>
                    <a:gd name="T56" fmla="*/ 85 w 98"/>
                    <a:gd name="T57" fmla="*/ 22 h 62"/>
                    <a:gd name="T58" fmla="*/ 94 w 98"/>
                    <a:gd name="T59" fmla="*/ 18 h 62"/>
                    <a:gd name="T60" fmla="*/ 98 w 98"/>
                    <a:gd name="T61" fmla="*/ 9 h 62"/>
                    <a:gd name="T62" fmla="*/ 94 w 98"/>
                    <a:gd name="T63" fmla="*/ 0 h 62"/>
                    <a:gd name="T64" fmla="*/ 89 w 98"/>
                    <a:gd name="T65" fmla="*/ 4 h 62"/>
                    <a:gd name="T66" fmla="*/ 71 w 98"/>
                    <a:gd name="T67" fmla="*/ 0 h 62"/>
                    <a:gd name="T68" fmla="*/ 40 w 98"/>
                    <a:gd name="T69" fmla="*/ 9 h 62"/>
                    <a:gd name="T70" fmla="*/ 27 w 98"/>
                    <a:gd name="T71" fmla="*/ 18 h 62"/>
                    <a:gd name="T72" fmla="*/ 27 w 98"/>
                    <a:gd name="T73" fmla="*/ 31 h 62"/>
                    <a:gd name="T74" fmla="*/ 35 w 98"/>
                    <a:gd name="T75" fmla="*/ 40 h 62"/>
                    <a:gd name="T76" fmla="*/ 40 w 98"/>
                    <a:gd name="T77" fmla="*/ 36 h 62"/>
                    <a:gd name="T78" fmla="*/ 40 w 98"/>
                    <a:gd name="T79" fmla="*/ 5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8" h="62">
                      <a:moveTo>
                        <a:pt x="4" y="31"/>
                      </a:moveTo>
                      <a:lnTo>
                        <a:pt x="0" y="36"/>
                      </a:lnTo>
                      <a:lnTo>
                        <a:pt x="4" y="40"/>
                      </a:lnTo>
                      <a:lnTo>
                        <a:pt x="0" y="45"/>
                      </a:lnTo>
                      <a:lnTo>
                        <a:pt x="4" y="49"/>
                      </a:lnTo>
                      <a:lnTo>
                        <a:pt x="9" y="40"/>
                      </a:lnTo>
                      <a:lnTo>
                        <a:pt x="13" y="40"/>
                      </a:lnTo>
                      <a:lnTo>
                        <a:pt x="22" y="31"/>
                      </a:lnTo>
                      <a:lnTo>
                        <a:pt x="22" y="27"/>
                      </a:lnTo>
                      <a:lnTo>
                        <a:pt x="18" y="27"/>
                      </a:lnTo>
                      <a:lnTo>
                        <a:pt x="13" y="27"/>
                      </a:lnTo>
                      <a:lnTo>
                        <a:pt x="22" y="22"/>
                      </a:lnTo>
                      <a:lnTo>
                        <a:pt x="13" y="18"/>
                      </a:lnTo>
                      <a:lnTo>
                        <a:pt x="9" y="22"/>
                      </a:lnTo>
                      <a:lnTo>
                        <a:pt x="13" y="27"/>
                      </a:lnTo>
                      <a:lnTo>
                        <a:pt x="13" y="27"/>
                      </a:lnTo>
                      <a:lnTo>
                        <a:pt x="4" y="31"/>
                      </a:lnTo>
                      <a:close/>
                      <a:moveTo>
                        <a:pt x="40" y="54"/>
                      </a:moveTo>
                      <a:lnTo>
                        <a:pt x="53" y="49"/>
                      </a:lnTo>
                      <a:lnTo>
                        <a:pt x="62" y="54"/>
                      </a:lnTo>
                      <a:lnTo>
                        <a:pt x="71" y="58"/>
                      </a:lnTo>
                      <a:lnTo>
                        <a:pt x="76" y="58"/>
                      </a:lnTo>
                      <a:lnTo>
                        <a:pt x="85" y="62"/>
                      </a:lnTo>
                      <a:lnTo>
                        <a:pt x="94" y="58"/>
                      </a:lnTo>
                      <a:lnTo>
                        <a:pt x="98" y="54"/>
                      </a:lnTo>
                      <a:lnTo>
                        <a:pt x="89" y="45"/>
                      </a:lnTo>
                      <a:lnTo>
                        <a:pt x="85" y="36"/>
                      </a:lnTo>
                      <a:lnTo>
                        <a:pt x="85" y="31"/>
                      </a:lnTo>
                      <a:lnTo>
                        <a:pt x="85" y="22"/>
                      </a:lnTo>
                      <a:lnTo>
                        <a:pt x="94" y="18"/>
                      </a:lnTo>
                      <a:lnTo>
                        <a:pt x="98" y="9"/>
                      </a:lnTo>
                      <a:lnTo>
                        <a:pt x="94" y="0"/>
                      </a:lnTo>
                      <a:lnTo>
                        <a:pt x="89" y="4"/>
                      </a:lnTo>
                      <a:lnTo>
                        <a:pt x="71" y="0"/>
                      </a:lnTo>
                      <a:lnTo>
                        <a:pt x="40" y="9"/>
                      </a:lnTo>
                      <a:lnTo>
                        <a:pt x="27" y="18"/>
                      </a:lnTo>
                      <a:lnTo>
                        <a:pt x="27" y="31"/>
                      </a:lnTo>
                      <a:lnTo>
                        <a:pt x="35" y="40"/>
                      </a:lnTo>
                      <a:lnTo>
                        <a:pt x="40" y="36"/>
                      </a:lnTo>
                      <a:lnTo>
                        <a:pt x="40" y="5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41" name="Freeform 181">
                  <a:extLst>
                    <a:ext uri="{FF2B5EF4-FFF2-40B4-BE49-F238E27FC236}">
                      <a16:creationId xmlns:a16="http://schemas.microsoft.com/office/drawing/2014/main" id="{E4AB551A-E74D-4BF0-8D03-34D1C616C107}"/>
                    </a:ext>
                  </a:extLst>
                </p:cNvPr>
                <p:cNvSpPr>
                  <a:spLocks/>
                </p:cNvSpPr>
                <p:nvPr/>
              </p:nvSpPr>
              <p:spPr bwMode="gray">
                <a:xfrm>
                  <a:off x="3018" y="1327"/>
                  <a:ext cx="165" cy="362"/>
                </a:xfrm>
                <a:custGeom>
                  <a:avLst/>
                  <a:gdLst>
                    <a:gd name="T0" fmla="*/ 18 w 165"/>
                    <a:gd name="T1" fmla="*/ 54 h 362"/>
                    <a:gd name="T2" fmla="*/ 45 w 165"/>
                    <a:gd name="T3" fmla="*/ 76 h 362"/>
                    <a:gd name="T4" fmla="*/ 53 w 165"/>
                    <a:gd name="T5" fmla="*/ 121 h 362"/>
                    <a:gd name="T6" fmla="*/ 49 w 165"/>
                    <a:gd name="T7" fmla="*/ 152 h 362"/>
                    <a:gd name="T8" fmla="*/ 58 w 165"/>
                    <a:gd name="T9" fmla="*/ 165 h 362"/>
                    <a:gd name="T10" fmla="*/ 67 w 165"/>
                    <a:gd name="T11" fmla="*/ 192 h 362"/>
                    <a:gd name="T12" fmla="*/ 45 w 165"/>
                    <a:gd name="T13" fmla="*/ 219 h 362"/>
                    <a:gd name="T14" fmla="*/ 22 w 165"/>
                    <a:gd name="T15" fmla="*/ 250 h 362"/>
                    <a:gd name="T16" fmla="*/ 9 w 165"/>
                    <a:gd name="T17" fmla="*/ 264 h 362"/>
                    <a:gd name="T18" fmla="*/ 13 w 165"/>
                    <a:gd name="T19" fmla="*/ 277 h 362"/>
                    <a:gd name="T20" fmla="*/ 13 w 165"/>
                    <a:gd name="T21" fmla="*/ 313 h 362"/>
                    <a:gd name="T22" fmla="*/ 27 w 165"/>
                    <a:gd name="T23" fmla="*/ 335 h 362"/>
                    <a:gd name="T24" fmla="*/ 36 w 165"/>
                    <a:gd name="T25" fmla="*/ 340 h 362"/>
                    <a:gd name="T26" fmla="*/ 36 w 165"/>
                    <a:gd name="T27" fmla="*/ 348 h 362"/>
                    <a:gd name="T28" fmla="*/ 40 w 165"/>
                    <a:gd name="T29" fmla="*/ 353 h 362"/>
                    <a:gd name="T30" fmla="*/ 40 w 165"/>
                    <a:gd name="T31" fmla="*/ 362 h 362"/>
                    <a:gd name="T32" fmla="*/ 58 w 165"/>
                    <a:gd name="T33" fmla="*/ 348 h 362"/>
                    <a:gd name="T34" fmla="*/ 62 w 165"/>
                    <a:gd name="T35" fmla="*/ 353 h 362"/>
                    <a:gd name="T36" fmla="*/ 76 w 165"/>
                    <a:gd name="T37" fmla="*/ 348 h 362"/>
                    <a:gd name="T38" fmla="*/ 85 w 165"/>
                    <a:gd name="T39" fmla="*/ 344 h 362"/>
                    <a:gd name="T40" fmla="*/ 98 w 165"/>
                    <a:gd name="T41" fmla="*/ 340 h 362"/>
                    <a:gd name="T42" fmla="*/ 112 w 165"/>
                    <a:gd name="T43" fmla="*/ 340 h 362"/>
                    <a:gd name="T44" fmla="*/ 129 w 165"/>
                    <a:gd name="T45" fmla="*/ 322 h 362"/>
                    <a:gd name="T46" fmla="*/ 161 w 165"/>
                    <a:gd name="T47" fmla="*/ 281 h 362"/>
                    <a:gd name="T48" fmla="*/ 147 w 165"/>
                    <a:gd name="T49" fmla="*/ 255 h 362"/>
                    <a:gd name="T50" fmla="*/ 147 w 165"/>
                    <a:gd name="T51" fmla="*/ 228 h 362"/>
                    <a:gd name="T52" fmla="*/ 143 w 165"/>
                    <a:gd name="T53" fmla="*/ 214 h 362"/>
                    <a:gd name="T54" fmla="*/ 134 w 165"/>
                    <a:gd name="T55" fmla="*/ 165 h 362"/>
                    <a:gd name="T56" fmla="*/ 134 w 165"/>
                    <a:gd name="T57" fmla="*/ 147 h 362"/>
                    <a:gd name="T58" fmla="*/ 120 w 165"/>
                    <a:gd name="T59" fmla="*/ 116 h 362"/>
                    <a:gd name="T60" fmla="*/ 134 w 165"/>
                    <a:gd name="T61" fmla="*/ 80 h 362"/>
                    <a:gd name="T62" fmla="*/ 116 w 165"/>
                    <a:gd name="T63" fmla="*/ 54 h 362"/>
                    <a:gd name="T64" fmla="*/ 112 w 165"/>
                    <a:gd name="T65" fmla="*/ 40 h 362"/>
                    <a:gd name="T66" fmla="*/ 116 w 165"/>
                    <a:gd name="T67" fmla="*/ 31 h 362"/>
                    <a:gd name="T68" fmla="*/ 120 w 165"/>
                    <a:gd name="T69" fmla="*/ 9 h 362"/>
                    <a:gd name="T70" fmla="*/ 107 w 165"/>
                    <a:gd name="T71" fmla="*/ 0 h 362"/>
                    <a:gd name="T72" fmla="*/ 76 w 165"/>
                    <a:gd name="T73" fmla="*/ 22 h 362"/>
                    <a:gd name="T74" fmla="*/ 62 w 165"/>
                    <a:gd name="T75" fmla="*/ 58 h 362"/>
                    <a:gd name="T76" fmla="*/ 31 w 165"/>
                    <a:gd name="T77" fmla="*/ 54 h 362"/>
                    <a:gd name="T78" fmla="*/ 9 w 165"/>
                    <a:gd name="T79" fmla="*/ 31 h 362"/>
                    <a:gd name="T80" fmla="*/ 0 w 165"/>
                    <a:gd name="T81" fmla="*/ 3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5" h="362">
                      <a:moveTo>
                        <a:pt x="4" y="40"/>
                      </a:moveTo>
                      <a:lnTo>
                        <a:pt x="18" y="54"/>
                      </a:lnTo>
                      <a:lnTo>
                        <a:pt x="40" y="62"/>
                      </a:lnTo>
                      <a:lnTo>
                        <a:pt x="45" y="76"/>
                      </a:lnTo>
                      <a:lnTo>
                        <a:pt x="49" y="98"/>
                      </a:lnTo>
                      <a:lnTo>
                        <a:pt x="53" y="121"/>
                      </a:lnTo>
                      <a:lnTo>
                        <a:pt x="49" y="138"/>
                      </a:lnTo>
                      <a:lnTo>
                        <a:pt x="49" y="152"/>
                      </a:lnTo>
                      <a:lnTo>
                        <a:pt x="53" y="165"/>
                      </a:lnTo>
                      <a:lnTo>
                        <a:pt x="58" y="165"/>
                      </a:lnTo>
                      <a:lnTo>
                        <a:pt x="71" y="183"/>
                      </a:lnTo>
                      <a:lnTo>
                        <a:pt x="67" y="192"/>
                      </a:lnTo>
                      <a:lnTo>
                        <a:pt x="71" y="197"/>
                      </a:lnTo>
                      <a:lnTo>
                        <a:pt x="45" y="219"/>
                      </a:lnTo>
                      <a:lnTo>
                        <a:pt x="31" y="237"/>
                      </a:lnTo>
                      <a:lnTo>
                        <a:pt x="22" y="250"/>
                      </a:lnTo>
                      <a:lnTo>
                        <a:pt x="13" y="250"/>
                      </a:lnTo>
                      <a:lnTo>
                        <a:pt x="9" y="264"/>
                      </a:lnTo>
                      <a:lnTo>
                        <a:pt x="9" y="277"/>
                      </a:lnTo>
                      <a:lnTo>
                        <a:pt x="13" y="277"/>
                      </a:lnTo>
                      <a:lnTo>
                        <a:pt x="18" y="299"/>
                      </a:lnTo>
                      <a:lnTo>
                        <a:pt x="13" y="313"/>
                      </a:lnTo>
                      <a:lnTo>
                        <a:pt x="18" y="331"/>
                      </a:lnTo>
                      <a:lnTo>
                        <a:pt x="27" y="335"/>
                      </a:lnTo>
                      <a:lnTo>
                        <a:pt x="31" y="344"/>
                      </a:lnTo>
                      <a:lnTo>
                        <a:pt x="36" y="340"/>
                      </a:lnTo>
                      <a:lnTo>
                        <a:pt x="36" y="344"/>
                      </a:lnTo>
                      <a:lnTo>
                        <a:pt x="36" y="348"/>
                      </a:lnTo>
                      <a:lnTo>
                        <a:pt x="36" y="353"/>
                      </a:lnTo>
                      <a:lnTo>
                        <a:pt x="40" y="353"/>
                      </a:lnTo>
                      <a:lnTo>
                        <a:pt x="36" y="362"/>
                      </a:lnTo>
                      <a:lnTo>
                        <a:pt x="40" y="362"/>
                      </a:lnTo>
                      <a:lnTo>
                        <a:pt x="45" y="353"/>
                      </a:lnTo>
                      <a:lnTo>
                        <a:pt x="58" y="348"/>
                      </a:lnTo>
                      <a:lnTo>
                        <a:pt x="58" y="353"/>
                      </a:lnTo>
                      <a:lnTo>
                        <a:pt x="62" y="353"/>
                      </a:lnTo>
                      <a:lnTo>
                        <a:pt x="67" y="344"/>
                      </a:lnTo>
                      <a:lnTo>
                        <a:pt x="76" y="348"/>
                      </a:lnTo>
                      <a:lnTo>
                        <a:pt x="80" y="344"/>
                      </a:lnTo>
                      <a:lnTo>
                        <a:pt x="85" y="344"/>
                      </a:lnTo>
                      <a:lnTo>
                        <a:pt x="94" y="344"/>
                      </a:lnTo>
                      <a:lnTo>
                        <a:pt x="98" y="340"/>
                      </a:lnTo>
                      <a:lnTo>
                        <a:pt x="107" y="344"/>
                      </a:lnTo>
                      <a:lnTo>
                        <a:pt x="112" y="340"/>
                      </a:lnTo>
                      <a:lnTo>
                        <a:pt x="120" y="331"/>
                      </a:lnTo>
                      <a:lnTo>
                        <a:pt x="129" y="322"/>
                      </a:lnTo>
                      <a:lnTo>
                        <a:pt x="134" y="308"/>
                      </a:lnTo>
                      <a:lnTo>
                        <a:pt x="161" y="281"/>
                      </a:lnTo>
                      <a:lnTo>
                        <a:pt x="165" y="273"/>
                      </a:lnTo>
                      <a:lnTo>
                        <a:pt x="147" y="255"/>
                      </a:lnTo>
                      <a:lnTo>
                        <a:pt x="134" y="241"/>
                      </a:lnTo>
                      <a:lnTo>
                        <a:pt x="147" y="228"/>
                      </a:lnTo>
                      <a:lnTo>
                        <a:pt x="134" y="219"/>
                      </a:lnTo>
                      <a:lnTo>
                        <a:pt x="143" y="214"/>
                      </a:lnTo>
                      <a:lnTo>
                        <a:pt x="134" y="210"/>
                      </a:lnTo>
                      <a:lnTo>
                        <a:pt x="134" y="165"/>
                      </a:lnTo>
                      <a:lnTo>
                        <a:pt x="143" y="161"/>
                      </a:lnTo>
                      <a:lnTo>
                        <a:pt x="134" y="147"/>
                      </a:lnTo>
                      <a:lnTo>
                        <a:pt x="129" y="130"/>
                      </a:lnTo>
                      <a:lnTo>
                        <a:pt x="120" y="116"/>
                      </a:lnTo>
                      <a:lnTo>
                        <a:pt x="134" y="89"/>
                      </a:lnTo>
                      <a:lnTo>
                        <a:pt x="134" y="80"/>
                      </a:lnTo>
                      <a:lnTo>
                        <a:pt x="120" y="71"/>
                      </a:lnTo>
                      <a:lnTo>
                        <a:pt x="116" y="54"/>
                      </a:lnTo>
                      <a:lnTo>
                        <a:pt x="125" y="36"/>
                      </a:lnTo>
                      <a:lnTo>
                        <a:pt x="112" y="40"/>
                      </a:lnTo>
                      <a:lnTo>
                        <a:pt x="112" y="36"/>
                      </a:lnTo>
                      <a:lnTo>
                        <a:pt x="116" y="31"/>
                      </a:lnTo>
                      <a:lnTo>
                        <a:pt x="120" y="13"/>
                      </a:lnTo>
                      <a:lnTo>
                        <a:pt x="120" y="9"/>
                      </a:lnTo>
                      <a:lnTo>
                        <a:pt x="112" y="9"/>
                      </a:lnTo>
                      <a:lnTo>
                        <a:pt x="107" y="0"/>
                      </a:lnTo>
                      <a:lnTo>
                        <a:pt x="89" y="4"/>
                      </a:lnTo>
                      <a:lnTo>
                        <a:pt x="76" y="22"/>
                      </a:lnTo>
                      <a:lnTo>
                        <a:pt x="76" y="45"/>
                      </a:lnTo>
                      <a:lnTo>
                        <a:pt x="62" y="58"/>
                      </a:lnTo>
                      <a:lnTo>
                        <a:pt x="53" y="54"/>
                      </a:lnTo>
                      <a:lnTo>
                        <a:pt x="31" y="54"/>
                      </a:lnTo>
                      <a:lnTo>
                        <a:pt x="18" y="31"/>
                      </a:lnTo>
                      <a:lnTo>
                        <a:pt x="9" y="31"/>
                      </a:lnTo>
                      <a:lnTo>
                        <a:pt x="9" y="36"/>
                      </a:lnTo>
                      <a:lnTo>
                        <a:pt x="0" y="36"/>
                      </a:lnTo>
                      <a:lnTo>
                        <a:pt x="4" y="4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42" name="Freeform 182">
                  <a:extLst>
                    <a:ext uri="{FF2B5EF4-FFF2-40B4-BE49-F238E27FC236}">
                      <a16:creationId xmlns:a16="http://schemas.microsoft.com/office/drawing/2014/main" id="{5B9264B3-323A-4971-B155-34A4E965E196}"/>
                    </a:ext>
                  </a:extLst>
                </p:cNvPr>
                <p:cNvSpPr>
                  <a:spLocks noEditPoints="1"/>
                </p:cNvSpPr>
                <p:nvPr/>
              </p:nvSpPr>
              <p:spPr bwMode="gray">
                <a:xfrm>
                  <a:off x="2661" y="1908"/>
                  <a:ext cx="205" cy="205"/>
                </a:xfrm>
                <a:custGeom>
                  <a:avLst/>
                  <a:gdLst>
                    <a:gd name="T0" fmla="*/ 49 w 205"/>
                    <a:gd name="T1" fmla="*/ 174 h 205"/>
                    <a:gd name="T2" fmla="*/ 67 w 205"/>
                    <a:gd name="T3" fmla="*/ 183 h 205"/>
                    <a:gd name="T4" fmla="*/ 89 w 205"/>
                    <a:gd name="T5" fmla="*/ 183 h 205"/>
                    <a:gd name="T6" fmla="*/ 107 w 205"/>
                    <a:gd name="T7" fmla="*/ 188 h 205"/>
                    <a:gd name="T8" fmla="*/ 116 w 205"/>
                    <a:gd name="T9" fmla="*/ 174 h 205"/>
                    <a:gd name="T10" fmla="*/ 129 w 205"/>
                    <a:gd name="T11" fmla="*/ 174 h 205"/>
                    <a:gd name="T12" fmla="*/ 142 w 205"/>
                    <a:gd name="T13" fmla="*/ 170 h 205"/>
                    <a:gd name="T14" fmla="*/ 165 w 205"/>
                    <a:gd name="T15" fmla="*/ 170 h 205"/>
                    <a:gd name="T16" fmla="*/ 178 w 205"/>
                    <a:gd name="T17" fmla="*/ 161 h 205"/>
                    <a:gd name="T18" fmla="*/ 165 w 205"/>
                    <a:gd name="T19" fmla="*/ 156 h 205"/>
                    <a:gd name="T20" fmla="*/ 160 w 205"/>
                    <a:gd name="T21" fmla="*/ 129 h 205"/>
                    <a:gd name="T22" fmla="*/ 169 w 205"/>
                    <a:gd name="T23" fmla="*/ 116 h 205"/>
                    <a:gd name="T24" fmla="*/ 160 w 205"/>
                    <a:gd name="T25" fmla="*/ 103 h 205"/>
                    <a:gd name="T26" fmla="*/ 156 w 205"/>
                    <a:gd name="T27" fmla="*/ 103 h 205"/>
                    <a:gd name="T28" fmla="*/ 165 w 205"/>
                    <a:gd name="T29" fmla="*/ 85 h 205"/>
                    <a:gd name="T30" fmla="*/ 178 w 205"/>
                    <a:gd name="T31" fmla="*/ 80 h 205"/>
                    <a:gd name="T32" fmla="*/ 183 w 205"/>
                    <a:gd name="T33" fmla="*/ 53 h 205"/>
                    <a:gd name="T34" fmla="*/ 174 w 205"/>
                    <a:gd name="T35" fmla="*/ 45 h 205"/>
                    <a:gd name="T36" fmla="*/ 160 w 205"/>
                    <a:gd name="T37" fmla="*/ 40 h 205"/>
                    <a:gd name="T38" fmla="*/ 151 w 205"/>
                    <a:gd name="T39" fmla="*/ 40 h 205"/>
                    <a:gd name="T40" fmla="*/ 142 w 205"/>
                    <a:gd name="T41" fmla="*/ 36 h 205"/>
                    <a:gd name="T42" fmla="*/ 138 w 205"/>
                    <a:gd name="T43" fmla="*/ 22 h 205"/>
                    <a:gd name="T44" fmla="*/ 125 w 205"/>
                    <a:gd name="T45" fmla="*/ 27 h 205"/>
                    <a:gd name="T46" fmla="*/ 120 w 205"/>
                    <a:gd name="T47" fmla="*/ 18 h 205"/>
                    <a:gd name="T48" fmla="*/ 111 w 205"/>
                    <a:gd name="T49" fmla="*/ 13 h 205"/>
                    <a:gd name="T50" fmla="*/ 93 w 205"/>
                    <a:gd name="T51" fmla="*/ 4 h 205"/>
                    <a:gd name="T52" fmla="*/ 93 w 205"/>
                    <a:gd name="T53" fmla="*/ 22 h 205"/>
                    <a:gd name="T54" fmla="*/ 93 w 205"/>
                    <a:gd name="T55" fmla="*/ 27 h 205"/>
                    <a:gd name="T56" fmla="*/ 80 w 205"/>
                    <a:gd name="T57" fmla="*/ 31 h 205"/>
                    <a:gd name="T58" fmla="*/ 67 w 205"/>
                    <a:gd name="T59" fmla="*/ 36 h 205"/>
                    <a:gd name="T60" fmla="*/ 67 w 205"/>
                    <a:gd name="T61" fmla="*/ 40 h 205"/>
                    <a:gd name="T62" fmla="*/ 49 w 205"/>
                    <a:gd name="T63" fmla="*/ 45 h 205"/>
                    <a:gd name="T64" fmla="*/ 40 w 205"/>
                    <a:gd name="T65" fmla="*/ 36 h 205"/>
                    <a:gd name="T66" fmla="*/ 44 w 205"/>
                    <a:gd name="T67" fmla="*/ 45 h 205"/>
                    <a:gd name="T68" fmla="*/ 49 w 205"/>
                    <a:gd name="T69" fmla="*/ 58 h 205"/>
                    <a:gd name="T70" fmla="*/ 35 w 205"/>
                    <a:gd name="T71" fmla="*/ 58 h 205"/>
                    <a:gd name="T72" fmla="*/ 22 w 205"/>
                    <a:gd name="T73" fmla="*/ 53 h 205"/>
                    <a:gd name="T74" fmla="*/ 17 w 205"/>
                    <a:gd name="T75" fmla="*/ 58 h 205"/>
                    <a:gd name="T76" fmla="*/ 8 w 205"/>
                    <a:gd name="T77" fmla="*/ 58 h 205"/>
                    <a:gd name="T78" fmla="*/ 0 w 205"/>
                    <a:gd name="T79" fmla="*/ 62 h 205"/>
                    <a:gd name="T80" fmla="*/ 4 w 205"/>
                    <a:gd name="T81" fmla="*/ 62 h 205"/>
                    <a:gd name="T82" fmla="*/ 0 w 205"/>
                    <a:gd name="T83" fmla="*/ 67 h 205"/>
                    <a:gd name="T84" fmla="*/ 4 w 205"/>
                    <a:gd name="T85" fmla="*/ 76 h 205"/>
                    <a:gd name="T86" fmla="*/ 22 w 205"/>
                    <a:gd name="T87" fmla="*/ 80 h 205"/>
                    <a:gd name="T88" fmla="*/ 26 w 205"/>
                    <a:gd name="T89" fmla="*/ 80 h 205"/>
                    <a:gd name="T90" fmla="*/ 35 w 205"/>
                    <a:gd name="T91" fmla="*/ 89 h 205"/>
                    <a:gd name="T92" fmla="*/ 40 w 205"/>
                    <a:gd name="T93" fmla="*/ 98 h 205"/>
                    <a:gd name="T94" fmla="*/ 53 w 205"/>
                    <a:gd name="T95" fmla="*/ 112 h 205"/>
                    <a:gd name="T96" fmla="*/ 49 w 205"/>
                    <a:gd name="T97" fmla="*/ 116 h 205"/>
                    <a:gd name="T98" fmla="*/ 58 w 205"/>
                    <a:gd name="T99" fmla="*/ 129 h 205"/>
                    <a:gd name="T100" fmla="*/ 49 w 205"/>
                    <a:gd name="T101" fmla="*/ 129 h 205"/>
                    <a:gd name="T102" fmla="*/ 53 w 205"/>
                    <a:gd name="T103" fmla="*/ 138 h 205"/>
                    <a:gd name="T104" fmla="*/ 49 w 205"/>
                    <a:gd name="T105" fmla="*/ 147 h 205"/>
                    <a:gd name="T106" fmla="*/ 44 w 205"/>
                    <a:gd name="T107" fmla="*/ 165 h 205"/>
                    <a:gd name="T108" fmla="*/ 192 w 205"/>
                    <a:gd name="T109" fmla="*/ 192 h 205"/>
                    <a:gd name="T110" fmla="*/ 192 w 205"/>
                    <a:gd name="T111" fmla="*/ 205 h 205"/>
                    <a:gd name="T112" fmla="*/ 205 w 205"/>
                    <a:gd name="T113" fmla="*/ 188 h 205"/>
                    <a:gd name="T114" fmla="*/ 196 w 205"/>
                    <a:gd name="T115" fmla="*/ 174 h 205"/>
                    <a:gd name="T116" fmla="*/ 192 w 205"/>
                    <a:gd name="T117" fmla="*/ 18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5" h="205">
                      <a:moveTo>
                        <a:pt x="44" y="165"/>
                      </a:moveTo>
                      <a:lnTo>
                        <a:pt x="49" y="174"/>
                      </a:lnTo>
                      <a:lnTo>
                        <a:pt x="62" y="183"/>
                      </a:lnTo>
                      <a:lnTo>
                        <a:pt x="67" y="183"/>
                      </a:lnTo>
                      <a:lnTo>
                        <a:pt x="80" y="183"/>
                      </a:lnTo>
                      <a:lnTo>
                        <a:pt x="89" y="183"/>
                      </a:lnTo>
                      <a:lnTo>
                        <a:pt x="98" y="188"/>
                      </a:lnTo>
                      <a:lnTo>
                        <a:pt x="107" y="188"/>
                      </a:lnTo>
                      <a:lnTo>
                        <a:pt x="116" y="188"/>
                      </a:lnTo>
                      <a:lnTo>
                        <a:pt x="116" y="174"/>
                      </a:lnTo>
                      <a:lnTo>
                        <a:pt x="120" y="170"/>
                      </a:lnTo>
                      <a:lnTo>
                        <a:pt x="129" y="174"/>
                      </a:lnTo>
                      <a:lnTo>
                        <a:pt x="134" y="170"/>
                      </a:lnTo>
                      <a:lnTo>
                        <a:pt x="142" y="170"/>
                      </a:lnTo>
                      <a:lnTo>
                        <a:pt x="151" y="174"/>
                      </a:lnTo>
                      <a:lnTo>
                        <a:pt x="165" y="170"/>
                      </a:lnTo>
                      <a:lnTo>
                        <a:pt x="169" y="165"/>
                      </a:lnTo>
                      <a:lnTo>
                        <a:pt x="178" y="161"/>
                      </a:lnTo>
                      <a:lnTo>
                        <a:pt x="174" y="156"/>
                      </a:lnTo>
                      <a:lnTo>
                        <a:pt x="165" y="156"/>
                      </a:lnTo>
                      <a:lnTo>
                        <a:pt x="156" y="143"/>
                      </a:lnTo>
                      <a:lnTo>
                        <a:pt x="160" y="129"/>
                      </a:lnTo>
                      <a:lnTo>
                        <a:pt x="165" y="129"/>
                      </a:lnTo>
                      <a:lnTo>
                        <a:pt x="169" y="116"/>
                      </a:lnTo>
                      <a:lnTo>
                        <a:pt x="165" y="107"/>
                      </a:lnTo>
                      <a:lnTo>
                        <a:pt x="160" y="103"/>
                      </a:lnTo>
                      <a:lnTo>
                        <a:pt x="156" y="112"/>
                      </a:lnTo>
                      <a:lnTo>
                        <a:pt x="156" y="103"/>
                      </a:lnTo>
                      <a:lnTo>
                        <a:pt x="165" y="89"/>
                      </a:lnTo>
                      <a:lnTo>
                        <a:pt x="165" y="85"/>
                      </a:lnTo>
                      <a:lnTo>
                        <a:pt x="174" y="85"/>
                      </a:lnTo>
                      <a:lnTo>
                        <a:pt x="178" y="80"/>
                      </a:lnTo>
                      <a:lnTo>
                        <a:pt x="178" y="67"/>
                      </a:lnTo>
                      <a:lnTo>
                        <a:pt x="183" y="53"/>
                      </a:lnTo>
                      <a:lnTo>
                        <a:pt x="178" y="45"/>
                      </a:lnTo>
                      <a:lnTo>
                        <a:pt x="174" y="45"/>
                      </a:lnTo>
                      <a:lnTo>
                        <a:pt x="160" y="49"/>
                      </a:lnTo>
                      <a:lnTo>
                        <a:pt x="160" y="40"/>
                      </a:lnTo>
                      <a:lnTo>
                        <a:pt x="156" y="40"/>
                      </a:lnTo>
                      <a:lnTo>
                        <a:pt x="151" y="40"/>
                      </a:lnTo>
                      <a:lnTo>
                        <a:pt x="147" y="40"/>
                      </a:lnTo>
                      <a:lnTo>
                        <a:pt x="142" y="36"/>
                      </a:lnTo>
                      <a:lnTo>
                        <a:pt x="134" y="31"/>
                      </a:lnTo>
                      <a:lnTo>
                        <a:pt x="138" y="22"/>
                      </a:lnTo>
                      <a:lnTo>
                        <a:pt x="129" y="27"/>
                      </a:lnTo>
                      <a:lnTo>
                        <a:pt x="125" y="27"/>
                      </a:lnTo>
                      <a:lnTo>
                        <a:pt x="125" y="18"/>
                      </a:lnTo>
                      <a:lnTo>
                        <a:pt x="120" y="18"/>
                      </a:lnTo>
                      <a:lnTo>
                        <a:pt x="116" y="13"/>
                      </a:lnTo>
                      <a:lnTo>
                        <a:pt x="111" y="13"/>
                      </a:lnTo>
                      <a:lnTo>
                        <a:pt x="102" y="0"/>
                      </a:lnTo>
                      <a:lnTo>
                        <a:pt x="93" y="4"/>
                      </a:lnTo>
                      <a:lnTo>
                        <a:pt x="93" y="13"/>
                      </a:lnTo>
                      <a:lnTo>
                        <a:pt x="93" y="22"/>
                      </a:lnTo>
                      <a:lnTo>
                        <a:pt x="93" y="27"/>
                      </a:lnTo>
                      <a:lnTo>
                        <a:pt x="93" y="27"/>
                      </a:lnTo>
                      <a:lnTo>
                        <a:pt x="84" y="27"/>
                      </a:lnTo>
                      <a:lnTo>
                        <a:pt x="80" y="31"/>
                      </a:lnTo>
                      <a:lnTo>
                        <a:pt x="75" y="31"/>
                      </a:lnTo>
                      <a:lnTo>
                        <a:pt x="67" y="36"/>
                      </a:lnTo>
                      <a:lnTo>
                        <a:pt x="71" y="40"/>
                      </a:lnTo>
                      <a:lnTo>
                        <a:pt x="67" y="40"/>
                      </a:lnTo>
                      <a:lnTo>
                        <a:pt x="53" y="40"/>
                      </a:lnTo>
                      <a:lnTo>
                        <a:pt x="49" y="45"/>
                      </a:lnTo>
                      <a:lnTo>
                        <a:pt x="49" y="36"/>
                      </a:lnTo>
                      <a:lnTo>
                        <a:pt x="40" y="36"/>
                      </a:lnTo>
                      <a:lnTo>
                        <a:pt x="40" y="40"/>
                      </a:lnTo>
                      <a:lnTo>
                        <a:pt x="44" y="45"/>
                      </a:lnTo>
                      <a:lnTo>
                        <a:pt x="44" y="53"/>
                      </a:lnTo>
                      <a:lnTo>
                        <a:pt x="49" y="58"/>
                      </a:lnTo>
                      <a:lnTo>
                        <a:pt x="40" y="58"/>
                      </a:lnTo>
                      <a:lnTo>
                        <a:pt x="35" y="58"/>
                      </a:lnTo>
                      <a:lnTo>
                        <a:pt x="31" y="62"/>
                      </a:lnTo>
                      <a:lnTo>
                        <a:pt x="22" y="53"/>
                      </a:lnTo>
                      <a:lnTo>
                        <a:pt x="17" y="53"/>
                      </a:lnTo>
                      <a:lnTo>
                        <a:pt x="17" y="58"/>
                      </a:lnTo>
                      <a:lnTo>
                        <a:pt x="13" y="58"/>
                      </a:lnTo>
                      <a:lnTo>
                        <a:pt x="8" y="58"/>
                      </a:lnTo>
                      <a:lnTo>
                        <a:pt x="4" y="58"/>
                      </a:lnTo>
                      <a:lnTo>
                        <a:pt x="0" y="62"/>
                      </a:lnTo>
                      <a:lnTo>
                        <a:pt x="0" y="67"/>
                      </a:lnTo>
                      <a:lnTo>
                        <a:pt x="4" y="62"/>
                      </a:lnTo>
                      <a:lnTo>
                        <a:pt x="8" y="67"/>
                      </a:lnTo>
                      <a:lnTo>
                        <a:pt x="0" y="67"/>
                      </a:lnTo>
                      <a:lnTo>
                        <a:pt x="0" y="71"/>
                      </a:lnTo>
                      <a:lnTo>
                        <a:pt x="4" y="76"/>
                      </a:lnTo>
                      <a:lnTo>
                        <a:pt x="8" y="71"/>
                      </a:lnTo>
                      <a:lnTo>
                        <a:pt x="22" y="80"/>
                      </a:lnTo>
                      <a:lnTo>
                        <a:pt x="22" y="85"/>
                      </a:lnTo>
                      <a:lnTo>
                        <a:pt x="26" y="80"/>
                      </a:lnTo>
                      <a:lnTo>
                        <a:pt x="35" y="85"/>
                      </a:lnTo>
                      <a:lnTo>
                        <a:pt x="35" y="89"/>
                      </a:lnTo>
                      <a:lnTo>
                        <a:pt x="40" y="89"/>
                      </a:lnTo>
                      <a:lnTo>
                        <a:pt x="40" y="98"/>
                      </a:lnTo>
                      <a:lnTo>
                        <a:pt x="44" y="107"/>
                      </a:lnTo>
                      <a:lnTo>
                        <a:pt x="53" y="112"/>
                      </a:lnTo>
                      <a:lnTo>
                        <a:pt x="49" y="116"/>
                      </a:lnTo>
                      <a:lnTo>
                        <a:pt x="49" y="116"/>
                      </a:lnTo>
                      <a:lnTo>
                        <a:pt x="49" y="121"/>
                      </a:lnTo>
                      <a:lnTo>
                        <a:pt x="58" y="129"/>
                      </a:lnTo>
                      <a:lnTo>
                        <a:pt x="58" y="129"/>
                      </a:lnTo>
                      <a:lnTo>
                        <a:pt x="49" y="129"/>
                      </a:lnTo>
                      <a:lnTo>
                        <a:pt x="49" y="143"/>
                      </a:lnTo>
                      <a:lnTo>
                        <a:pt x="53" y="138"/>
                      </a:lnTo>
                      <a:lnTo>
                        <a:pt x="53" y="143"/>
                      </a:lnTo>
                      <a:lnTo>
                        <a:pt x="49" y="147"/>
                      </a:lnTo>
                      <a:lnTo>
                        <a:pt x="44" y="165"/>
                      </a:lnTo>
                      <a:lnTo>
                        <a:pt x="44" y="165"/>
                      </a:lnTo>
                      <a:close/>
                      <a:moveTo>
                        <a:pt x="192" y="183"/>
                      </a:moveTo>
                      <a:lnTo>
                        <a:pt x="192" y="192"/>
                      </a:lnTo>
                      <a:lnTo>
                        <a:pt x="187" y="196"/>
                      </a:lnTo>
                      <a:lnTo>
                        <a:pt x="192" y="205"/>
                      </a:lnTo>
                      <a:lnTo>
                        <a:pt x="201" y="205"/>
                      </a:lnTo>
                      <a:lnTo>
                        <a:pt x="205" y="188"/>
                      </a:lnTo>
                      <a:lnTo>
                        <a:pt x="201" y="174"/>
                      </a:lnTo>
                      <a:lnTo>
                        <a:pt x="196" y="174"/>
                      </a:lnTo>
                      <a:lnTo>
                        <a:pt x="196" y="183"/>
                      </a:lnTo>
                      <a:lnTo>
                        <a:pt x="192" y="183"/>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43" name="Freeform 183">
                  <a:extLst>
                    <a:ext uri="{FF2B5EF4-FFF2-40B4-BE49-F238E27FC236}">
                      <a16:creationId xmlns:a16="http://schemas.microsoft.com/office/drawing/2014/main" id="{C49067D0-4991-4245-B80A-7C96AF2E1587}"/>
                    </a:ext>
                  </a:extLst>
                </p:cNvPr>
                <p:cNvSpPr>
                  <a:spLocks noEditPoints="1"/>
                </p:cNvSpPr>
                <p:nvPr/>
              </p:nvSpPr>
              <p:spPr bwMode="gray">
                <a:xfrm>
                  <a:off x="2812" y="1818"/>
                  <a:ext cx="125" cy="175"/>
                </a:xfrm>
                <a:custGeom>
                  <a:avLst/>
                  <a:gdLst>
                    <a:gd name="T0" fmla="*/ 9 w 125"/>
                    <a:gd name="T1" fmla="*/ 108 h 175"/>
                    <a:gd name="T2" fmla="*/ 0 w 125"/>
                    <a:gd name="T3" fmla="*/ 94 h 175"/>
                    <a:gd name="T4" fmla="*/ 0 w 125"/>
                    <a:gd name="T5" fmla="*/ 81 h 175"/>
                    <a:gd name="T6" fmla="*/ 9 w 125"/>
                    <a:gd name="T7" fmla="*/ 72 h 175"/>
                    <a:gd name="T8" fmla="*/ 14 w 125"/>
                    <a:gd name="T9" fmla="*/ 54 h 175"/>
                    <a:gd name="T10" fmla="*/ 18 w 125"/>
                    <a:gd name="T11" fmla="*/ 45 h 175"/>
                    <a:gd name="T12" fmla="*/ 14 w 125"/>
                    <a:gd name="T13" fmla="*/ 36 h 175"/>
                    <a:gd name="T14" fmla="*/ 18 w 125"/>
                    <a:gd name="T15" fmla="*/ 36 h 175"/>
                    <a:gd name="T16" fmla="*/ 27 w 125"/>
                    <a:gd name="T17" fmla="*/ 32 h 175"/>
                    <a:gd name="T18" fmla="*/ 32 w 125"/>
                    <a:gd name="T19" fmla="*/ 36 h 175"/>
                    <a:gd name="T20" fmla="*/ 36 w 125"/>
                    <a:gd name="T21" fmla="*/ 32 h 175"/>
                    <a:gd name="T22" fmla="*/ 41 w 125"/>
                    <a:gd name="T23" fmla="*/ 27 h 175"/>
                    <a:gd name="T24" fmla="*/ 50 w 125"/>
                    <a:gd name="T25" fmla="*/ 27 h 175"/>
                    <a:gd name="T26" fmla="*/ 45 w 125"/>
                    <a:gd name="T27" fmla="*/ 18 h 175"/>
                    <a:gd name="T28" fmla="*/ 45 w 125"/>
                    <a:gd name="T29" fmla="*/ 14 h 175"/>
                    <a:gd name="T30" fmla="*/ 58 w 125"/>
                    <a:gd name="T31" fmla="*/ 0 h 175"/>
                    <a:gd name="T32" fmla="*/ 58 w 125"/>
                    <a:gd name="T33" fmla="*/ 14 h 175"/>
                    <a:gd name="T34" fmla="*/ 67 w 125"/>
                    <a:gd name="T35" fmla="*/ 14 h 175"/>
                    <a:gd name="T36" fmla="*/ 72 w 125"/>
                    <a:gd name="T37" fmla="*/ 9 h 175"/>
                    <a:gd name="T38" fmla="*/ 67 w 125"/>
                    <a:gd name="T39" fmla="*/ 18 h 175"/>
                    <a:gd name="T40" fmla="*/ 63 w 125"/>
                    <a:gd name="T41" fmla="*/ 23 h 175"/>
                    <a:gd name="T42" fmla="*/ 72 w 125"/>
                    <a:gd name="T43" fmla="*/ 27 h 175"/>
                    <a:gd name="T44" fmla="*/ 76 w 125"/>
                    <a:gd name="T45" fmla="*/ 23 h 175"/>
                    <a:gd name="T46" fmla="*/ 90 w 125"/>
                    <a:gd name="T47" fmla="*/ 14 h 175"/>
                    <a:gd name="T48" fmla="*/ 94 w 125"/>
                    <a:gd name="T49" fmla="*/ 18 h 175"/>
                    <a:gd name="T50" fmla="*/ 108 w 125"/>
                    <a:gd name="T51" fmla="*/ 23 h 175"/>
                    <a:gd name="T52" fmla="*/ 112 w 125"/>
                    <a:gd name="T53" fmla="*/ 27 h 175"/>
                    <a:gd name="T54" fmla="*/ 112 w 125"/>
                    <a:gd name="T55" fmla="*/ 50 h 175"/>
                    <a:gd name="T56" fmla="*/ 121 w 125"/>
                    <a:gd name="T57" fmla="*/ 72 h 175"/>
                    <a:gd name="T58" fmla="*/ 125 w 125"/>
                    <a:gd name="T59" fmla="*/ 90 h 175"/>
                    <a:gd name="T60" fmla="*/ 121 w 125"/>
                    <a:gd name="T61" fmla="*/ 99 h 175"/>
                    <a:gd name="T62" fmla="*/ 103 w 125"/>
                    <a:gd name="T63" fmla="*/ 108 h 175"/>
                    <a:gd name="T64" fmla="*/ 90 w 125"/>
                    <a:gd name="T65" fmla="*/ 117 h 175"/>
                    <a:gd name="T66" fmla="*/ 90 w 125"/>
                    <a:gd name="T67" fmla="*/ 126 h 175"/>
                    <a:gd name="T68" fmla="*/ 103 w 125"/>
                    <a:gd name="T69" fmla="*/ 135 h 175"/>
                    <a:gd name="T70" fmla="*/ 112 w 125"/>
                    <a:gd name="T71" fmla="*/ 148 h 175"/>
                    <a:gd name="T72" fmla="*/ 99 w 125"/>
                    <a:gd name="T73" fmla="*/ 157 h 175"/>
                    <a:gd name="T74" fmla="*/ 103 w 125"/>
                    <a:gd name="T75" fmla="*/ 166 h 175"/>
                    <a:gd name="T76" fmla="*/ 94 w 125"/>
                    <a:gd name="T77" fmla="*/ 170 h 175"/>
                    <a:gd name="T78" fmla="*/ 54 w 125"/>
                    <a:gd name="T79" fmla="*/ 170 h 175"/>
                    <a:gd name="T80" fmla="*/ 36 w 125"/>
                    <a:gd name="T81" fmla="*/ 170 h 175"/>
                    <a:gd name="T82" fmla="*/ 27 w 125"/>
                    <a:gd name="T83" fmla="*/ 170 h 175"/>
                    <a:gd name="T84" fmla="*/ 32 w 125"/>
                    <a:gd name="T85" fmla="*/ 143 h 175"/>
                    <a:gd name="T86" fmla="*/ 23 w 125"/>
                    <a:gd name="T87" fmla="*/ 135 h 175"/>
                    <a:gd name="T88" fmla="*/ 9 w 125"/>
                    <a:gd name="T89" fmla="*/ 130 h 175"/>
                    <a:gd name="T90" fmla="*/ 5 w 125"/>
                    <a:gd name="T91" fmla="*/ 121 h 175"/>
                    <a:gd name="T92" fmla="*/ 103 w 125"/>
                    <a:gd name="T93" fmla="*/ 9 h 175"/>
                    <a:gd name="T94" fmla="*/ 108 w 125"/>
                    <a:gd name="T95" fmla="*/ 18 h 175"/>
                    <a:gd name="T96" fmla="*/ 103 w 125"/>
                    <a:gd name="T97" fmla="*/ 9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5" h="175">
                      <a:moveTo>
                        <a:pt x="5" y="117"/>
                      </a:moveTo>
                      <a:lnTo>
                        <a:pt x="9" y="108"/>
                      </a:lnTo>
                      <a:lnTo>
                        <a:pt x="5" y="99"/>
                      </a:lnTo>
                      <a:lnTo>
                        <a:pt x="0" y="94"/>
                      </a:lnTo>
                      <a:lnTo>
                        <a:pt x="5" y="85"/>
                      </a:lnTo>
                      <a:lnTo>
                        <a:pt x="0" y="81"/>
                      </a:lnTo>
                      <a:lnTo>
                        <a:pt x="0" y="76"/>
                      </a:lnTo>
                      <a:lnTo>
                        <a:pt x="9" y="72"/>
                      </a:lnTo>
                      <a:lnTo>
                        <a:pt x="14" y="72"/>
                      </a:lnTo>
                      <a:lnTo>
                        <a:pt x="14" y="54"/>
                      </a:lnTo>
                      <a:lnTo>
                        <a:pt x="14" y="54"/>
                      </a:lnTo>
                      <a:lnTo>
                        <a:pt x="18" y="45"/>
                      </a:lnTo>
                      <a:lnTo>
                        <a:pt x="14" y="45"/>
                      </a:lnTo>
                      <a:lnTo>
                        <a:pt x="14" y="36"/>
                      </a:lnTo>
                      <a:lnTo>
                        <a:pt x="18" y="36"/>
                      </a:lnTo>
                      <a:lnTo>
                        <a:pt x="18" y="36"/>
                      </a:lnTo>
                      <a:lnTo>
                        <a:pt x="18" y="32"/>
                      </a:lnTo>
                      <a:lnTo>
                        <a:pt x="27" y="32"/>
                      </a:lnTo>
                      <a:lnTo>
                        <a:pt x="32" y="32"/>
                      </a:lnTo>
                      <a:lnTo>
                        <a:pt x="32" y="36"/>
                      </a:lnTo>
                      <a:lnTo>
                        <a:pt x="36" y="36"/>
                      </a:lnTo>
                      <a:lnTo>
                        <a:pt x="36" y="32"/>
                      </a:lnTo>
                      <a:lnTo>
                        <a:pt x="36" y="32"/>
                      </a:lnTo>
                      <a:lnTo>
                        <a:pt x="41" y="27"/>
                      </a:lnTo>
                      <a:lnTo>
                        <a:pt x="45" y="27"/>
                      </a:lnTo>
                      <a:lnTo>
                        <a:pt x="50" y="27"/>
                      </a:lnTo>
                      <a:lnTo>
                        <a:pt x="45" y="23"/>
                      </a:lnTo>
                      <a:lnTo>
                        <a:pt x="45" y="18"/>
                      </a:lnTo>
                      <a:lnTo>
                        <a:pt x="41" y="14"/>
                      </a:lnTo>
                      <a:lnTo>
                        <a:pt x="45" y="14"/>
                      </a:lnTo>
                      <a:lnTo>
                        <a:pt x="41" y="5"/>
                      </a:lnTo>
                      <a:lnTo>
                        <a:pt x="58" y="0"/>
                      </a:lnTo>
                      <a:lnTo>
                        <a:pt x="58" y="9"/>
                      </a:lnTo>
                      <a:lnTo>
                        <a:pt x="58" y="14"/>
                      </a:lnTo>
                      <a:lnTo>
                        <a:pt x="63" y="18"/>
                      </a:lnTo>
                      <a:lnTo>
                        <a:pt x="67" y="14"/>
                      </a:lnTo>
                      <a:lnTo>
                        <a:pt x="67" y="9"/>
                      </a:lnTo>
                      <a:lnTo>
                        <a:pt x="72" y="9"/>
                      </a:lnTo>
                      <a:lnTo>
                        <a:pt x="72" y="14"/>
                      </a:lnTo>
                      <a:lnTo>
                        <a:pt x="67" y="18"/>
                      </a:lnTo>
                      <a:lnTo>
                        <a:pt x="67" y="18"/>
                      </a:lnTo>
                      <a:lnTo>
                        <a:pt x="63" y="23"/>
                      </a:lnTo>
                      <a:lnTo>
                        <a:pt x="63" y="27"/>
                      </a:lnTo>
                      <a:lnTo>
                        <a:pt x="72" y="27"/>
                      </a:lnTo>
                      <a:lnTo>
                        <a:pt x="76" y="27"/>
                      </a:lnTo>
                      <a:lnTo>
                        <a:pt x="76" y="23"/>
                      </a:lnTo>
                      <a:lnTo>
                        <a:pt x="85" y="23"/>
                      </a:lnTo>
                      <a:lnTo>
                        <a:pt x="90" y="14"/>
                      </a:lnTo>
                      <a:lnTo>
                        <a:pt x="94" y="14"/>
                      </a:lnTo>
                      <a:lnTo>
                        <a:pt x="94" y="18"/>
                      </a:lnTo>
                      <a:lnTo>
                        <a:pt x="99" y="18"/>
                      </a:lnTo>
                      <a:lnTo>
                        <a:pt x="108" y="23"/>
                      </a:lnTo>
                      <a:lnTo>
                        <a:pt x="108" y="27"/>
                      </a:lnTo>
                      <a:lnTo>
                        <a:pt x="112" y="27"/>
                      </a:lnTo>
                      <a:lnTo>
                        <a:pt x="112" y="36"/>
                      </a:lnTo>
                      <a:lnTo>
                        <a:pt x="112" y="50"/>
                      </a:lnTo>
                      <a:lnTo>
                        <a:pt x="121" y="59"/>
                      </a:lnTo>
                      <a:lnTo>
                        <a:pt x="121" y="72"/>
                      </a:lnTo>
                      <a:lnTo>
                        <a:pt x="121" y="85"/>
                      </a:lnTo>
                      <a:lnTo>
                        <a:pt x="125" y="90"/>
                      </a:lnTo>
                      <a:lnTo>
                        <a:pt x="125" y="99"/>
                      </a:lnTo>
                      <a:lnTo>
                        <a:pt x="121" y="99"/>
                      </a:lnTo>
                      <a:lnTo>
                        <a:pt x="117" y="108"/>
                      </a:lnTo>
                      <a:lnTo>
                        <a:pt x="103" y="108"/>
                      </a:lnTo>
                      <a:lnTo>
                        <a:pt x="94" y="117"/>
                      </a:lnTo>
                      <a:lnTo>
                        <a:pt x="90" y="117"/>
                      </a:lnTo>
                      <a:lnTo>
                        <a:pt x="85" y="117"/>
                      </a:lnTo>
                      <a:lnTo>
                        <a:pt x="90" y="126"/>
                      </a:lnTo>
                      <a:lnTo>
                        <a:pt x="94" y="135"/>
                      </a:lnTo>
                      <a:lnTo>
                        <a:pt x="103" y="135"/>
                      </a:lnTo>
                      <a:lnTo>
                        <a:pt x="112" y="143"/>
                      </a:lnTo>
                      <a:lnTo>
                        <a:pt x="112" y="148"/>
                      </a:lnTo>
                      <a:lnTo>
                        <a:pt x="108" y="152"/>
                      </a:lnTo>
                      <a:lnTo>
                        <a:pt x="99" y="157"/>
                      </a:lnTo>
                      <a:lnTo>
                        <a:pt x="94" y="161"/>
                      </a:lnTo>
                      <a:lnTo>
                        <a:pt x="103" y="166"/>
                      </a:lnTo>
                      <a:lnTo>
                        <a:pt x="99" y="175"/>
                      </a:lnTo>
                      <a:lnTo>
                        <a:pt x="94" y="170"/>
                      </a:lnTo>
                      <a:lnTo>
                        <a:pt x="76" y="175"/>
                      </a:lnTo>
                      <a:lnTo>
                        <a:pt x="54" y="170"/>
                      </a:lnTo>
                      <a:lnTo>
                        <a:pt x="45" y="170"/>
                      </a:lnTo>
                      <a:lnTo>
                        <a:pt x="36" y="170"/>
                      </a:lnTo>
                      <a:lnTo>
                        <a:pt x="27" y="175"/>
                      </a:lnTo>
                      <a:lnTo>
                        <a:pt x="27" y="170"/>
                      </a:lnTo>
                      <a:lnTo>
                        <a:pt x="27" y="157"/>
                      </a:lnTo>
                      <a:lnTo>
                        <a:pt x="32" y="143"/>
                      </a:lnTo>
                      <a:lnTo>
                        <a:pt x="27" y="135"/>
                      </a:lnTo>
                      <a:lnTo>
                        <a:pt x="23" y="135"/>
                      </a:lnTo>
                      <a:lnTo>
                        <a:pt x="9" y="139"/>
                      </a:lnTo>
                      <a:lnTo>
                        <a:pt x="9" y="130"/>
                      </a:lnTo>
                      <a:lnTo>
                        <a:pt x="9" y="126"/>
                      </a:lnTo>
                      <a:lnTo>
                        <a:pt x="5" y="121"/>
                      </a:lnTo>
                      <a:lnTo>
                        <a:pt x="5" y="117"/>
                      </a:lnTo>
                      <a:close/>
                      <a:moveTo>
                        <a:pt x="103" y="9"/>
                      </a:moveTo>
                      <a:lnTo>
                        <a:pt x="99" y="18"/>
                      </a:lnTo>
                      <a:lnTo>
                        <a:pt x="108" y="18"/>
                      </a:lnTo>
                      <a:lnTo>
                        <a:pt x="108" y="14"/>
                      </a:lnTo>
                      <a:lnTo>
                        <a:pt x="103" y="9"/>
                      </a:lnTo>
                      <a:close/>
                    </a:path>
                  </a:pathLst>
                </a:custGeom>
                <a:solidFill>
                  <a:schemeClr val="accent3"/>
                </a:solidFill>
                <a:ln w="9525" cmpd="sng">
                  <a:solidFill>
                    <a:schemeClr val="bg1"/>
                  </a:solidFill>
                  <a:round/>
                  <a:headEnd/>
                  <a:tailEnd/>
                </a:ln>
              </p:spPr>
              <p:txBody>
                <a:bodyPr/>
                <a:lstStyle/>
                <a:p>
                  <a:endParaRPr lang="x-es-XL" dirty="0">
                    <a:latin typeface="Delivery" panose="020F0503020204020204" pitchFamily="34" charset="0"/>
                  </a:endParaRPr>
                </a:p>
              </p:txBody>
            </p:sp>
            <p:sp>
              <p:nvSpPr>
                <p:cNvPr id="44" name="Freeform 184">
                  <a:extLst>
                    <a:ext uri="{FF2B5EF4-FFF2-40B4-BE49-F238E27FC236}">
                      <a16:creationId xmlns:a16="http://schemas.microsoft.com/office/drawing/2014/main" id="{648161BF-5D29-4D56-8EFA-ED85BA159374}"/>
                    </a:ext>
                  </a:extLst>
                </p:cNvPr>
                <p:cNvSpPr>
                  <a:spLocks noEditPoints="1"/>
                </p:cNvSpPr>
                <p:nvPr/>
              </p:nvSpPr>
              <p:spPr bwMode="gray">
                <a:xfrm>
                  <a:off x="3013" y="2113"/>
                  <a:ext cx="117" cy="126"/>
                </a:xfrm>
                <a:custGeom>
                  <a:avLst/>
                  <a:gdLst>
                    <a:gd name="T0" fmla="*/ 9 w 117"/>
                    <a:gd name="T1" fmla="*/ 45 h 126"/>
                    <a:gd name="T2" fmla="*/ 14 w 117"/>
                    <a:gd name="T3" fmla="*/ 63 h 126"/>
                    <a:gd name="T4" fmla="*/ 41 w 117"/>
                    <a:gd name="T5" fmla="*/ 63 h 126"/>
                    <a:gd name="T6" fmla="*/ 41 w 117"/>
                    <a:gd name="T7" fmla="*/ 72 h 126"/>
                    <a:gd name="T8" fmla="*/ 14 w 117"/>
                    <a:gd name="T9" fmla="*/ 67 h 126"/>
                    <a:gd name="T10" fmla="*/ 23 w 117"/>
                    <a:gd name="T11" fmla="*/ 94 h 126"/>
                    <a:gd name="T12" fmla="*/ 36 w 117"/>
                    <a:gd name="T13" fmla="*/ 94 h 126"/>
                    <a:gd name="T14" fmla="*/ 41 w 117"/>
                    <a:gd name="T15" fmla="*/ 99 h 126"/>
                    <a:gd name="T16" fmla="*/ 41 w 117"/>
                    <a:gd name="T17" fmla="*/ 81 h 126"/>
                    <a:gd name="T18" fmla="*/ 50 w 117"/>
                    <a:gd name="T19" fmla="*/ 81 h 126"/>
                    <a:gd name="T20" fmla="*/ 54 w 117"/>
                    <a:gd name="T21" fmla="*/ 76 h 126"/>
                    <a:gd name="T22" fmla="*/ 45 w 117"/>
                    <a:gd name="T23" fmla="*/ 59 h 126"/>
                    <a:gd name="T24" fmla="*/ 36 w 117"/>
                    <a:gd name="T25" fmla="*/ 50 h 126"/>
                    <a:gd name="T26" fmla="*/ 36 w 117"/>
                    <a:gd name="T27" fmla="*/ 27 h 126"/>
                    <a:gd name="T28" fmla="*/ 45 w 117"/>
                    <a:gd name="T29" fmla="*/ 32 h 126"/>
                    <a:gd name="T30" fmla="*/ 58 w 117"/>
                    <a:gd name="T31" fmla="*/ 27 h 126"/>
                    <a:gd name="T32" fmla="*/ 72 w 117"/>
                    <a:gd name="T33" fmla="*/ 9 h 126"/>
                    <a:gd name="T34" fmla="*/ 72 w 117"/>
                    <a:gd name="T35" fmla="*/ 5 h 126"/>
                    <a:gd name="T36" fmla="*/ 45 w 117"/>
                    <a:gd name="T37" fmla="*/ 5 h 126"/>
                    <a:gd name="T38" fmla="*/ 27 w 117"/>
                    <a:gd name="T39" fmla="*/ 14 h 126"/>
                    <a:gd name="T40" fmla="*/ 5 w 117"/>
                    <a:gd name="T41" fmla="*/ 41 h 126"/>
                    <a:gd name="T42" fmla="*/ 54 w 117"/>
                    <a:gd name="T43" fmla="*/ 59 h 126"/>
                    <a:gd name="T44" fmla="*/ 67 w 117"/>
                    <a:gd name="T45" fmla="*/ 72 h 126"/>
                    <a:gd name="T46" fmla="*/ 58 w 117"/>
                    <a:gd name="T47" fmla="*/ 54 h 126"/>
                    <a:gd name="T48" fmla="*/ 41 w 117"/>
                    <a:gd name="T49" fmla="*/ 50 h 126"/>
                    <a:gd name="T50" fmla="*/ 50 w 117"/>
                    <a:gd name="T51" fmla="*/ 112 h 126"/>
                    <a:gd name="T52" fmla="*/ 63 w 117"/>
                    <a:gd name="T53" fmla="*/ 126 h 126"/>
                    <a:gd name="T54" fmla="*/ 81 w 117"/>
                    <a:gd name="T55" fmla="*/ 117 h 126"/>
                    <a:gd name="T56" fmla="*/ 63 w 117"/>
                    <a:gd name="T57" fmla="*/ 112 h 126"/>
                    <a:gd name="T58" fmla="*/ 58 w 117"/>
                    <a:gd name="T59" fmla="*/ 90 h 126"/>
                    <a:gd name="T60" fmla="*/ 58 w 117"/>
                    <a:gd name="T61" fmla="*/ 90 h 126"/>
                    <a:gd name="T62" fmla="*/ 72 w 117"/>
                    <a:gd name="T63" fmla="*/ 85 h 126"/>
                    <a:gd name="T64" fmla="*/ 76 w 117"/>
                    <a:gd name="T65" fmla="*/ 81 h 126"/>
                    <a:gd name="T66" fmla="*/ 81 w 117"/>
                    <a:gd name="T67" fmla="*/ 90 h 126"/>
                    <a:gd name="T68" fmla="*/ 81 w 117"/>
                    <a:gd name="T69" fmla="*/ 90 h 126"/>
                    <a:gd name="T70" fmla="*/ 85 w 117"/>
                    <a:gd name="T71" fmla="*/ 45 h 126"/>
                    <a:gd name="T72" fmla="*/ 90 w 117"/>
                    <a:gd name="T73" fmla="*/ 45 h 126"/>
                    <a:gd name="T74" fmla="*/ 81 w 117"/>
                    <a:gd name="T75" fmla="*/ 76 h 126"/>
                    <a:gd name="T76" fmla="*/ 81 w 117"/>
                    <a:gd name="T77" fmla="*/ 76 h 126"/>
                    <a:gd name="T78" fmla="*/ 85 w 117"/>
                    <a:gd name="T79" fmla="*/ 63 h 126"/>
                    <a:gd name="T80" fmla="*/ 112 w 117"/>
                    <a:gd name="T81" fmla="*/ 99 h 126"/>
                    <a:gd name="T82" fmla="*/ 112 w 117"/>
                    <a:gd name="T83" fmla="*/ 108 h 126"/>
                    <a:gd name="T84" fmla="*/ 112 w 117"/>
                    <a:gd name="T85" fmla="*/ 9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7" h="126">
                      <a:moveTo>
                        <a:pt x="0" y="41"/>
                      </a:moveTo>
                      <a:lnTo>
                        <a:pt x="5" y="45"/>
                      </a:lnTo>
                      <a:lnTo>
                        <a:pt x="9" y="45"/>
                      </a:lnTo>
                      <a:lnTo>
                        <a:pt x="14" y="50"/>
                      </a:lnTo>
                      <a:lnTo>
                        <a:pt x="9" y="50"/>
                      </a:lnTo>
                      <a:lnTo>
                        <a:pt x="14" y="63"/>
                      </a:lnTo>
                      <a:lnTo>
                        <a:pt x="18" y="59"/>
                      </a:lnTo>
                      <a:lnTo>
                        <a:pt x="36" y="59"/>
                      </a:lnTo>
                      <a:lnTo>
                        <a:pt x="41" y="63"/>
                      </a:lnTo>
                      <a:lnTo>
                        <a:pt x="41" y="67"/>
                      </a:lnTo>
                      <a:lnTo>
                        <a:pt x="45" y="72"/>
                      </a:lnTo>
                      <a:lnTo>
                        <a:pt x="41" y="72"/>
                      </a:lnTo>
                      <a:lnTo>
                        <a:pt x="27" y="63"/>
                      </a:lnTo>
                      <a:lnTo>
                        <a:pt x="23" y="63"/>
                      </a:lnTo>
                      <a:lnTo>
                        <a:pt x="14" y="67"/>
                      </a:lnTo>
                      <a:lnTo>
                        <a:pt x="18" y="76"/>
                      </a:lnTo>
                      <a:lnTo>
                        <a:pt x="23" y="85"/>
                      </a:lnTo>
                      <a:lnTo>
                        <a:pt x="23" y="94"/>
                      </a:lnTo>
                      <a:lnTo>
                        <a:pt x="27" y="85"/>
                      </a:lnTo>
                      <a:lnTo>
                        <a:pt x="32" y="99"/>
                      </a:lnTo>
                      <a:lnTo>
                        <a:pt x="36" y="94"/>
                      </a:lnTo>
                      <a:lnTo>
                        <a:pt x="36" y="90"/>
                      </a:lnTo>
                      <a:lnTo>
                        <a:pt x="41" y="94"/>
                      </a:lnTo>
                      <a:lnTo>
                        <a:pt x="41" y="99"/>
                      </a:lnTo>
                      <a:lnTo>
                        <a:pt x="45" y="94"/>
                      </a:lnTo>
                      <a:lnTo>
                        <a:pt x="45" y="90"/>
                      </a:lnTo>
                      <a:lnTo>
                        <a:pt x="41" y="81"/>
                      </a:lnTo>
                      <a:lnTo>
                        <a:pt x="41" y="76"/>
                      </a:lnTo>
                      <a:lnTo>
                        <a:pt x="45" y="81"/>
                      </a:lnTo>
                      <a:lnTo>
                        <a:pt x="50" y="81"/>
                      </a:lnTo>
                      <a:lnTo>
                        <a:pt x="45" y="76"/>
                      </a:lnTo>
                      <a:lnTo>
                        <a:pt x="50" y="72"/>
                      </a:lnTo>
                      <a:lnTo>
                        <a:pt x="54" y="76"/>
                      </a:lnTo>
                      <a:lnTo>
                        <a:pt x="58" y="72"/>
                      </a:lnTo>
                      <a:lnTo>
                        <a:pt x="54" y="63"/>
                      </a:lnTo>
                      <a:lnTo>
                        <a:pt x="45" y="59"/>
                      </a:lnTo>
                      <a:lnTo>
                        <a:pt x="41" y="54"/>
                      </a:lnTo>
                      <a:lnTo>
                        <a:pt x="32" y="50"/>
                      </a:lnTo>
                      <a:lnTo>
                        <a:pt x="36" y="50"/>
                      </a:lnTo>
                      <a:lnTo>
                        <a:pt x="41" y="45"/>
                      </a:lnTo>
                      <a:lnTo>
                        <a:pt x="45" y="45"/>
                      </a:lnTo>
                      <a:lnTo>
                        <a:pt x="36" y="27"/>
                      </a:lnTo>
                      <a:lnTo>
                        <a:pt x="36" y="18"/>
                      </a:lnTo>
                      <a:lnTo>
                        <a:pt x="41" y="27"/>
                      </a:lnTo>
                      <a:lnTo>
                        <a:pt x="45" y="32"/>
                      </a:lnTo>
                      <a:lnTo>
                        <a:pt x="54" y="32"/>
                      </a:lnTo>
                      <a:lnTo>
                        <a:pt x="54" y="23"/>
                      </a:lnTo>
                      <a:lnTo>
                        <a:pt x="58" y="27"/>
                      </a:lnTo>
                      <a:lnTo>
                        <a:pt x="50" y="18"/>
                      </a:lnTo>
                      <a:lnTo>
                        <a:pt x="58" y="9"/>
                      </a:lnTo>
                      <a:lnTo>
                        <a:pt x="72" y="9"/>
                      </a:lnTo>
                      <a:lnTo>
                        <a:pt x="85" y="9"/>
                      </a:lnTo>
                      <a:lnTo>
                        <a:pt x="85" y="5"/>
                      </a:lnTo>
                      <a:lnTo>
                        <a:pt x="72" y="5"/>
                      </a:lnTo>
                      <a:lnTo>
                        <a:pt x="63" y="0"/>
                      </a:lnTo>
                      <a:lnTo>
                        <a:pt x="54" y="5"/>
                      </a:lnTo>
                      <a:lnTo>
                        <a:pt x="45" y="5"/>
                      </a:lnTo>
                      <a:lnTo>
                        <a:pt x="36" y="9"/>
                      </a:lnTo>
                      <a:lnTo>
                        <a:pt x="32" y="9"/>
                      </a:lnTo>
                      <a:lnTo>
                        <a:pt x="27" y="14"/>
                      </a:lnTo>
                      <a:lnTo>
                        <a:pt x="18" y="18"/>
                      </a:lnTo>
                      <a:lnTo>
                        <a:pt x="5" y="32"/>
                      </a:lnTo>
                      <a:lnTo>
                        <a:pt x="5" y="41"/>
                      </a:lnTo>
                      <a:lnTo>
                        <a:pt x="0" y="41"/>
                      </a:lnTo>
                      <a:close/>
                      <a:moveTo>
                        <a:pt x="41" y="50"/>
                      </a:moveTo>
                      <a:lnTo>
                        <a:pt x="54" y="59"/>
                      </a:lnTo>
                      <a:lnTo>
                        <a:pt x="58" y="67"/>
                      </a:lnTo>
                      <a:lnTo>
                        <a:pt x="67" y="72"/>
                      </a:lnTo>
                      <a:lnTo>
                        <a:pt x="67" y="72"/>
                      </a:lnTo>
                      <a:lnTo>
                        <a:pt x="58" y="63"/>
                      </a:lnTo>
                      <a:lnTo>
                        <a:pt x="58" y="59"/>
                      </a:lnTo>
                      <a:lnTo>
                        <a:pt x="58" y="54"/>
                      </a:lnTo>
                      <a:lnTo>
                        <a:pt x="50" y="54"/>
                      </a:lnTo>
                      <a:lnTo>
                        <a:pt x="45" y="50"/>
                      </a:lnTo>
                      <a:lnTo>
                        <a:pt x="41" y="50"/>
                      </a:lnTo>
                      <a:close/>
                      <a:moveTo>
                        <a:pt x="58" y="108"/>
                      </a:moveTo>
                      <a:lnTo>
                        <a:pt x="54" y="108"/>
                      </a:lnTo>
                      <a:lnTo>
                        <a:pt x="50" y="112"/>
                      </a:lnTo>
                      <a:lnTo>
                        <a:pt x="50" y="117"/>
                      </a:lnTo>
                      <a:lnTo>
                        <a:pt x="63" y="117"/>
                      </a:lnTo>
                      <a:lnTo>
                        <a:pt x="63" y="126"/>
                      </a:lnTo>
                      <a:lnTo>
                        <a:pt x="90" y="121"/>
                      </a:lnTo>
                      <a:lnTo>
                        <a:pt x="90" y="112"/>
                      </a:lnTo>
                      <a:lnTo>
                        <a:pt x="81" y="117"/>
                      </a:lnTo>
                      <a:lnTo>
                        <a:pt x="81" y="112"/>
                      </a:lnTo>
                      <a:lnTo>
                        <a:pt x="67" y="112"/>
                      </a:lnTo>
                      <a:lnTo>
                        <a:pt x="63" y="112"/>
                      </a:lnTo>
                      <a:lnTo>
                        <a:pt x="58" y="108"/>
                      </a:lnTo>
                      <a:close/>
                      <a:moveTo>
                        <a:pt x="58" y="90"/>
                      </a:moveTo>
                      <a:lnTo>
                        <a:pt x="58" y="90"/>
                      </a:lnTo>
                      <a:lnTo>
                        <a:pt x="58" y="94"/>
                      </a:lnTo>
                      <a:lnTo>
                        <a:pt x="63" y="90"/>
                      </a:lnTo>
                      <a:lnTo>
                        <a:pt x="58" y="90"/>
                      </a:lnTo>
                      <a:close/>
                      <a:moveTo>
                        <a:pt x="72" y="81"/>
                      </a:moveTo>
                      <a:lnTo>
                        <a:pt x="72" y="85"/>
                      </a:lnTo>
                      <a:lnTo>
                        <a:pt x="72" y="85"/>
                      </a:lnTo>
                      <a:lnTo>
                        <a:pt x="76" y="85"/>
                      </a:lnTo>
                      <a:lnTo>
                        <a:pt x="76" y="85"/>
                      </a:lnTo>
                      <a:lnTo>
                        <a:pt x="76" y="81"/>
                      </a:lnTo>
                      <a:lnTo>
                        <a:pt x="72" y="85"/>
                      </a:lnTo>
                      <a:lnTo>
                        <a:pt x="72" y="81"/>
                      </a:lnTo>
                      <a:close/>
                      <a:moveTo>
                        <a:pt x="81" y="90"/>
                      </a:moveTo>
                      <a:lnTo>
                        <a:pt x="81" y="90"/>
                      </a:lnTo>
                      <a:lnTo>
                        <a:pt x="85" y="85"/>
                      </a:lnTo>
                      <a:lnTo>
                        <a:pt x="81" y="90"/>
                      </a:lnTo>
                      <a:close/>
                      <a:moveTo>
                        <a:pt x="81" y="41"/>
                      </a:moveTo>
                      <a:lnTo>
                        <a:pt x="81" y="41"/>
                      </a:lnTo>
                      <a:lnTo>
                        <a:pt x="85" y="45"/>
                      </a:lnTo>
                      <a:lnTo>
                        <a:pt x="90" y="45"/>
                      </a:lnTo>
                      <a:lnTo>
                        <a:pt x="90" y="50"/>
                      </a:lnTo>
                      <a:lnTo>
                        <a:pt x="90" y="45"/>
                      </a:lnTo>
                      <a:lnTo>
                        <a:pt x="90" y="41"/>
                      </a:lnTo>
                      <a:lnTo>
                        <a:pt x="81" y="41"/>
                      </a:lnTo>
                      <a:close/>
                      <a:moveTo>
                        <a:pt x="81" y="76"/>
                      </a:moveTo>
                      <a:lnTo>
                        <a:pt x="85" y="76"/>
                      </a:lnTo>
                      <a:lnTo>
                        <a:pt x="90" y="76"/>
                      </a:lnTo>
                      <a:lnTo>
                        <a:pt x="81" y="76"/>
                      </a:lnTo>
                      <a:close/>
                      <a:moveTo>
                        <a:pt x="85" y="54"/>
                      </a:moveTo>
                      <a:lnTo>
                        <a:pt x="81" y="59"/>
                      </a:lnTo>
                      <a:lnTo>
                        <a:pt x="85" y="63"/>
                      </a:lnTo>
                      <a:lnTo>
                        <a:pt x="85" y="59"/>
                      </a:lnTo>
                      <a:lnTo>
                        <a:pt x="85" y="54"/>
                      </a:lnTo>
                      <a:close/>
                      <a:moveTo>
                        <a:pt x="112" y="99"/>
                      </a:moveTo>
                      <a:lnTo>
                        <a:pt x="108" y="103"/>
                      </a:lnTo>
                      <a:lnTo>
                        <a:pt x="108" y="112"/>
                      </a:lnTo>
                      <a:lnTo>
                        <a:pt x="112" y="108"/>
                      </a:lnTo>
                      <a:lnTo>
                        <a:pt x="117" y="108"/>
                      </a:lnTo>
                      <a:lnTo>
                        <a:pt x="117" y="99"/>
                      </a:lnTo>
                      <a:lnTo>
                        <a:pt x="112" y="9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45" name="Freeform 185">
                  <a:extLst>
                    <a:ext uri="{FF2B5EF4-FFF2-40B4-BE49-F238E27FC236}">
                      <a16:creationId xmlns:a16="http://schemas.microsoft.com/office/drawing/2014/main" id="{872EC73D-1104-4360-895C-A2D208BB087B}"/>
                    </a:ext>
                  </a:extLst>
                </p:cNvPr>
                <p:cNvSpPr>
                  <a:spLocks/>
                </p:cNvSpPr>
                <p:nvPr/>
              </p:nvSpPr>
              <p:spPr bwMode="gray">
                <a:xfrm>
                  <a:off x="2955" y="1966"/>
                  <a:ext cx="99" cy="63"/>
                </a:xfrm>
                <a:custGeom>
                  <a:avLst/>
                  <a:gdLst>
                    <a:gd name="T0" fmla="*/ 0 w 99"/>
                    <a:gd name="T1" fmla="*/ 40 h 63"/>
                    <a:gd name="T2" fmla="*/ 5 w 99"/>
                    <a:gd name="T3" fmla="*/ 36 h 63"/>
                    <a:gd name="T4" fmla="*/ 5 w 99"/>
                    <a:gd name="T5" fmla="*/ 31 h 63"/>
                    <a:gd name="T6" fmla="*/ 5 w 99"/>
                    <a:gd name="T7" fmla="*/ 27 h 63"/>
                    <a:gd name="T8" fmla="*/ 5 w 99"/>
                    <a:gd name="T9" fmla="*/ 22 h 63"/>
                    <a:gd name="T10" fmla="*/ 14 w 99"/>
                    <a:gd name="T11" fmla="*/ 22 h 63"/>
                    <a:gd name="T12" fmla="*/ 18 w 99"/>
                    <a:gd name="T13" fmla="*/ 13 h 63"/>
                    <a:gd name="T14" fmla="*/ 18 w 99"/>
                    <a:gd name="T15" fmla="*/ 9 h 63"/>
                    <a:gd name="T16" fmla="*/ 23 w 99"/>
                    <a:gd name="T17" fmla="*/ 13 h 63"/>
                    <a:gd name="T18" fmla="*/ 41 w 99"/>
                    <a:gd name="T19" fmla="*/ 13 h 63"/>
                    <a:gd name="T20" fmla="*/ 45 w 99"/>
                    <a:gd name="T21" fmla="*/ 9 h 63"/>
                    <a:gd name="T22" fmla="*/ 54 w 99"/>
                    <a:gd name="T23" fmla="*/ 9 h 63"/>
                    <a:gd name="T24" fmla="*/ 63 w 99"/>
                    <a:gd name="T25" fmla="*/ 0 h 63"/>
                    <a:gd name="T26" fmla="*/ 72 w 99"/>
                    <a:gd name="T27" fmla="*/ 4 h 63"/>
                    <a:gd name="T28" fmla="*/ 76 w 99"/>
                    <a:gd name="T29" fmla="*/ 0 h 63"/>
                    <a:gd name="T30" fmla="*/ 81 w 99"/>
                    <a:gd name="T31" fmla="*/ 4 h 63"/>
                    <a:gd name="T32" fmla="*/ 90 w 99"/>
                    <a:gd name="T33" fmla="*/ 4 h 63"/>
                    <a:gd name="T34" fmla="*/ 99 w 99"/>
                    <a:gd name="T35" fmla="*/ 18 h 63"/>
                    <a:gd name="T36" fmla="*/ 99 w 99"/>
                    <a:gd name="T37" fmla="*/ 22 h 63"/>
                    <a:gd name="T38" fmla="*/ 85 w 99"/>
                    <a:gd name="T39" fmla="*/ 27 h 63"/>
                    <a:gd name="T40" fmla="*/ 76 w 99"/>
                    <a:gd name="T41" fmla="*/ 45 h 63"/>
                    <a:gd name="T42" fmla="*/ 76 w 99"/>
                    <a:gd name="T43" fmla="*/ 49 h 63"/>
                    <a:gd name="T44" fmla="*/ 67 w 99"/>
                    <a:gd name="T45" fmla="*/ 54 h 63"/>
                    <a:gd name="T46" fmla="*/ 63 w 99"/>
                    <a:gd name="T47" fmla="*/ 54 h 63"/>
                    <a:gd name="T48" fmla="*/ 49 w 99"/>
                    <a:gd name="T49" fmla="*/ 54 h 63"/>
                    <a:gd name="T50" fmla="*/ 36 w 99"/>
                    <a:gd name="T51" fmla="*/ 58 h 63"/>
                    <a:gd name="T52" fmla="*/ 27 w 99"/>
                    <a:gd name="T53" fmla="*/ 63 h 63"/>
                    <a:gd name="T54" fmla="*/ 9 w 99"/>
                    <a:gd name="T55" fmla="*/ 58 h 63"/>
                    <a:gd name="T56" fmla="*/ 5 w 99"/>
                    <a:gd name="T57" fmla="*/ 49 h 63"/>
                    <a:gd name="T58" fmla="*/ 5 w 99"/>
                    <a:gd name="T59" fmla="*/ 49 h 63"/>
                    <a:gd name="T60" fmla="*/ 0 w 99"/>
                    <a:gd name="T61" fmla="*/ 4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63">
                      <a:moveTo>
                        <a:pt x="0" y="40"/>
                      </a:moveTo>
                      <a:lnTo>
                        <a:pt x="5" y="36"/>
                      </a:lnTo>
                      <a:lnTo>
                        <a:pt x="5" y="31"/>
                      </a:lnTo>
                      <a:lnTo>
                        <a:pt x="5" y="27"/>
                      </a:lnTo>
                      <a:lnTo>
                        <a:pt x="5" y="22"/>
                      </a:lnTo>
                      <a:lnTo>
                        <a:pt x="14" y="22"/>
                      </a:lnTo>
                      <a:lnTo>
                        <a:pt x="18" y="13"/>
                      </a:lnTo>
                      <a:lnTo>
                        <a:pt x="18" y="9"/>
                      </a:lnTo>
                      <a:lnTo>
                        <a:pt x="23" y="13"/>
                      </a:lnTo>
                      <a:lnTo>
                        <a:pt x="41" y="13"/>
                      </a:lnTo>
                      <a:lnTo>
                        <a:pt x="45" y="9"/>
                      </a:lnTo>
                      <a:lnTo>
                        <a:pt x="54" y="9"/>
                      </a:lnTo>
                      <a:lnTo>
                        <a:pt x="63" y="0"/>
                      </a:lnTo>
                      <a:lnTo>
                        <a:pt x="72" y="4"/>
                      </a:lnTo>
                      <a:lnTo>
                        <a:pt x="76" y="0"/>
                      </a:lnTo>
                      <a:lnTo>
                        <a:pt x="81" y="4"/>
                      </a:lnTo>
                      <a:lnTo>
                        <a:pt x="90" y="4"/>
                      </a:lnTo>
                      <a:lnTo>
                        <a:pt x="99" y="18"/>
                      </a:lnTo>
                      <a:lnTo>
                        <a:pt x="99" y="22"/>
                      </a:lnTo>
                      <a:lnTo>
                        <a:pt x="85" y="27"/>
                      </a:lnTo>
                      <a:lnTo>
                        <a:pt x="76" y="45"/>
                      </a:lnTo>
                      <a:lnTo>
                        <a:pt x="76" y="49"/>
                      </a:lnTo>
                      <a:lnTo>
                        <a:pt x="67" y="54"/>
                      </a:lnTo>
                      <a:lnTo>
                        <a:pt x="63" y="54"/>
                      </a:lnTo>
                      <a:lnTo>
                        <a:pt x="49" y="54"/>
                      </a:lnTo>
                      <a:lnTo>
                        <a:pt x="36" y="58"/>
                      </a:lnTo>
                      <a:lnTo>
                        <a:pt x="27" y="63"/>
                      </a:lnTo>
                      <a:lnTo>
                        <a:pt x="9" y="58"/>
                      </a:lnTo>
                      <a:lnTo>
                        <a:pt x="5" y="49"/>
                      </a:lnTo>
                      <a:lnTo>
                        <a:pt x="5" y="49"/>
                      </a:lnTo>
                      <a:lnTo>
                        <a:pt x="0" y="4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46" name="Freeform 186">
                  <a:extLst>
                    <a:ext uri="{FF2B5EF4-FFF2-40B4-BE49-F238E27FC236}">
                      <a16:creationId xmlns:a16="http://schemas.microsoft.com/office/drawing/2014/main" id="{1415C80C-1467-46C4-86DA-1406780C949D}"/>
                    </a:ext>
                  </a:extLst>
                </p:cNvPr>
                <p:cNvSpPr>
                  <a:spLocks/>
                </p:cNvSpPr>
                <p:nvPr/>
              </p:nvSpPr>
              <p:spPr bwMode="gray">
                <a:xfrm>
                  <a:off x="2379" y="1470"/>
                  <a:ext cx="156" cy="103"/>
                </a:xfrm>
                <a:custGeom>
                  <a:avLst/>
                  <a:gdLst>
                    <a:gd name="T0" fmla="*/ 45 w 156"/>
                    <a:gd name="T1" fmla="*/ 85 h 103"/>
                    <a:gd name="T2" fmla="*/ 81 w 156"/>
                    <a:gd name="T3" fmla="*/ 103 h 103"/>
                    <a:gd name="T4" fmla="*/ 98 w 156"/>
                    <a:gd name="T5" fmla="*/ 89 h 103"/>
                    <a:gd name="T6" fmla="*/ 121 w 156"/>
                    <a:gd name="T7" fmla="*/ 76 h 103"/>
                    <a:gd name="T8" fmla="*/ 134 w 156"/>
                    <a:gd name="T9" fmla="*/ 71 h 103"/>
                    <a:gd name="T10" fmla="*/ 148 w 156"/>
                    <a:gd name="T11" fmla="*/ 62 h 103"/>
                    <a:gd name="T12" fmla="*/ 152 w 156"/>
                    <a:gd name="T13" fmla="*/ 54 h 103"/>
                    <a:gd name="T14" fmla="*/ 152 w 156"/>
                    <a:gd name="T15" fmla="*/ 45 h 103"/>
                    <a:gd name="T16" fmla="*/ 148 w 156"/>
                    <a:gd name="T17" fmla="*/ 31 h 103"/>
                    <a:gd name="T18" fmla="*/ 143 w 156"/>
                    <a:gd name="T19" fmla="*/ 27 h 103"/>
                    <a:gd name="T20" fmla="*/ 143 w 156"/>
                    <a:gd name="T21" fmla="*/ 18 h 103"/>
                    <a:gd name="T22" fmla="*/ 134 w 156"/>
                    <a:gd name="T23" fmla="*/ 13 h 103"/>
                    <a:gd name="T24" fmla="*/ 139 w 156"/>
                    <a:gd name="T25" fmla="*/ 0 h 103"/>
                    <a:gd name="T26" fmla="*/ 125 w 156"/>
                    <a:gd name="T27" fmla="*/ 9 h 103"/>
                    <a:gd name="T28" fmla="*/ 107 w 156"/>
                    <a:gd name="T29" fmla="*/ 0 h 103"/>
                    <a:gd name="T30" fmla="*/ 107 w 156"/>
                    <a:gd name="T31" fmla="*/ 13 h 103"/>
                    <a:gd name="T32" fmla="*/ 98 w 156"/>
                    <a:gd name="T33" fmla="*/ 18 h 103"/>
                    <a:gd name="T34" fmla="*/ 85 w 156"/>
                    <a:gd name="T35" fmla="*/ 13 h 103"/>
                    <a:gd name="T36" fmla="*/ 76 w 156"/>
                    <a:gd name="T37" fmla="*/ 13 h 103"/>
                    <a:gd name="T38" fmla="*/ 72 w 156"/>
                    <a:gd name="T39" fmla="*/ 27 h 103"/>
                    <a:gd name="T40" fmla="*/ 58 w 156"/>
                    <a:gd name="T41" fmla="*/ 13 h 103"/>
                    <a:gd name="T42" fmla="*/ 54 w 156"/>
                    <a:gd name="T43" fmla="*/ 31 h 103"/>
                    <a:gd name="T44" fmla="*/ 40 w 156"/>
                    <a:gd name="T45" fmla="*/ 27 h 103"/>
                    <a:gd name="T46" fmla="*/ 45 w 156"/>
                    <a:gd name="T47" fmla="*/ 13 h 103"/>
                    <a:gd name="T48" fmla="*/ 18 w 156"/>
                    <a:gd name="T49" fmla="*/ 0 h 103"/>
                    <a:gd name="T50" fmla="*/ 22 w 156"/>
                    <a:gd name="T51" fmla="*/ 9 h 103"/>
                    <a:gd name="T52" fmla="*/ 22 w 156"/>
                    <a:gd name="T53" fmla="*/ 13 h 103"/>
                    <a:gd name="T54" fmla="*/ 9 w 156"/>
                    <a:gd name="T55" fmla="*/ 13 h 103"/>
                    <a:gd name="T56" fmla="*/ 14 w 156"/>
                    <a:gd name="T57" fmla="*/ 27 h 103"/>
                    <a:gd name="T58" fmla="*/ 9 w 156"/>
                    <a:gd name="T59" fmla="*/ 31 h 103"/>
                    <a:gd name="T60" fmla="*/ 0 w 156"/>
                    <a:gd name="T61" fmla="*/ 36 h 103"/>
                    <a:gd name="T62" fmla="*/ 27 w 156"/>
                    <a:gd name="T63" fmla="*/ 36 h 103"/>
                    <a:gd name="T64" fmla="*/ 31 w 156"/>
                    <a:gd name="T65" fmla="*/ 45 h 103"/>
                    <a:gd name="T66" fmla="*/ 27 w 156"/>
                    <a:gd name="T67" fmla="*/ 49 h 103"/>
                    <a:gd name="T68" fmla="*/ 9 w 156"/>
                    <a:gd name="T69" fmla="*/ 67 h 103"/>
                    <a:gd name="T70" fmla="*/ 31 w 156"/>
                    <a:gd name="T71" fmla="*/ 62 h 103"/>
                    <a:gd name="T72" fmla="*/ 36 w 156"/>
                    <a:gd name="T73" fmla="*/ 62 h 103"/>
                    <a:gd name="T74" fmla="*/ 22 w 156"/>
                    <a:gd name="T75" fmla="*/ 8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6" h="103">
                      <a:moveTo>
                        <a:pt x="27" y="89"/>
                      </a:moveTo>
                      <a:lnTo>
                        <a:pt x="45" y="85"/>
                      </a:lnTo>
                      <a:lnTo>
                        <a:pt x="63" y="98"/>
                      </a:lnTo>
                      <a:lnTo>
                        <a:pt x="81" y="103"/>
                      </a:lnTo>
                      <a:lnTo>
                        <a:pt x="94" y="98"/>
                      </a:lnTo>
                      <a:lnTo>
                        <a:pt x="98" y="89"/>
                      </a:lnTo>
                      <a:lnTo>
                        <a:pt x="112" y="89"/>
                      </a:lnTo>
                      <a:lnTo>
                        <a:pt x="121" y="76"/>
                      </a:lnTo>
                      <a:lnTo>
                        <a:pt x="130" y="71"/>
                      </a:lnTo>
                      <a:lnTo>
                        <a:pt x="134" y="71"/>
                      </a:lnTo>
                      <a:lnTo>
                        <a:pt x="143" y="67"/>
                      </a:lnTo>
                      <a:lnTo>
                        <a:pt x="148" y="62"/>
                      </a:lnTo>
                      <a:lnTo>
                        <a:pt x="148" y="62"/>
                      </a:lnTo>
                      <a:lnTo>
                        <a:pt x="152" y="54"/>
                      </a:lnTo>
                      <a:lnTo>
                        <a:pt x="156" y="49"/>
                      </a:lnTo>
                      <a:lnTo>
                        <a:pt x="152" y="45"/>
                      </a:lnTo>
                      <a:lnTo>
                        <a:pt x="152" y="36"/>
                      </a:lnTo>
                      <a:lnTo>
                        <a:pt x="148" y="31"/>
                      </a:lnTo>
                      <a:lnTo>
                        <a:pt x="143" y="36"/>
                      </a:lnTo>
                      <a:lnTo>
                        <a:pt x="143" y="27"/>
                      </a:lnTo>
                      <a:lnTo>
                        <a:pt x="139" y="27"/>
                      </a:lnTo>
                      <a:lnTo>
                        <a:pt x="143" y="18"/>
                      </a:lnTo>
                      <a:lnTo>
                        <a:pt x="139" y="22"/>
                      </a:lnTo>
                      <a:lnTo>
                        <a:pt x="134" y="13"/>
                      </a:lnTo>
                      <a:lnTo>
                        <a:pt x="143" y="4"/>
                      </a:lnTo>
                      <a:lnTo>
                        <a:pt x="139" y="0"/>
                      </a:lnTo>
                      <a:lnTo>
                        <a:pt x="130" y="13"/>
                      </a:lnTo>
                      <a:lnTo>
                        <a:pt x="125" y="9"/>
                      </a:lnTo>
                      <a:lnTo>
                        <a:pt x="116" y="0"/>
                      </a:lnTo>
                      <a:lnTo>
                        <a:pt x="107" y="0"/>
                      </a:lnTo>
                      <a:lnTo>
                        <a:pt x="112" y="9"/>
                      </a:lnTo>
                      <a:lnTo>
                        <a:pt x="107" y="13"/>
                      </a:lnTo>
                      <a:lnTo>
                        <a:pt x="103" y="13"/>
                      </a:lnTo>
                      <a:lnTo>
                        <a:pt x="98" y="18"/>
                      </a:lnTo>
                      <a:lnTo>
                        <a:pt x="89" y="9"/>
                      </a:lnTo>
                      <a:lnTo>
                        <a:pt x="85" y="13"/>
                      </a:lnTo>
                      <a:lnTo>
                        <a:pt x="89" y="27"/>
                      </a:lnTo>
                      <a:lnTo>
                        <a:pt x="76" y="13"/>
                      </a:lnTo>
                      <a:lnTo>
                        <a:pt x="72" y="13"/>
                      </a:lnTo>
                      <a:lnTo>
                        <a:pt x="72" y="27"/>
                      </a:lnTo>
                      <a:lnTo>
                        <a:pt x="63" y="13"/>
                      </a:lnTo>
                      <a:lnTo>
                        <a:pt x="58" y="13"/>
                      </a:lnTo>
                      <a:lnTo>
                        <a:pt x="58" y="31"/>
                      </a:lnTo>
                      <a:lnTo>
                        <a:pt x="54" y="31"/>
                      </a:lnTo>
                      <a:lnTo>
                        <a:pt x="45" y="40"/>
                      </a:lnTo>
                      <a:lnTo>
                        <a:pt x="40" y="27"/>
                      </a:lnTo>
                      <a:lnTo>
                        <a:pt x="45" y="22"/>
                      </a:lnTo>
                      <a:lnTo>
                        <a:pt x="45" y="13"/>
                      </a:lnTo>
                      <a:lnTo>
                        <a:pt x="27" y="0"/>
                      </a:lnTo>
                      <a:lnTo>
                        <a:pt x="18" y="0"/>
                      </a:lnTo>
                      <a:lnTo>
                        <a:pt x="18" y="4"/>
                      </a:lnTo>
                      <a:lnTo>
                        <a:pt x="22" y="9"/>
                      </a:lnTo>
                      <a:lnTo>
                        <a:pt x="27" y="18"/>
                      </a:lnTo>
                      <a:lnTo>
                        <a:pt x="22" y="13"/>
                      </a:lnTo>
                      <a:lnTo>
                        <a:pt x="14" y="9"/>
                      </a:lnTo>
                      <a:lnTo>
                        <a:pt x="9" y="13"/>
                      </a:lnTo>
                      <a:lnTo>
                        <a:pt x="14" y="18"/>
                      </a:lnTo>
                      <a:lnTo>
                        <a:pt x="14" y="27"/>
                      </a:lnTo>
                      <a:lnTo>
                        <a:pt x="9" y="27"/>
                      </a:lnTo>
                      <a:lnTo>
                        <a:pt x="9" y="31"/>
                      </a:lnTo>
                      <a:lnTo>
                        <a:pt x="5" y="31"/>
                      </a:lnTo>
                      <a:lnTo>
                        <a:pt x="0" y="36"/>
                      </a:lnTo>
                      <a:lnTo>
                        <a:pt x="14" y="40"/>
                      </a:lnTo>
                      <a:lnTo>
                        <a:pt x="27" y="36"/>
                      </a:lnTo>
                      <a:lnTo>
                        <a:pt x="36" y="36"/>
                      </a:lnTo>
                      <a:lnTo>
                        <a:pt x="31" y="45"/>
                      </a:lnTo>
                      <a:lnTo>
                        <a:pt x="31" y="49"/>
                      </a:lnTo>
                      <a:lnTo>
                        <a:pt x="27" y="49"/>
                      </a:lnTo>
                      <a:lnTo>
                        <a:pt x="5" y="58"/>
                      </a:lnTo>
                      <a:lnTo>
                        <a:pt x="9" y="67"/>
                      </a:lnTo>
                      <a:lnTo>
                        <a:pt x="14" y="62"/>
                      </a:lnTo>
                      <a:lnTo>
                        <a:pt x="31" y="62"/>
                      </a:lnTo>
                      <a:lnTo>
                        <a:pt x="31" y="67"/>
                      </a:lnTo>
                      <a:lnTo>
                        <a:pt x="36" y="62"/>
                      </a:lnTo>
                      <a:lnTo>
                        <a:pt x="31" y="80"/>
                      </a:lnTo>
                      <a:lnTo>
                        <a:pt x="22" y="80"/>
                      </a:lnTo>
                      <a:lnTo>
                        <a:pt x="27" y="8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47" name="Freeform 187">
                  <a:extLst>
                    <a:ext uri="{FF2B5EF4-FFF2-40B4-BE49-F238E27FC236}">
                      <a16:creationId xmlns:a16="http://schemas.microsoft.com/office/drawing/2014/main" id="{E70B7DD6-8382-4777-92E4-C2CCB1B8AE43}"/>
                    </a:ext>
                  </a:extLst>
                </p:cNvPr>
                <p:cNvSpPr>
                  <a:spLocks/>
                </p:cNvSpPr>
                <p:nvPr/>
              </p:nvSpPr>
              <p:spPr bwMode="gray">
                <a:xfrm>
                  <a:off x="2580" y="1805"/>
                  <a:ext cx="58" cy="98"/>
                </a:xfrm>
                <a:custGeom>
                  <a:avLst/>
                  <a:gdLst>
                    <a:gd name="T0" fmla="*/ 45 w 58"/>
                    <a:gd name="T1" fmla="*/ 5 h 98"/>
                    <a:gd name="T2" fmla="*/ 45 w 58"/>
                    <a:gd name="T3" fmla="*/ 0 h 98"/>
                    <a:gd name="T4" fmla="*/ 40 w 58"/>
                    <a:gd name="T5" fmla="*/ 0 h 98"/>
                    <a:gd name="T6" fmla="*/ 40 w 58"/>
                    <a:gd name="T7" fmla="*/ 0 h 98"/>
                    <a:gd name="T8" fmla="*/ 36 w 58"/>
                    <a:gd name="T9" fmla="*/ 9 h 98"/>
                    <a:gd name="T10" fmla="*/ 36 w 58"/>
                    <a:gd name="T11" fmla="*/ 0 h 98"/>
                    <a:gd name="T12" fmla="*/ 27 w 58"/>
                    <a:gd name="T13" fmla="*/ 5 h 98"/>
                    <a:gd name="T14" fmla="*/ 27 w 58"/>
                    <a:gd name="T15" fmla="*/ 13 h 98"/>
                    <a:gd name="T16" fmla="*/ 22 w 58"/>
                    <a:gd name="T17" fmla="*/ 18 h 98"/>
                    <a:gd name="T18" fmla="*/ 27 w 58"/>
                    <a:gd name="T19" fmla="*/ 22 h 98"/>
                    <a:gd name="T20" fmla="*/ 27 w 58"/>
                    <a:gd name="T21" fmla="*/ 22 h 98"/>
                    <a:gd name="T22" fmla="*/ 22 w 58"/>
                    <a:gd name="T23" fmla="*/ 27 h 98"/>
                    <a:gd name="T24" fmla="*/ 22 w 58"/>
                    <a:gd name="T25" fmla="*/ 27 h 98"/>
                    <a:gd name="T26" fmla="*/ 18 w 58"/>
                    <a:gd name="T27" fmla="*/ 27 h 98"/>
                    <a:gd name="T28" fmla="*/ 5 w 58"/>
                    <a:gd name="T29" fmla="*/ 27 h 98"/>
                    <a:gd name="T30" fmla="*/ 0 w 58"/>
                    <a:gd name="T31" fmla="*/ 36 h 98"/>
                    <a:gd name="T32" fmla="*/ 9 w 58"/>
                    <a:gd name="T33" fmla="*/ 36 h 98"/>
                    <a:gd name="T34" fmla="*/ 5 w 58"/>
                    <a:gd name="T35" fmla="*/ 45 h 98"/>
                    <a:gd name="T36" fmla="*/ 0 w 58"/>
                    <a:gd name="T37" fmla="*/ 45 h 98"/>
                    <a:gd name="T38" fmla="*/ 0 w 58"/>
                    <a:gd name="T39" fmla="*/ 54 h 98"/>
                    <a:gd name="T40" fmla="*/ 9 w 58"/>
                    <a:gd name="T41" fmla="*/ 58 h 98"/>
                    <a:gd name="T42" fmla="*/ 14 w 58"/>
                    <a:gd name="T43" fmla="*/ 54 h 98"/>
                    <a:gd name="T44" fmla="*/ 18 w 58"/>
                    <a:gd name="T45" fmla="*/ 54 h 98"/>
                    <a:gd name="T46" fmla="*/ 14 w 58"/>
                    <a:gd name="T47" fmla="*/ 63 h 98"/>
                    <a:gd name="T48" fmla="*/ 14 w 58"/>
                    <a:gd name="T49" fmla="*/ 63 h 98"/>
                    <a:gd name="T50" fmla="*/ 9 w 58"/>
                    <a:gd name="T51" fmla="*/ 72 h 98"/>
                    <a:gd name="T52" fmla="*/ 18 w 58"/>
                    <a:gd name="T53" fmla="*/ 67 h 98"/>
                    <a:gd name="T54" fmla="*/ 18 w 58"/>
                    <a:gd name="T55" fmla="*/ 72 h 98"/>
                    <a:gd name="T56" fmla="*/ 9 w 58"/>
                    <a:gd name="T57" fmla="*/ 76 h 98"/>
                    <a:gd name="T58" fmla="*/ 9 w 58"/>
                    <a:gd name="T59" fmla="*/ 81 h 98"/>
                    <a:gd name="T60" fmla="*/ 0 w 58"/>
                    <a:gd name="T61" fmla="*/ 81 h 98"/>
                    <a:gd name="T62" fmla="*/ 0 w 58"/>
                    <a:gd name="T63" fmla="*/ 89 h 98"/>
                    <a:gd name="T64" fmla="*/ 9 w 58"/>
                    <a:gd name="T65" fmla="*/ 89 h 98"/>
                    <a:gd name="T66" fmla="*/ 0 w 58"/>
                    <a:gd name="T67" fmla="*/ 94 h 98"/>
                    <a:gd name="T68" fmla="*/ 9 w 58"/>
                    <a:gd name="T69" fmla="*/ 98 h 98"/>
                    <a:gd name="T70" fmla="*/ 27 w 58"/>
                    <a:gd name="T71" fmla="*/ 89 h 98"/>
                    <a:gd name="T72" fmla="*/ 40 w 58"/>
                    <a:gd name="T73" fmla="*/ 85 h 98"/>
                    <a:gd name="T74" fmla="*/ 49 w 58"/>
                    <a:gd name="T75" fmla="*/ 85 h 98"/>
                    <a:gd name="T76" fmla="*/ 54 w 58"/>
                    <a:gd name="T77" fmla="*/ 81 h 98"/>
                    <a:gd name="T78" fmla="*/ 58 w 58"/>
                    <a:gd name="T79" fmla="*/ 72 h 98"/>
                    <a:gd name="T80" fmla="*/ 58 w 58"/>
                    <a:gd name="T81" fmla="*/ 54 h 98"/>
                    <a:gd name="T82" fmla="*/ 58 w 58"/>
                    <a:gd name="T83" fmla="*/ 49 h 98"/>
                    <a:gd name="T84" fmla="*/ 58 w 58"/>
                    <a:gd name="T85" fmla="*/ 49 h 98"/>
                    <a:gd name="T86" fmla="*/ 54 w 58"/>
                    <a:gd name="T87" fmla="*/ 31 h 98"/>
                    <a:gd name="T88" fmla="*/ 49 w 58"/>
                    <a:gd name="T89" fmla="*/ 31 h 98"/>
                    <a:gd name="T90" fmla="*/ 40 w 58"/>
                    <a:gd name="T91" fmla="*/ 27 h 98"/>
                    <a:gd name="T92" fmla="*/ 40 w 58"/>
                    <a:gd name="T93" fmla="*/ 36 h 98"/>
                    <a:gd name="T94" fmla="*/ 27 w 58"/>
                    <a:gd name="T95" fmla="*/ 31 h 98"/>
                    <a:gd name="T96" fmla="*/ 27 w 58"/>
                    <a:gd name="T97" fmla="*/ 27 h 98"/>
                    <a:gd name="T98" fmla="*/ 31 w 58"/>
                    <a:gd name="T99" fmla="*/ 18 h 98"/>
                    <a:gd name="T100" fmla="*/ 36 w 58"/>
                    <a:gd name="T101" fmla="*/ 18 h 98"/>
                    <a:gd name="T102" fmla="*/ 40 w 58"/>
                    <a:gd name="T103" fmla="*/ 13 h 98"/>
                    <a:gd name="T104" fmla="*/ 45 w 58"/>
                    <a:gd name="T105" fmla="*/ 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98">
                      <a:moveTo>
                        <a:pt x="45" y="5"/>
                      </a:moveTo>
                      <a:lnTo>
                        <a:pt x="45" y="0"/>
                      </a:lnTo>
                      <a:lnTo>
                        <a:pt x="40" y="0"/>
                      </a:lnTo>
                      <a:lnTo>
                        <a:pt x="40" y="0"/>
                      </a:lnTo>
                      <a:lnTo>
                        <a:pt x="36" y="9"/>
                      </a:lnTo>
                      <a:lnTo>
                        <a:pt x="36" y="0"/>
                      </a:lnTo>
                      <a:lnTo>
                        <a:pt x="27" y="5"/>
                      </a:lnTo>
                      <a:lnTo>
                        <a:pt x="27" y="13"/>
                      </a:lnTo>
                      <a:lnTo>
                        <a:pt x="22" y="18"/>
                      </a:lnTo>
                      <a:lnTo>
                        <a:pt x="27" y="22"/>
                      </a:lnTo>
                      <a:lnTo>
                        <a:pt x="27" y="22"/>
                      </a:lnTo>
                      <a:lnTo>
                        <a:pt x="22" y="27"/>
                      </a:lnTo>
                      <a:lnTo>
                        <a:pt x="22" y="27"/>
                      </a:lnTo>
                      <a:lnTo>
                        <a:pt x="18" y="27"/>
                      </a:lnTo>
                      <a:lnTo>
                        <a:pt x="5" y="27"/>
                      </a:lnTo>
                      <a:lnTo>
                        <a:pt x="0" y="36"/>
                      </a:lnTo>
                      <a:lnTo>
                        <a:pt x="9" y="36"/>
                      </a:lnTo>
                      <a:lnTo>
                        <a:pt x="5" y="45"/>
                      </a:lnTo>
                      <a:lnTo>
                        <a:pt x="0" y="45"/>
                      </a:lnTo>
                      <a:lnTo>
                        <a:pt x="0" y="54"/>
                      </a:lnTo>
                      <a:lnTo>
                        <a:pt x="9" y="58"/>
                      </a:lnTo>
                      <a:lnTo>
                        <a:pt x="14" y="54"/>
                      </a:lnTo>
                      <a:lnTo>
                        <a:pt x="18" y="54"/>
                      </a:lnTo>
                      <a:lnTo>
                        <a:pt x="14" y="63"/>
                      </a:lnTo>
                      <a:lnTo>
                        <a:pt x="14" y="63"/>
                      </a:lnTo>
                      <a:lnTo>
                        <a:pt x="9" y="72"/>
                      </a:lnTo>
                      <a:lnTo>
                        <a:pt x="18" y="67"/>
                      </a:lnTo>
                      <a:lnTo>
                        <a:pt x="18" y="72"/>
                      </a:lnTo>
                      <a:lnTo>
                        <a:pt x="9" y="76"/>
                      </a:lnTo>
                      <a:lnTo>
                        <a:pt x="9" y="81"/>
                      </a:lnTo>
                      <a:lnTo>
                        <a:pt x="0" y="81"/>
                      </a:lnTo>
                      <a:lnTo>
                        <a:pt x="0" y="89"/>
                      </a:lnTo>
                      <a:lnTo>
                        <a:pt x="9" y="89"/>
                      </a:lnTo>
                      <a:lnTo>
                        <a:pt x="0" y="94"/>
                      </a:lnTo>
                      <a:lnTo>
                        <a:pt x="9" y="98"/>
                      </a:lnTo>
                      <a:lnTo>
                        <a:pt x="27" y="89"/>
                      </a:lnTo>
                      <a:lnTo>
                        <a:pt x="40" y="85"/>
                      </a:lnTo>
                      <a:lnTo>
                        <a:pt x="49" y="85"/>
                      </a:lnTo>
                      <a:lnTo>
                        <a:pt x="54" y="81"/>
                      </a:lnTo>
                      <a:lnTo>
                        <a:pt x="58" y="72"/>
                      </a:lnTo>
                      <a:lnTo>
                        <a:pt x="58" y="54"/>
                      </a:lnTo>
                      <a:lnTo>
                        <a:pt x="58" y="49"/>
                      </a:lnTo>
                      <a:lnTo>
                        <a:pt x="58" y="49"/>
                      </a:lnTo>
                      <a:lnTo>
                        <a:pt x="54" y="31"/>
                      </a:lnTo>
                      <a:lnTo>
                        <a:pt x="49" y="31"/>
                      </a:lnTo>
                      <a:lnTo>
                        <a:pt x="40" y="27"/>
                      </a:lnTo>
                      <a:lnTo>
                        <a:pt x="40" y="36"/>
                      </a:lnTo>
                      <a:lnTo>
                        <a:pt x="27" y="31"/>
                      </a:lnTo>
                      <a:lnTo>
                        <a:pt x="27" y="27"/>
                      </a:lnTo>
                      <a:lnTo>
                        <a:pt x="31" y="18"/>
                      </a:lnTo>
                      <a:lnTo>
                        <a:pt x="36" y="18"/>
                      </a:lnTo>
                      <a:lnTo>
                        <a:pt x="40" y="13"/>
                      </a:lnTo>
                      <a:lnTo>
                        <a:pt x="45" y="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48" name="Freeform 188">
                  <a:extLst>
                    <a:ext uri="{FF2B5EF4-FFF2-40B4-BE49-F238E27FC236}">
                      <a16:creationId xmlns:a16="http://schemas.microsoft.com/office/drawing/2014/main" id="{CE903769-87C6-444C-B517-BF41802A95F9}"/>
                    </a:ext>
                  </a:extLst>
                </p:cNvPr>
                <p:cNvSpPr>
                  <a:spLocks noEditPoints="1"/>
                </p:cNvSpPr>
                <p:nvPr/>
              </p:nvSpPr>
              <p:spPr bwMode="gray">
                <a:xfrm>
                  <a:off x="2817" y="2002"/>
                  <a:ext cx="174" cy="205"/>
                </a:xfrm>
                <a:custGeom>
                  <a:avLst/>
                  <a:gdLst>
                    <a:gd name="T0" fmla="*/ 27 w 174"/>
                    <a:gd name="T1" fmla="*/ 62 h 205"/>
                    <a:gd name="T2" fmla="*/ 36 w 174"/>
                    <a:gd name="T3" fmla="*/ 49 h 205"/>
                    <a:gd name="T4" fmla="*/ 53 w 174"/>
                    <a:gd name="T5" fmla="*/ 62 h 205"/>
                    <a:gd name="T6" fmla="*/ 62 w 174"/>
                    <a:gd name="T7" fmla="*/ 94 h 205"/>
                    <a:gd name="T8" fmla="*/ 94 w 174"/>
                    <a:gd name="T9" fmla="*/ 120 h 205"/>
                    <a:gd name="T10" fmla="*/ 112 w 174"/>
                    <a:gd name="T11" fmla="*/ 129 h 205"/>
                    <a:gd name="T12" fmla="*/ 120 w 174"/>
                    <a:gd name="T13" fmla="*/ 138 h 205"/>
                    <a:gd name="T14" fmla="*/ 138 w 174"/>
                    <a:gd name="T15" fmla="*/ 161 h 205"/>
                    <a:gd name="T16" fmla="*/ 134 w 174"/>
                    <a:gd name="T17" fmla="*/ 170 h 205"/>
                    <a:gd name="T18" fmla="*/ 134 w 174"/>
                    <a:gd name="T19" fmla="*/ 183 h 205"/>
                    <a:gd name="T20" fmla="*/ 147 w 174"/>
                    <a:gd name="T21" fmla="*/ 170 h 205"/>
                    <a:gd name="T22" fmla="*/ 152 w 174"/>
                    <a:gd name="T23" fmla="*/ 161 h 205"/>
                    <a:gd name="T24" fmla="*/ 143 w 174"/>
                    <a:gd name="T25" fmla="*/ 143 h 205"/>
                    <a:gd name="T26" fmla="*/ 156 w 174"/>
                    <a:gd name="T27" fmla="*/ 134 h 205"/>
                    <a:gd name="T28" fmla="*/ 165 w 174"/>
                    <a:gd name="T29" fmla="*/ 143 h 205"/>
                    <a:gd name="T30" fmla="*/ 174 w 174"/>
                    <a:gd name="T31" fmla="*/ 138 h 205"/>
                    <a:gd name="T32" fmla="*/ 147 w 174"/>
                    <a:gd name="T33" fmla="*/ 111 h 205"/>
                    <a:gd name="T34" fmla="*/ 138 w 174"/>
                    <a:gd name="T35" fmla="*/ 102 h 205"/>
                    <a:gd name="T36" fmla="*/ 120 w 174"/>
                    <a:gd name="T37" fmla="*/ 98 h 205"/>
                    <a:gd name="T38" fmla="*/ 103 w 174"/>
                    <a:gd name="T39" fmla="*/ 80 h 205"/>
                    <a:gd name="T40" fmla="*/ 85 w 174"/>
                    <a:gd name="T41" fmla="*/ 58 h 205"/>
                    <a:gd name="T42" fmla="*/ 85 w 174"/>
                    <a:gd name="T43" fmla="*/ 44 h 205"/>
                    <a:gd name="T44" fmla="*/ 80 w 174"/>
                    <a:gd name="T45" fmla="*/ 31 h 205"/>
                    <a:gd name="T46" fmla="*/ 94 w 174"/>
                    <a:gd name="T47" fmla="*/ 22 h 205"/>
                    <a:gd name="T48" fmla="*/ 103 w 174"/>
                    <a:gd name="T49" fmla="*/ 27 h 205"/>
                    <a:gd name="T50" fmla="*/ 107 w 174"/>
                    <a:gd name="T51" fmla="*/ 31 h 205"/>
                    <a:gd name="T52" fmla="*/ 103 w 174"/>
                    <a:gd name="T53" fmla="*/ 18 h 205"/>
                    <a:gd name="T54" fmla="*/ 103 w 174"/>
                    <a:gd name="T55" fmla="*/ 13 h 205"/>
                    <a:gd name="T56" fmla="*/ 85 w 174"/>
                    <a:gd name="T57" fmla="*/ 0 h 205"/>
                    <a:gd name="T58" fmla="*/ 67 w 174"/>
                    <a:gd name="T59" fmla="*/ 4 h 205"/>
                    <a:gd name="T60" fmla="*/ 53 w 174"/>
                    <a:gd name="T61" fmla="*/ 13 h 205"/>
                    <a:gd name="T62" fmla="*/ 40 w 174"/>
                    <a:gd name="T63" fmla="*/ 9 h 205"/>
                    <a:gd name="T64" fmla="*/ 36 w 174"/>
                    <a:gd name="T65" fmla="*/ 22 h 205"/>
                    <a:gd name="T66" fmla="*/ 27 w 174"/>
                    <a:gd name="T67" fmla="*/ 13 h 205"/>
                    <a:gd name="T68" fmla="*/ 18 w 174"/>
                    <a:gd name="T69" fmla="*/ 22 h 205"/>
                    <a:gd name="T70" fmla="*/ 9 w 174"/>
                    <a:gd name="T71" fmla="*/ 35 h 205"/>
                    <a:gd name="T72" fmla="*/ 0 w 174"/>
                    <a:gd name="T73" fmla="*/ 49 h 205"/>
                    <a:gd name="T74" fmla="*/ 18 w 174"/>
                    <a:gd name="T75" fmla="*/ 62 h 205"/>
                    <a:gd name="T76" fmla="*/ 40 w 174"/>
                    <a:gd name="T77" fmla="*/ 116 h 205"/>
                    <a:gd name="T78" fmla="*/ 27 w 174"/>
                    <a:gd name="T79" fmla="*/ 125 h 205"/>
                    <a:gd name="T80" fmla="*/ 31 w 174"/>
                    <a:gd name="T81" fmla="*/ 129 h 205"/>
                    <a:gd name="T82" fmla="*/ 36 w 174"/>
                    <a:gd name="T83" fmla="*/ 143 h 205"/>
                    <a:gd name="T84" fmla="*/ 31 w 174"/>
                    <a:gd name="T85" fmla="*/ 147 h 205"/>
                    <a:gd name="T86" fmla="*/ 36 w 174"/>
                    <a:gd name="T87" fmla="*/ 161 h 205"/>
                    <a:gd name="T88" fmla="*/ 45 w 174"/>
                    <a:gd name="T89" fmla="*/ 156 h 205"/>
                    <a:gd name="T90" fmla="*/ 49 w 174"/>
                    <a:gd name="T91" fmla="*/ 143 h 205"/>
                    <a:gd name="T92" fmla="*/ 49 w 174"/>
                    <a:gd name="T93" fmla="*/ 129 h 205"/>
                    <a:gd name="T94" fmla="*/ 40 w 174"/>
                    <a:gd name="T95" fmla="*/ 116 h 205"/>
                    <a:gd name="T96" fmla="*/ 120 w 174"/>
                    <a:gd name="T97" fmla="*/ 174 h 205"/>
                    <a:gd name="T98" fmla="*/ 98 w 174"/>
                    <a:gd name="T99" fmla="*/ 170 h 205"/>
                    <a:gd name="T100" fmla="*/ 85 w 174"/>
                    <a:gd name="T101" fmla="*/ 178 h 205"/>
                    <a:gd name="T102" fmla="*/ 89 w 174"/>
                    <a:gd name="T103" fmla="*/ 187 h 205"/>
                    <a:gd name="T104" fmla="*/ 103 w 174"/>
                    <a:gd name="T105" fmla="*/ 196 h 205"/>
                    <a:gd name="T106" fmla="*/ 116 w 174"/>
                    <a:gd name="T107" fmla="*/ 201 h 205"/>
                    <a:gd name="T108" fmla="*/ 125 w 174"/>
                    <a:gd name="T109" fmla="*/ 201 h 205"/>
                    <a:gd name="T110" fmla="*/ 129 w 174"/>
                    <a:gd name="T111" fmla="*/ 178 h 205"/>
                    <a:gd name="T112" fmla="*/ 125 w 174"/>
                    <a:gd name="T113" fmla="*/ 174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 h="205">
                      <a:moveTo>
                        <a:pt x="22" y="67"/>
                      </a:moveTo>
                      <a:lnTo>
                        <a:pt x="27" y="62"/>
                      </a:lnTo>
                      <a:lnTo>
                        <a:pt x="31" y="58"/>
                      </a:lnTo>
                      <a:lnTo>
                        <a:pt x="36" y="49"/>
                      </a:lnTo>
                      <a:lnTo>
                        <a:pt x="49" y="58"/>
                      </a:lnTo>
                      <a:lnTo>
                        <a:pt x="53" y="62"/>
                      </a:lnTo>
                      <a:lnTo>
                        <a:pt x="58" y="80"/>
                      </a:lnTo>
                      <a:lnTo>
                        <a:pt x="62" y="94"/>
                      </a:lnTo>
                      <a:lnTo>
                        <a:pt x="85" y="111"/>
                      </a:lnTo>
                      <a:lnTo>
                        <a:pt x="94" y="120"/>
                      </a:lnTo>
                      <a:lnTo>
                        <a:pt x="103" y="116"/>
                      </a:lnTo>
                      <a:lnTo>
                        <a:pt x="112" y="129"/>
                      </a:lnTo>
                      <a:lnTo>
                        <a:pt x="120" y="129"/>
                      </a:lnTo>
                      <a:lnTo>
                        <a:pt x="120" y="138"/>
                      </a:lnTo>
                      <a:lnTo>
                        <a:pt x="129" y="143"/>
                      </a:lnTo>
                      <a:lnTo>
                        <a:pt x="138" y="161"/>
                      </a:lnTo>
                      <a:lnTo>
                        <a:pt x="134" y="165"/>
                      </a:lnTo>
                      <a:lnTo>
                        <a:pt x="134" y="170"/>
                      </a:lnTo>
                      <a:lnTo>
                        <a:pt x="129" y="174"/>
                      </a:lnTo>
                      <a:lnTo>
                        <a:pt x="134" y="183"/>
                      </a:lnTo>
                      <a:lnTo>
                        <a:pt x="138" y="178"/>
                      </a:lnTo>
                      <a:lnTo>
                        <a:pt x="147" y="170"/>
                      </a:lnTo>
                      <a:lnTo>
                        <a:pt x="147" y="165"/>
                      </a:lnTo>
                      <a:lnTo>
                        <a:pt x="152" y="161"/>
                      </a:lnTo>
                      <a:lnTo>
                        <a:pt x="156" y="152"/>
                      </a:lnTo>
                      <a:lnTo>
                        <a:pt x="143" y="143"/>
                      </a:lnTo>
                      <a:lnTo>
                        <a:pt x="152" y="134"/>
                      </a:lnTo>
                      <a:lnTo>
                        <a:pt x="156" y="134"/>
                      </a:lnTo>
                      <a:lnTo>
                        <a:pt x="165" y="134"/>
                      </a:lnTo>
                      <a:lnTo>
                        <a:pt x="165" y="143"/>
                      </a:lnTo>
                      <a:lnTo>
                        <a:pt x="170" y="147"/>
                      </a:lnTo>
                      <a:lnTo>
                        <a:pt x="174" y="138"/>
                      </a:lnTo>
                      <a:lnTo>
                        <a:pt x="165" y="125"/>
                      </a:lnTo>
                      <a:lnTo>
                        <a:pt x="147" y="111"/>
                      </a:lnTo>
                      <a:lnTo>
                        <a:pt x="138" y="111"/>
                      </a:lnTo>
                      <a:lnTo>
                        <a:pt x="138" y="102"/>
                      </a:lnTo>
                      <a:lnTo>
                        <a:pt x="138" y="98"/>
                      </a:lnTo>
                      <a:lnTo>
                        <a:pt x="120" y="98"/>
                      </a:lnTo>
                      <a:lnTo>
                        <a:pt x="112" y="89"/>
                      </a:lnTo>
                      <a:lnTo>
                        <a:pt x="103" y="80"/>
                      </a:lnTo>
                      <a:lnTo>
                        <a:pt x="98" y="71"/>
                      </a:lnTo>
                      <a:lnTo>
                        <a:pt x="85" y="58"/>
                      </a:lnTo>
                      <a:lnTo>
                        <a:pt x="80" y="49"/>
                      </a:lnTo>
                      <a:lnTo>
                        <a:pt x="85" y="44"/>
                      </a:lnTo>
                      <a:lnTo>
                        <a:pt x="80" y="35"/>
                      </a:lnTo>
                      <a:lnTo>
                        <a:pt x="80" y="31"/>
                      </a:lnTo>
                      <a:lnTo>
                        <a:pt x="85" y="27"/>
                      </a:lnTo>
                      <a:lnTo>
                        <a:pt x="94" y="22"/>
                      </a:lnTo>
                      <a:lnTo>
                        <a:pt x="98" y="27"/>
                      </a:lnTo>
                      <a:lnTo>
                        <a:pt x="103" y="27"/>
                      </a:lnTo>
                      <a:lnTo>
                        <a:pt x="103" y="31"/>
                      </a:lnTo>
                      <a:lnTo>
                        <a:pt x="107" y="31"/>
                      </a:lnTo>
                      <a:lnTo>
                        <a:pt x="103" y="22"/>
                      </a:lnTo>
                      <a:lnTo>
                        <a:pt x="103" y="18"/>
                      </a:lnTo>
                      <a:lnTo>
                        <a:pt x="98" y="13"/>
                      </a:lnTo>
                      <a:lnTo>
                        <a:pt x="103" y="13"/>
                      </a:lnTo>
                      <a:lnTo>
                        <a:pt x="89" y="9"/>
                      </a:lnTo>
                      <a:lnTo>
                        <a:pt x="85" y="0"/>
                      </a:lnTo>
                      <a:lnTo>
                        <a:pt x="71" y="0"/>
                      </a:lnTo>
                      <a:lnTo>
                        <a:pt x="67" y="4"/>
                      </a:lnTo>
                      <a:lnTo>
                        <a:pt x="58" y="4"/>
                      </a:lnTo>
                      <a:lnTo>
                        <a:pt x="53" y="13"/>
                      </a:lnTo>
                      <a:lnTo>
                        <a:pt x="45" y="13"/>
                      </a:lnTo>
                      <a:lnTo>
                        <a:pt x="40" y="9"/>
                      </a:lnTo>
                      <a:lnTo>
                        <a:pt x="40" y="18"/>
                      </a:lnTo>
                      <a:lnTo>
                        <a:pt x="36" y="22"/>
                      </a:lnTo>
                      <a:lnTo>
                        <a:pt x="31" y="13"/>
                      </a:lnTo>
                      <a:lnTo>
                        <a:pt x="27" y="13"/>
                      </a:lnTo>
                      <a:lnTo>
                        <a:pt x="27" y="22"/>
                      </a:lnTo>
                      <a:lnTo>
                        <a:pt x="18" y="22"/>
                      </a:lnTo>
                      <a:lnTo>
                        <a:pt x="13" y="22"/>
                      </a:lnTo>
                      <a:lnTo>
                        <a:pt x="9" y="35"/>
                      </a:lnTo>
                      <a:lnTo>
                        <a:pt x="4" y="35"/>
                      </a:lnTo>
                      <a:lnTo>
                        <a:pt x="0" y="49"/>
                      </a:lnTo>
                      <a:lnTo>
                        <a:pt x="9" y="62"/>
                      </a:lnTo>
                      <a:lnTo>
                        <a:pt x="18" y="62"/>
                      </a:lnTo>
                      <a:lnTo>
                        <a:pt x="22" y="67"/>
                      </a:lnTo>
                      <a:close/>
                      <a:moveTo>
                        <a:pt x="40" y="116"/>
                      </a:moveTo>
                      <a:lnTo>
                        <a:pt x="36" y="125"/>
                      </a:lnTo>
                      <a:lnTo>
                        <a:pt x="27" y="125"/>
                      </a:lnTo>
                      <a:lnTo>
                        <a:pt x="27" y="129"/>
                      </a:lnTo>
                      <a:lnTo>
                        <a:pt x="31" y="129"/>
                      </a:lnTo>
                      <a:lnTo>
                        <a:pt x="31" y="143"/>
                      </a:lnTo>
                      <a:lnTo>
                        <a:pt x="36" y="143"/>
                      </a:lnTo>
                      <a:lnTo>
                        <a:pt x="36" y="147"/>
                      </a:lnTo>
                      <a:lnTo>
                        <a:pt x="31" y="147"/>
                      </a:lnTo>
                      <a:lnTo>
                        <a:pt x="31" y="156"/>
                      </a:lnTo>
                      <a:lnTo>
                        <a:pt x="36" y="161"/>
                      </a:lnTo>
                      <a:lnTo>
                        <a:pt x="40" y="161"/>
                      </a:lnTo>
                      <a:lnTo>
                        <a:pt x="45" y="156"/>
                      </a:lnTo>
                      <a:lnTo>
                        <a:pt x="45" y="156"/>
                      </a:lnTo>
                      <a:lnTo>
                        <a:pt x="49" y="143"/>
                      </a:lnTo>
                      <a:lnTo>
                        <a:pt x="45" y="134"/>
                      </a:lnTo>
                      <a:lnTo>
                        <a:pt x="49" y="129"/>
                      </a:lnTo>
                      <a:lnTo>
                        <a:pt x="49" y="120"/>
                      </a:lnTo>
                      <a:lnTo>
                        <a:pt x="40" y="116"/>
                      </a:lnTo>
                      <a:close/>
                      <a:moveTo>
                        <a:pt x="125" y="174"/>
                      </a:moveTo>
                      <a:lnTo>
                        <a:pt x="120" y="174"/>
                      </a:lnTo>
                      <a:lnTo>
                        <a:pt x="107" y="174"/>
                      </a:lnTo>
                      <a:lnTo>
                        <a:pt x="98" y="170"/>
                      </a:lnTo>
                      <a:lnTo>
                        <a:pt x="89" y="174"/>
                      </a:lnTo>
                      <a:lnTo>
                        <a:pt x="85" y="178"/>
                      </a:lnTo>
                      <a:lnTo>
                        <a:pt x="85" y="187"/>
                      </a:lnTo>
                      <a:lnTo>
                        <a:pt x="89" y="187"/>
                      </a:lnTo>
                      <a:lnTo>
                        <a:pt x="94" y="187"/>
                      </a:lnTo>
                      <a:lnTo>
                        <a:pt x="103" y="196"/>
                      </a:lnTo>
                      <a:lnTo>
                        <a:pt x="112" y="196"/>
                      </a:lnTo>
                      <a:lnTo>
                        <a:pt x="116" y="201"/>
                      </a:lnTo>
                      <a:lnTo>
                        <a:pt x="125" y="205"/>
                      </a:lnTo>
                      <a:lnTo>
                        <a:pt x="125" y="201"/>
                      </a:lnTo>
                      <a:lnTo>
                        <a:pt x="125" y="187"/>
                      </a:lnTo>
                      <a:lnTo>
                        <a:pt x="129" y="178"/>
                      </a:lnTo>
                      <a:lnTo>
                        <a:pt x="129" y="174"/>
                      </a:lnTo>
                      <a:lnTo>
                        <a:pt x="125" y="17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49" name="Freeform 189">
                  <a:extLst>
                    <a:ext uri="{FF2B5EF4-FFF2-40B4-BE49-F238E27FC236}">
                      <a16:creationId xmlns:a16="http://schemas.microsoft.com/office/drawing/2014/main" id="{74B6E9EF-FD75-49A9-BB27-D9780B8DFDAD}"/>
                    </a:ext>
                  </a:extLst>
                </p:cNvPr>
                <p:cNvSpPr>
                  <a:spLocks/>
                </p:cNvSpPr>
                <p:nvPr/>
              </p:nvSpPr>
              <p:spPr bwMode="gray">
                <a:xfrm>
                  <a:off x="3022" y="1738"/>
                  <a:ext cx="108" cy="67"/>
                </a:xfrm>
                <a:custGeom>
                  <a:avLst/>
                  <a:gdLst>
                    <a:gd name="T0" fmla="*/ 5 w 108"/>
                    <a:gd name="T1" fmla="*/ 49 h 67"/>
                    <a:gd name="T2" fmla="*/ 9 w 108"/>
                    <a:gd name="T3" fmla="*/ 49 h 67"/>
                    <a:gd name="T4" fmla="*/ 18 w 108"/>
                    <a:gd name="T5" fmla="*/ 45 h 67"/>
                    <a:gd name="T6" fmla="*/ 23 w 108"/>
                    <a:gd name="T7" fmla="*/ 49 h 67"/>
                    <a:gd name="T8" fmla="*/ 32 w 108"/>
                    <a:gd name="T9" fmla="*/ 45 h 67"/>
                    <a:gd name="T10" fmla="*/ 49 w 108"/>
                    <a:gd name="T11" fmla="*/ 49 h 67"/>
                    <a:gd name="T12" fmla="*/ 58 w 108"/>
                    <a:gd name="T13" fmla="*/ 45 h 67"/>
                    <a:gd name="T14" fmla="*/ 63 w 108"/>
                    <a:gd name="T15" fmla="*/ 49 h 67"/>
                    <a:gd name="T16" fmla="*/ 67 w 108"/>
                    <a:gd name="T17" fmla="*/ 54 h 67"/>
                    <a:gd name="T18" fmla="*/ 81 w 108"/>
                    <a:gd name="T19" fmla="*/ 67 h 67"/>
                    <a:gd name="T20" fmla="*/ 94 w 108"/>
                    <a:gd name="T21" fmla="*/ 63 h 67"/>
                    <a:gd name="T22" fmla="*/ 99 w 108"/>
                    <a:gd name="T23" fmla="*/ 58 h 67"/>
                    <a:gd name="T24" fmla="*/ 103 w 108"/>
                    <a:gd name="T25" fmla="*/ 49 h 67"/>
                    <a:gd name="T26" fmla="*/ 103 w 108"/>
                    <a:gd name="T27" fmla="*/ 49 h 67"/>
                    <a:gd name="T28" fmla="*/ 103 w 108"/>
                    <a:gd name="T29" fmla="*/ 40 h 67"/>
                    <a:gd name="T30" fmla="*/ 103 w 108"/>
                    <a:gd name="T31" fmla="*/ 22 h 67"/>
                    <a:gd name="T32" fmla="*/ 108 w 108"/>
                    <a:gd name="T33" fmla="*/ 18 h 67"/>
                    <a:gd name="T34" fmla="*/ 103 w 108"/>
                    <a:gd name="T35" fmla="*/ 13 h 67"/>
                    <a:gd name="T36" fmla="*/ 99 w 108"/>
                    <a:gd name="T37" fmla="*/ 13 h 67"/>
                    <a:gd name="T38" fmla="*/ 90 w 108"/>
                    <a:gd name="T39" fmla="*/ 9 h 67"/>
                    <a:gd name="T40" fmla="*/ 85 w 108"/>
                    <a:gd name="T41" fmla="*/ 9 h 67"/>
                    <a:gd name="T42" fmla="*/ 76 w 108"/>
                    <a:gd name="T43" fmla="*/ 5 h 67"/>
                    <a:gd name="T44" fmla="*/ 67 w 108"/>
                    <a:gd name="T45" fmla="*/ 0 h 67"/>
                    <a:gd name="T46" fmla="*/ 54 w 108"/>
                    <a:gd name="T47" fmla="*/ 5 h 67"/>
                    <a:gd name="T48" fmla="*/ 54 w 108"/>
                    <a:gd name="T49" fmla="*/ 18 h 67"/>
                    <a:gd name="T50" fmla="*/ 49 w 108"/>
                    <a:gd name="T51" fmla="*/ 22 h 67"/>
                    <a:gd name="T52" fmla="*/ 41 w 108"/>
                    <a:gd name="T53" fmla="*/ 27 h 67"/>
                    <a:gd name="T54" fmla="*/ 32 w 108"/>
                    <a:gd name="T55" fmla="*/ 22 h 67"/>
                    <a:gd name="T56" fmla="*/ 32 w 108"/>
                    <a:gd name="T57" fmla="*/ 18 h 67"/>
                    <a:gd name="T58" fmla="*/ 27 w 108"/>
                    <a:gd name="T59" fmla="*/ 9 h 67"/>
                    <a:gd name="T60" fmla="*/ 23 w 108"/>
                    <a:gd name="T61" fmla="*/ 5 h 67"/>
                    <a:gd name="T62" fmla="*/ 14 w 108"/>
                    <a:gd name="T63" fmla="*/ 9 h 67"/>
                    <a:gd name="T64" fmla="*/ 9 w 108"/>
                    <a:gd name="T65" fmla="*/ 13 h 67"/>
                    <a:gd name="T66" fmla="*/ 9 w 108"/>
                    <a:gd name="T67" fmla="*/ 22 h 67"/>
                    <a:gd name="T68" fmla="*/ 0 w 108"/>
                    <a:gd name="T69" fmla="*/ 31 h 67"/>
                    <a:gd name="T70" fmla="*/ 5 w 108"/>
                    <a:gd name="T71" fmla="*/ 4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8" h="67">
                      <a:moveTo>
                        <a:pt x="5" y="49"/>
                      </a:moveTo>
                      <a:lnTo>
                        <a:pt x="9" y="49"/>
                      </a:lnTo>
                      <a:lnTo>
                        <a:pt x="18" y="45"/>
                      </a:lnTo>
                      <a:lnTo>
                        <a:pt x="23" y="49"/>
                      </a:lnTo>
                      <a:lnTo>
                        <a:pt x="32" y="45"/>
                      </a:lnTo>
                      <a:lnTo>
                        <a:pt x="49" y="49"/>
                      </a:lnTo>
                      <a:lnTo>
                        <a:pt x="58" y="45"/>
                      </a:lnTo>
                      <a:lnTo>
                        <a:pt x="63" y="49"/>
                      </a:lnTo>
                      <a:lnTo>
                        <a:pt x="67" y="54"/>
                      </a:lnTo>
                      <a:lnTo>
                        <a:pt x="81" y="67"/>
                      </a:lnTo>
                      <a:lnTo>
                        <a:pt x="94" y="63"/>
                      </a:lnTo>
                      <a:lnTo>
                        <a:pt x="99" y="58"/>
                      </a:lnTo>
                      <a:lnTo>
                        <a:pt x="103" y="49"/>
                      </a:lnTo>
                      <a:lnTo>
                        <a:pt x="103" y="49"/>
                      </a:lnTo>
                      <a:lnTo>
                        <a:pt x="103" y="40"/>
                      </a:lnTo>
                      <a:lnTo>
                        <a:pt x="103" y="22"/>
                      </a:lnTo>
                      <a:lnTo>
                        <a:pt x="108" y="18"/>
                      </a:lnTo>
                      <a:lnTo>
                        <a:pt x="103" y="13"/>
                      </a:lnTo>
                      <a:lnTo>
                        <a:pt x="99" y="13"/>
                      </a:lnTo>
                      <a:lnTo>
                        <a:pt x="90" y="9"/>
                      </a:lnTo>
                      <a:lnTo>
                        <a:pt x="85" y="9"/>
                      </a:lnTo>
                      <a:lnTo>
                        <a:pt x="76" y="5"/>
                      </a:lnTo>
                      <a:lnTo>
                        <a:pt x="67" y="0"/>
                      </a:lnTo>
                      <a:lnTo>
                        <a:pt x="54" y="5"/>
                      </a:lnTo>
                      <a:lnTo>
                        <a:pt x="54" y="18"/>
                      </a:lnTo>
                      <a:lnTo>
                        <a:pt x="49" y="22"/>
                      </a:lnTo>
                      <a:lnTo>
                        <a:pt x="41" y="27"/>
                      </a:lnTo>
                      <a:lnTo>
                        <a:pt x="32" y="22"/>
                      </a:lnTo>
                      <a:lnTo>
                        <a:pt x="32" y="18"/>
                      </a:lnTo>
                      <a:lnTo>
                        <a:pt x="27" y="9"/>
                      </a:lnTo>
                      <a:lnTo>
                        <a:pt x="23" y="5"/>
                      </a:lnTo>
                      <a:lnTo>
                        <a:pt x="14" y="9"/>
                      </a:lnTo>
                      <a:lnTo>
                        <a:pt x="9" y="13"/>
                      </a:lnTo>
                      <a:lnTo>
                        <a:pt x="9" y="22"/>
                      </a:lnTo>
                      <a:lnTo>
                        <a:pt x="0" y="31"/>
                      </a:lnTo>
                      <a:lnTo>
                        <a:pt x="5" y="4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50" name="Freeform 190">
                  <a:extLst>
                    <a:ext uri="{FF2B5EF4-FFF2-40B4-BE49-F238E27FC236}">
                      <a16:creationId xmlns:a16="http://schemas.microsoft.com/office/drawing/2014/main" id="{448C9F6A-C83B-4666-8400-6A466CFBE1E9}"/>
                    </a:ext>
                  </a:extLst>
                </p:cNvPr>
                <p:cNvSpPr>
                  <a:spLocks/>
                </p:cNvSpPr>
                <p:nvPr/>
              </p:nvSpPr>
              <p:spPr bwMode="gray">
                <a:xfrm>
                  <a:off x="3022" y="1783"/>
                  <a:ext cx="85" cy="62"/>
                </a:xfrm>
                <a:custGeom>
                  <a:avLst/>
                  <a:gdLst>
                    <a:gd name="T0" fmla="*/ 5 w 85"/>
                    <a:gd name="T1" fmla="*/ 4 h 62"/>
                    <a:gd name="T2" fmla="*/ 0 w 85"/>
                    <a:gd name="T3" fmla="*/ 4 h 62"/>
                    <a:gd name="T4" fmla="*/ 5 w 85"/>
                    <a:gd name="T5" fmla="*/ 18 h 62"/>
                    <a:gd name="T6" fmla="*/ 5 w 85"/>
                    <a:gd name="T7" fmla="*/ 22 h 62"/>
                    <a:gd name="T8" fmla="*/ 9 w 85"/>
                    <a:gd name="T9" fmla="*/ 22 h 62"/>
                    <a:gd name="T10" fmla="*/ 9 w 85"/>
                    <a:gd name="T11" fmla="*/ 27 h 62"/>
                    <a:gd name="T12" fmla="*/ 23 w 85"/>
                    <a:gd name="T13" fmla="*/ 31 h 62"/>
                    <a:gd name="T14" fmla="*/ 32 w 85"/>
                    <a:gd name="T15" fmla="*/ 31 h 62"/>
                    <a:gd name="T16" fmla="*/ 32 w 85"/>
                    <a:gd name="T17" fmla="*/ 35 h 62"/>
                    <a:gd name="T18" fmla="*/ 32 w 85"/>
                    <a:gd name="T19" fmla="*/ 49 h 62"/>
                    <a:gd name="T20" fmla="*/ 41 w 85"/>
                    <a:gd name="T21" fmla="*/ 58 h 62"/>
                    <a:gd name="T22" fmla="*/ 41 w 85"/>
                    <a:gd name="T23" fmla="*/ 62 h 62"/>
                    <a:gd name="T24" fmla="*/ 49 w 85"/>
                    <a:gd name="T25" fmla="*/ 53 h 62"/>
                    <a:gd name="T26" fmla="*/ 58 w 85"/>
                    <a:gd name="T27" fmla="*/ 58 h 62"/>
                    <a:gd name="T28" fmla="*/ 63 w 85"/>
                    <a:gd name="T29" fmla="*/ 53 h 62"/>
                    <a:gd name="T30" fmla="*/ 67 w 85"/>
                    <a:gd name="T31" fmla="*/ 58 h 62"/>
                    <a:gd name="T32" fmla="*/ 67 w 85"/>
                    <a:gd name="T33" fmla="*/ 49 h 62"/>
                    <a:gd name="T34" fmla="*/ 72 w 85"/>
                    <a:gd name="T35" fmla="*/ 44 h 62"/>
                    <a:gd name="T36" fmla="*/ 76 w 85"/>
                    <a:gd name="T37" fmla="*/ 35 h 62"/>
                    <a:gd name="T38" fmla="*/ 81 w 85"/>
                    <a:gd name="T39" fmla="*/ 31 h 62"/>
                    <a:gd name="T40" fmla="*/ 81 w 85"/>
                    <a:gd name="T41" fmla="*/ 31 h 62"/>
                    <a:gd name="T42" fmla="*/ 85 w 85"/>
                    <a:gd name="T43" fmla="*/ 31 h 62"/>
                    <a:gd name="T44" fmla="*/ 81 w 85"/>
                    <a:gd name="T45" fmla="*/ 27 h 62"/>
                    <a:gd name="T46" fmla="*/ 81 w 85"/>
                    <a:gd name="T47" fmla="*/ 27 h 62"/>
                    <a:gd name="T48" fmla="*/ 81 w 85"/>
                    <a:gd name="T49" fmla="*/ 22 h 62"/>
                    <a:gd name="T50" fmla="*/ 67 w 85"/>
                    <a:gd name="T51" fmla="*/ 9 h 62"/>
                    <a:gd name="T52" fmla="*/ 63 w 85"/>
                    <a:gd name="T53" fmla="*/ 4 h 62"/>
                    <a:gd name="T54" fmla="*/ 58 w 85"/>
                    <a:gd name="T55" fmla="*/ 0 h 62"/>
                    <a:gd name="T56" fmla="*/ 49 w 85"/>
                    <a:gd name="T57" fmla="*/ 4 h 62"/>
                    <a:gd name="T58" fmla="*/ 32 w 85"/>
                    <a:gd name="T59" fmla="*/ 0 h 62"/>
                    <a:gd name="T60" fmla="*/ 23 w 85"/>
                    <a:gd name="T61" fmla="*/ 4 h 62"/>
                    <a:gd name="T62" fmla="*/ 18 w 85"/>
                    <a:gd name="T63" fmla="*/ 0 h 62"/>
                    <a:gd name="T64" fmla="*/ 9 w 85"/>
                    <a:gd name="T65" fmla="*/ 4 h 62"/>
                    <a:gd name="T66" fmla="*/ 5 w 85"/>
                    <a:gd name="T6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62">
                      <a:moveTo>
                        <a:pt x="5" y="4"/>
                      </a:moveTo>
                      <a:lnTo>
                        <a:pt x="0" y="4"/>
                      </a:lnTo>
                      <a:lnTo>
                        <a:pt x="5" y="18"/>
                      </a:lnTo>
                      <a:lnTo>
                        <a:pt x="5" y="22"/>
                      </a:lnTo>
                      <a:lnTo>
                        <a:pt x="9" y="22"/>
                      </a:lnTo>
                      <a:lnTo>
                        <a:pt x="9" y="27"/>
                      </a:lnTo>
                      <a:lnTo>
                        <a:pt x="23" y="31"/>
                      </a:lnTo>
                      <a:lnTo>
                        <a:pt x="32" y="31"/>
                      </a:lnTo>
                      <a:lnTo>
                        <a:pt x="32" y="35"/>
                      </a:lnTo>
                      <a:lnTo>
                        <a:pt x="32" y="49"/>
                      </a:lnTo>
                      <a:lnTo>
                        <a:pt x="41" y="58"/>
                      </a:lnTo>
                      <a:lnTo>
                        <a:pt x="41" y="62"/>
                      </a:lnTo>
                      <a:lnTo>
                        <a:pt x="49" y="53"/>
                      </a:lnTo>
                      <a:lnTo>
                        <a:pt x="58" y="58"/>
                      </a:lnTo>
                      <a:lnTo>
                        <a:pt x="63" y="53"/>
                      </a:lnTo>
                      <a:lnTo>
                        <a:pt x="67" y="58"/>
                      </a:lnTo>
                      <a:lnTo>
                        <a:pt x="67" y="49"/>
                      </a:lnTo>
                      <a:lnTo>
                        <a:pt x="72" y="44"/>
                      </a:lnTo>
                      <a:lnTo>
                        <a:pt x="76" y="35"/>
                      </a:lnTo>
                      <a:lnTo>
                        <a:pt x="81" y="31"/>
                      </a:lnTo>
                      <a:lnTo>
                        <a:pt x="81" y="31"/>
                      </a:lnTo>
                      <a:lnTo>
                        <a:pt x="85" y="31"/>
                      </a:lnTo>
                      <a:lnTo>
                        <a:pt x="81" y="27"/>
                      </a:lnTo>
                      <a:lnTo>
                        <a:pt x="81" y="27"/>
                      </a:lnTo>
                      <a:lnTo>
                        <a:pt x="81" y="22"/>
                      </a:lnTo>
                      <a:lnTo>
                        <a:pt x="67" y="9"/>
                      </a:lnTo>
                      <a:lnTo>
                        <a:pt x="63" y="4"/>
                      </a:lnTo>
                      <a:lnTo>
                        <a:pt x="58" y="0"/>
                      </a:lnTo>
                      <a:lnTo>
                        <a:pt x="49" y="4"/>
                      </a:lnTo>
                      <a:lnTo>
                        <a:pt x="32" y="0"/>
                      </a:lnTo>
                      <a:lnTo>
                        <a:pt x="23" y="4"/>
                      </a:lnTo>
                      <a:lnTo>
                        <a:pt x="18" y="0"/>
                      </a:lnTo>
                      <a:lnTo>
                        <a:pt x="9" y="4"/>
                      </a:lnTo>
                      <a:lnTo>
                        <a:pt x="5" y="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51" name="Freeform 191">
                  <a:extLst>
                    <a:ext uri="{FF2B5EF4-FFF2-40B4-BE49-F238E27FC236}">
                      <a16:creationId xmlns:a16="http://schemas.microsoft.com/office/drawing/2014/main" id="{1628260C-C6F1-49B1-96AD-4D2A54EB4969}"/>
                    </a:ext>
                  </a:extLst>
                </p:cNvPr>
                <p:cNvSpPr>
                  <a:spLocks/>
                </p:cNvSpPr>
                <p:nvPr/>
              </p:nvSpPr>
              <p:spPr bwMode="gray">
                <a:xfrm>
                  <a:off x="2812" y="1935"/>
                  <a:ext cx="9" cy="13"/>
                </a:xfrm>
                <a:custGeom>
                  <a:avLst/>
                  <a:gdLst>
                    <a:gd name="T0" fmla="*/ 0 w 9"/>
                    <a:gd name="T1" fmla="*/ 13 h 13"/>
                    <a:gd name="T2" fmla="*/ 0 w 9"/>
                    <a:gd name="T3" fmla="*/ 9 h 13"/>
                    <a:gd name="T4" fmla="*/ 0 w 9"/>
                    <a:gd name="T5" fmla="*/ 0 h 13"/>
                    <a:gd name="T6" fmla="*/ 5 w 9"/>
                    <a:gd name="T7" fmla="*/ 0 h 13"/>
                    <a:gd name="T8" fmla="*/ 5 w 9"/>
                    <a:gd name="T9" fmla="*/ 4 h 13"/>
                    <a:gd name="T10" fmla="*/ 9 w 9"/>
                    <a:gd name="T11" fmla="*/ 9 h 13"/>
                    <a:gd name="T12" fmla="*/ 9 w 9"/>
                    <a:gd name="T13" fmla="*/ 13 h 13"/>
                    <a:gd name="T14" fmla="*/ 5 w 9"/>
                    <a:gd name="T15" fmla="*/ 13 h 13"/>
                    <a:gd name="T16" fmla="*/ 0 w 9"/>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3">
                      <a:moveTo>
                        <a:pt x="0" y="13"/>
                      </a:moveTo>
                      <a:lnTo>
                        <a:pt x="0" y="9"/>
                      </a:lnTo>
                      <a:lnTo>
                        <a:pt x="0" y="0"/>
                      </a:lnTo>
                      <a:lnTo>
                        <a:pt x="5" y="0"/>
                      </a:lnTo>
                      <a:lnTo>
                        <a:pt x="5" y="4"/>
                      </a:lnTo>
                      <a:lnTo>
                        <a:pt x="9" y="9"/>
                      </a:lnTo>
                      <a:lnTo>
                        <a:pt x="9" y="13"/>
                      </a:lnTo>
                      <a:lnTo>
                        <a:pt x="5" y="13"/>
                      </a:lnTo>
                      <a:lnTo>
                        <a:pt x="0" y="13"/>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52" name="Freeform 192">
                  <a:extLst>
                    <a:ext uri="{FF2B5EF4-FFF2-40B4-BE49-F238E27FC236}">
                      <a16:creationId xmlns:a16="http://schemas.microsoft.com/office/drawing/2014/main" id="{8B6F4EDD-0E61-47CF-8694-5F031DBED6B2}"/>
                    </a:ext>
                  </a:extLst>
                </p:cNvPr>
                <p:cNvSpPr>
                  <a:spLocks/>
                </p:cNvSpPr>
                <p:nvPr/>
              </p:nvSpPr>
              <p:spPr bwMode="gray">
                <a:xfrm>
                  <a:off x="3107" y="1975"/>
                  <a:ext cx="45" cy="58"/>
                </a:xfrm>
                <a:custGeom>
                  <a:avLst/>
                  <a:gdLst>
                    <a:gd name="T0" fmla="*/ 0 w 45"/>
                    <a:gd name="T1" fmla="*/ 0 h 58"/>
                    <a:gd name="T2" fmla="*/ 14 w 45"/>
                    <a:gd name="T3" fmla="*/ 18 h 58"/>
                    <a:gd name="T4" fmla="*/ 18 w 45"/>
                    <a:gd name="T5" fmla="*/ 27 h 58"/>
                    <a:gd name="T6" fmla="*/ 23 w 45"/>
                    <a:gd name="T7" fmla="*/ 40 h 58"/>
                    <a:gd name="T8" fmla="*/ 18 w 45"/>
                    <a:gd name="T9" fmla="*/ 58 h 58"/>
                    <a:gd name="T10" fmla="*/ 27 w 45"/>
                    <a:gd name="T11" fmla="*/ 58 h 58"/>
                    <a:gd name="T12" fmla="*/ 31 w 45"/>
                    <a:gd name="T13" fmla="*/ 54 h 58"/>
                    <a:gd name="T14" fmla="*/ 31 w 45"/>
                    <a:gd name="T15" fmla="*/ 49 h 58"/>
                    <a:gd name="T16" fmla="*/ 31 w 45"/>
                    <a:gd name="T17" fmla="*/ 40 h 58"/>
                    <a:gd name="T18" fmla="*/ 36 w 45"/>
                    <a:gd name="T19" fmla="*/ 45 h 58"/>
                    <a:gd name="T20" fmla="*/ 36 w 45"/>
                    <a:gd name="T21" fmla="*/ 40 h 58"/>
                    <a:gd name="T22" fmla="*/ 40 w 45"/>
                    <a:gd name="T23" fmla="*/ 40 h 58"/>
                    <a:gd name="T24" fmla="*/ 45 w 45"/>
                    <a:gd name="T25" fmla="*/ 40 h 58"/>
                    <a:gd name="T26" fmla="*/ 45 w 45"/>
                    <a:gd name="T27" fmla="*/ 31 h 58"/>
                    <a:gd name="T28" fmla="*/ 40 w 45"/>
                    <a:gd name="T29" fmla="*/ 22 h 58"/>
                    <a:gd name="T30" fmla="*/ 40 w 45"/>
                    <a:gd name="T31" fmla="*/ 13 h 58"/>
                    <a:gd name="T32" fmla="*/ 27 w 45"/>
                    <a:gd name="T33" fmla="*/ 4 h 58"/>
                    <a:gd name="T34" fmla="*/ 23 w 45"/>
                    <a:gd name="T35" fmla="*/ 4 h 58"/>
                    <a:gd name="T36" fmla="*/ 18 w 45"/>
                    <a:gd name="T37" fmla="*/ 0 h 58"/>
                    <a:gd name="T38" fmla="*/ 14 w 45"/>
                    <a:gd name="T39" fmla="*/ 4 h 58"/>
                    <a:gd name="T40" fmla="*/ 14 w 45"/>
                    <a:gd name="T41" fmla="*/ 0 h 58"/>
                    <a:gd name="T42" fmla="*/ 0 w 45"/>
                    <a:gd name="T4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 h="58">
                      <a:moveTo>
                        <a:pt x="0" y="0"/>
                      </a:moveTo>
                      <a:lnTo>
                        <a:pt x="14" y="18"/>
                      </a:lnTo>
                      <a:lnTo>
                        <a:pt x="18" y="27"/>
                      </a:lnTo>
                      <a:lnTo>
                        <a:pt x="23" y="40"/>
                      </a:lnTo>
                      <a:lnTo>
                        <a:pt x="18" y="58"/>
                      </a:lnTo>
                      <a:lnTo>
                        <a:pt x="27" y="58"/>
                      </a:lnTo>
                      <a:lnTo>
                        <a:pt x="31" y="54"/>
                      </a:lnTo>
                      <a:lnTo>
                        <a:pt x="31" y="49"/>
                      </a:lnTo>
                      <a:lnTo>
                        <a:pt x="31" y="40"/>
                      </a:lnTo>
                      <a:lnTo>
                        <a:pt x="36" y="45"/>
                      </a:lnTo>
                      <a:lnTo>
                        <a:pt x="36" y="40"/>
                      </a:lnTo>
                      <a:lnTo>
                        <a:pt x="40" y="40"/>
                      </a:lnTo>
                      <a:lnTo>
                        <a:pt x="45" y="40"/>
                      </a:lnTo>
                      <a:lnTo>
                        <a:pt x="45" y="31"/>
                      </a:lnTo>
                      <a:lnTo>
                        <a:pt x="40" y="22"/>
                      </a:lnTo>
                      <a:lnTo>
                        <a:pt x="40" y="13"/>
                      </a:lnTo>
                      <a:lnTo>
                        <a:pt x="27" y="4"/>
                      </a:lnTo>
                      <a:lnTo>
                        <a:pt x="23" y="4"/>
                      </a:lnTo>
                      <a:lnTo>
                        <a:pt x="18" y="0"/>
                      </a:lnTo>
                      <a:lnTo>
                        <a:pt x="14" y="4"/>
                      </a:lnTo>
                      <a:lnTo>
                        <a:pt x="14" y="0"/>
                      </a:lnTo>
                      <a:lnTo>
                        <a:pt x="0" y="0"/>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53" name="Freeform 193">
                  <a:extLst>
                    <a:ext uri="{FF2B5EF4-FFF2-40B4-BE49-F238E27FC236}">
                      <a16:creationId xmlns:a16="http://schemas.microsoft.com/office/drawing/2014/main" id="{3197D28E-E0DE-4577-9D70-373A641FCBEA}"/>
                    </a:ext>
                  </a:extLst>
                </p:cNvPr>
                <p:cNvSpPr>
                  <a:spLocks/>
                </p:cNvSpPr>
                <p:nvPr/>
              </p:nvSpPr>
              <p:spPr bwMode="gray">
                <a:xfrm>
                  <a:off x="2772" y="1854"/>
                  <a:ext cx="58" cy="63"/>
                </a:xfrm>
                <a:custGeom>
                  <a:avLst/>
                  <a:gdLst>
                    <a:gd name="T0" fmla="*/ 45 w 58"/>
                    <a:gd name="T1" fmla="*/ 63 h 63"/>
                    <a:gd name="T2" fmla="*/ 40 w 58"/>
                    <a:gd name="T3" fmla="*/ 63 h 63"/>
                    <a:gd name="T4" fmla="*/ 40 w 58"/>
                    <a:gd name="T5" fmla="*/ 58 h 63"/>
                    <a:gd name="T6" fmla="*/ 36 w 58"/>
                    <a:gd name="T7" fmla="*/ 54 h 63"/>
                    <a:gd name="T8" fmla="*/ 27 w 58"/>
                    <a:gd name="T9" fmla="*/ 54 h 63"/>
                    <a:gd name="T10" fmla="*/ 18 w 58"/>
                    <a:gd name="T11" fmla="*/ 45 h 63"/>
                    <a:gd name="T12" fmla="*/ 14 w 58"/>
                    <a:gd name="T13" fmla="*/ 54 h 63"/>
                    <a:gd name="T14" fmla="*/ 9 w 58"/>
                    <a:gd name="T15" fmla="*/ 54 h 63"/>
                    <a:gd name="T16" fmla="*/ 0 w 58"/>
                    <a:gd name="T17" fmla="*/ 54 h 63"/>
                    <a:gd name="T18" fmla="*/ 0 w 58"/>
                    <a:gd name="T19" fmla="*/ 49 h 63"/>
                    <a:gd name="T20" fmla="*/ 5 w 58"/>
                    <a:gd name="T21" fmla="*/ 49 h 63"/>
                    <a:gd name="T22" fmla="*/ 5 w 58"/>
                    <a:gd name="T23" fmla="*/ 49 h 63"/>
                    <a:gd name="T24" fmla="*/ 5 w 58"/>
                    <a:gd name="T25" fmla="*/ 49 h 63"/>
                    <a:gd name="T26" fmla="*/ 0 w 58"/>
                    <a:gd name="T27" fmla="*/ 45 h 63"/>
                    <a:gd name="T28" fmla="*/ 5 w 58"/>
                    <a:gd name="T29" fmla="*/ 40 h 63"/>
                    <a:gd name="T30" fmla="*/ 14 w 58"/>
                    <a:gd name="T31" fmla="*/ 45 h 63"/>
                    <a:gd name="T32" fmla="*/ 14 w 58"/>
                    <a:gd name="T33" fmla="*/ 40 h 63"/>
                    <a:gd name="T34" fmla="*/ 9 w 58"/>
                    <a:gd name="T35" fmla="*/ 40 h 63"/>
                    <a:gd name="T36" fmla="*/ 5 w 58"/>
                    <a:gd name="T37" fmla="*/ 40 h 63"/>
                    <a:gd name="T38" fmla="*/ 14 w 58"/>
                    <a:gd name="T39" fmla="*/ 36 h 63"/>
                    <a:gd name="T40" fmla="*/ 18 w 58"/>
                    <a:gd name="T41" fmla="*/ 27 h 63"/>
                    <a:gd name="T42" fmla="*/ 27 w 58"/>
                    <a:gd name="T43" fmla="*/ 9 h 63"/>
                    <a:gd name="T44" fmla="*/ 27 w 58"/>
                    <a:gd name="T45" fmla="*/ 9 h 63"/>
                    <a:gd name="T46" fmla="*/ 31 w 58"/>
                    <a:gd name="T47" fmla="*/ 9 h 63"/>
                    <a:gd name="T48" fmla="*/ 36 w 58"/>
                    <a:gd name="T49" fmla="*/ 5 h 63"/>
                    <a:gd name="T50" fmla="*/ 40 w 58"/>
                    <a:gd name="T51" fmla="*/ 0 h 63"/>
                    <a:gd name="T52" fmla="*/ 54 w 58"/>
                    <a:gd name="T53" fmla="*/ 0 h 63"/>
                    <a:gd name="T54" fmla="*/ 54 w 58"/>
                    <a:gd name="T55" fmla="*/ 0 h 63"/>
                    <a:gd name="T56" fmla="*/ 54 w 58"/>
                    <a:gd name="T57" fmla="*/ 9 h 63"/>
                    <a:gd name="T58" fmla="*/ 58 w 58"/>
                    <a:gd name="T59" fmla="*/ 9 h 63"/>
                    <a:gd name="T60" fmla="*/ 54 w 58"/>
                    <a:gd name="T61" fmla="*/ 18 h 63"/>
                    <a:gd name="T62" fmla="*/ 54 w 58"/>
                    <a:gd name="T63" fmla="*/ 18 h 63"/>
                    <a:gd name="T64" fmla="*/ 54 w 58"/>
                    <a:gd name="T65" fmla="*/ 36 h 63"/>
                    <a:gd name="T66" fmla="*/ 49 w 58"/>
                    <a:gd name="T67" fmla="*/ 36 h 63"/>
                    <a:gd name="T68" fmla="*/ 40 w 58"/>
                    <a:gd name="T69" fmla="*/ 40 h 63"/>
                    <a:gd name="T70" fmla="*/ 40 w 58"/>
                    <a:gd name="T71" fmla="*/ 45 h 63"/>
                    <a:gd name="T72" fmla="*/ 45 w 58"/>
                    <a:gd name="T73" fmla="*/ 49 h 63"/>
                    <a:gd name="T74" fmla="*/ 40 w 58"/>
                    <a:gd name="T75" fmla="*/ 58 h 63"/>
                    <a:gd name="T76" fmla="*/ 45 w 58"/>
                    <a:gd name="T77"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63">
                      <a:moveTo>
                        <a:pt x="45" y="63"/>
                      </a:moveTo>
                      <a:lnTo>
                        <a:pt x="40" y="63"/>
                      </a:lnTo>
                      <a:lnTo>
                        <a:pt x="40" y="58"/>
                      </a:lnTo>
                      <a:lnTo>
                        <a:pt x="36" y="54"/>
                      </a:lnTo>
                      <a:lnTo>
                        <a:pt x="27" y="54"/>
                      </a:lnTo>
                      <a:lnTo>
                        <a:pt x="18" y="45"/>
                      </a:lnTo>
                      <a:lnTo>
                        <a:pt x="14" y="54"/>
                      </a:lnTo>
                      <a:lnTo>
                        <a:pt x="9" y="54"/>
                      </a:lnTo>
                      <a:lnTo>
                        <a:pt x="0" y="54"/>
                      </a:lnTo>
                      <a:lnTo>
                        <a:pt x="0" y="49"/>
                      </a:lnTo>
                      <a:lnTo>
                        <a:pt x="5" y="49"/>
                      </a:lnTo>
                      <a:lnTo>
                        <a:pt x="5" y="49"/>
                      </a:lnTo>
                      <a:lnTo>
                        <a:pt x="5" y="49"/>
                      </a:lnTo>
                      <a:lnTo>
                        <a:pt x="0" y="45"/>
                      </a:lnTo>
                      <a:lnTo>
                        <a:pt x="5" y="40"/>
                      </a:lnTo>
                      <a:lnTo>
                        <a:pt x="14" y="45"/>
                      </a:lnTo>
                      <a:lnTo>
                        <a:pt x="14" y="40"/>
                      </a:lnTo>
                      <a:lnTo>
                        <a:pt x="9" y="40"/>
                      </a:lnTo>
                      <a:lnTo>
                        <a:pt x="5" y="40"/>
                      </a:lnTo>
                      <a:lnTo>
                        <a:pt x="14" y="36"/>
                      </a:lnTo>
                      <a:lnTo>
                        <a:pt x="18" y="27"/>
                      </a:lnTo>
                      <a:lnTo>
                        <a:pt x="27" y="9"/>
                      </a:lnTo>
                      <a:lnTo>
                        <a:pt x="27" y="9"/>
                      </a:lnTo>
                      <a:lnTo>
                        <a:pt x="31" y="9"/>
                      </a:lnTo>
                      <a:lnTo>
                        <a:pt x="36" y="5"/>
                      </a:lnTo>
                      <a:lnTo>
                        <a:pt x="40" y="0"/>
                      </a:lnTo>
                      <a:lnTo>
                        <a:pt x="54" y="0"/>
                      </a:lnTo>
                      <a:lnTo>
                        <a:pt x="54" y="0"/>
                      </a:lnTo>
                      <a:lnTo>
                        <a:pt x="54" y="9"/>
                      </a:lnTo>
                      <a:lnTo>
                        <a:pt x="58" y="9"/>
                      </a:lnTo>
                      <a:lnTo>
                        <a:pt x="54" y="18"/>
                      </a:lnTo>
                      <a:lnTo>
                        <a:pt x="54" y="18"/>
                      </a:lnTo>
                      <a:lnTo>
                        <a:pt x="54" y="36"/>
                      </a:lnTo>
                      <a:lnTo>
                        <a:pt x="49" y="36"/>
                      </a:lnTo>
                      <a:lnTo>
                        <a:pt x="40" y="40"/>
                      </a:lnTo>
                      <a:lnTo>
                        <a:pt x="40" y="45"/>
                      </a:lnTo>
                      <a:lnTo>
                        <a:pt x="45" y="49"/>
                      </a:lnTo>
                      <a:lnTo>
                        <a:pt x="40" y="58"/>
                      </a:lnTo>
                      <a:lnTo>
                        <a:pt x="45" y="63"/>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54" name="Freeform 194">
                  <a:extLst>
                    <a:ext uri="{FF2B5EF4-FFF2-40B4-BE49-F238E27FC236}">
                      <a16:creationId xmlns:a16="http://schemas.microsoft.com/office/drawing/2014/main" id="{5D99DEA3-2784-4AF0-B6B0-8D1821545046}"/>
                    </a:ext>
                  </a:extLst>
                </p:cNvPr>
                <p:cNvSpPr>
                  <a:spLocks noEditPoints="1"/>
                </p:cNvSpPr>
                <p:nvPr/>
              </p:nvSpPr>
              <p:spPr bwMode="gray">
                <a:xfrm>
                  <a:off x="2799" y="1273"/>
                  <a:ext cx="371" cy="465"/>
                </a:xfrm>
                <a:custGeom>
                  <a:avLst/>
                  <a:gdLst>
                    <a:gd name="T0" fmla="*/ 98 w 371"/>
                    <a:gd name="T1" fmla="*/ 416 h 465"/>
                    <a:gd name="T2" fmla="*/ 98 w 371"/>
                    <a:gd name="T3" fmla="*/ 349 h 465"/>
                    <a:gd name="T4" fmla="*/ 103 w 371"/>
                    <a:gd name="T5" fmla="*/ 277 h 465"/>
                    <a:gd name="T6" fmla="*/ 125 w 371"/>
                    <a:gd name="T7" fmla="*/ 259 h 465"/>
                    <a:gd name="T8" fmla="*/ 143 w 371"/>
                    <a:gd name="T9" fmla="*/ 215 h 465"/>
                    <a:gd name="T10" fmla="*/ 161 w 371"/>
                    <a:gd name="T11" fmla="*/ 157 h 465"/>
                    <a:gd name="T12" fmla="*/ 188 w 371"/>
                    <a:gd name="T13" fmla="*/ 130 h 465"/>
                    <a:gd name="T14" fmla="*/ 210 w 371"/>
                    <a:gd name="T15" fmla="*/ 103 h 465"/>
                    <a:gd name="T16" fmla="*/ 228 w 371"/>
                    <a:gd name="T17" fmla="*/ 90 h 465"/>
                    <a:gd name="T18" fmla="*/ 272 w 371"/>
                    <a:gd name="T19" fmla="*/ 108 h 465"/>
                    <a:gd name="T20" fmla="*/ 308 w 371"/>
                    <a:gd name="T21" fmla="*/ 58 h 465"/>
                    <a:gd name="T22" fmla="*/ 339 w 371"/>
                    <a:gd name="T23" fmla="*/ 67 h 465"/>
                    <a:gd name="T24" fmla="*/ 344 w 371"/>
                    <a:gd name="T25" fmla="*/ 90 h 465"/>
                    <a:gd name="T26" fmla="*/ 362 w 371"/>
                    <a:gd name="T27" fmla="*/ 76 h 465"/>
                    <a:gd name="T28" fmla="*/ 357 w 371"/>
                    <a:gd name="T29" fmla="*/ 49 h 465"/>
                    <a:gd name="T30" fmla="*/ 348 w 371"/>
                    <a:gd name="T31" fmla="*/ 18 h 465"/>
                    <a:gd name="T32" fmla="*/ 335 w 371"/>
                    <a:gd name="T33" fmla="*/ 14 h 465"/>
                    <a:gd name="T34" fmla="*/ 335 w 371"/>
                    <a:gd name="T35" fmla="*/ 5 h 465"/>
                    <a:gd name="T36" fmla="*/ 308 w 371"/>
                    <a:gd name="T37" fmla="*/ 32 h 465"/>
                    <a:gd name="T38" fmla="*/ 281 w 371"/>
                    <a:gd name="T39" fmla="*/ 49 h 465"/>
                    <a:gd name="T40" fmla="*/ 272 w 371"/>
                    <a:gd name="T41" fmla="*/ 18 h 465"/>
                    <a:gd name="T42" fmla="*/ 259 w 371"/>
                    <a:gd name="T43" fmla="*/ 54 h 465"/>
                    <a:gd name="T44" fmla="*/ 228 w 371"/>
                    <a:gd name="T45" fmla="*/ 45 h 465"/>
                    <a:gd name="T46" fmla="*/ 214 w 371"/>
                    <a:gd name="T47" fmla="*/ 76 h 465"/>
                    <a:gd name="T48" fmla="*/ 179 w 371"/>
                    <a:gd name="T49" fmla="*/ 67 h 465"/>
                    <a:gd name="T50" fmla="*/ 179 w 371"/>
                    <a:gd name="T51" fmla="*/ 81 h 465"/>
                    <a:gd name="T52" fmla="*/ 161 w 371"/>
                    <a:gd name="T53" fmla="*/ 125 h 465"/>
                    <a:gd name="T54" fmla="*/ 147 w 371"/>
                    <a:gd name="T55" fmla="*/ 143 h 465"/>
                    <a:gd name="T56" fmla="*/ 147 w 371"/>
                    <a:gd name="T57" fmla="*/ 157 h 465"/>
                    <a:gd name="T58" fmla="*/ 134 w 371"/>
                    <a:gd name="T59" fmla="*/ 166 h 465"/>
                    <a:gd name="T60" fmla="*/ 121 w 371"/>
                    <a:gd name="T61" fmla="*/ 192 h 465"/>
                    <a:gd name="T62" fmla="*/ 98 w 371"/>
                    <a:gd name="T63" fmla="*/ 233 h 465"/>
                    <a:gd name="T64" fmla="*/ 89 w 371"/>
                    <a:gd name="T65" fmla="*/ 255 h 465"/>
                    <a:gd name="T66" fmla="*/ 76 w 371"/>
                    <a:gd name="T67" fmla="*/ 277 h 465"/>
                    <a:gd name="T68" fmla="*/ 67 w 371"/>
                    <a:gd name="T69" fmla="*/ 295 h 465"/>
                    <a:gd name="T70" fmla="*/ 40 w 371"/>
                    <a:gd name="T71" fmla="*/ 309 h 465"/>
                    <a:gd name="T72" fmla="*/ 4 w 371"/>
                    <a:gd name="T73" fmla="*/ 358 h 465"/>
                    <a:gd name="T74" fmla="*/ 13 w 371"/>
                    <a:gd name="T75" fmla="*/ 376 h 465"/>
                    <a:gd name="T76" fmla="*/ 0 w 371"/>
                    <a:gd name="T77" fmla="*/ 425 h 465"/>
                    <a:gd name="T78" fmla="*/ 27 w 371"/>
                    <a:gd name="T79" fmla="*/ 452 h 465"/>
                    <a:gd name="T80" fmla="*/ 49 w 371"/>
                    <a:gd name="T81" fmla="*/ 456 h 465"/>
                    <a:gd name="T82" fmla="*/ 71 w 371"/>
                    <a:gd name="T83" fmla="*/ 425 h 465"/>
                    <a:gd name="T84" fmla="*/ 89 w 371"/>
                    <a:gd name="T85" fmla="*/ 429 h 465"/>
                    <a:gd name="T86" fmla="*/ 125 w 371"/>
                    <a:gd name="T87" fmla="*/ 125 h 465"/>
                    <a:gd name="T88" fmla="*/ 134 w 371"/>
                    <a:gd name="T89" fmla="*/ 116 h 465"/>
                    <a:gd name="T90" fmla="*/ 112 w 371"/>
                    <a:gd name="T91" fmla="*/ 139 h 465"/>
                    <a:gd name="T92" fmla="*/ 161 w 371"/>
                    <a:gd name="T93" fmla="*/ 94 h 465"/>
                    <a:gd name="T94" fmla="*/ 156 w 371"/>
                    <a:gd name="T95" fmla="*/ 90 h 465"/>
                    <a:gd name="T96" fmla="*/ 138 w 371"/>
                    <a:gd name="T97" fmla="*/ 90 h 465"/>
                    <a:gd name="T98" fmla="*/ 138 w 371"/>
                    <a:gd name="T99" fmla="*/ 108 h 465"/>
                    <a:gd name="T100" fmla="*/ 192 w 371"/>
                    <a:gd name="T101" fmla="*/ 67 h 465"/>
                    <a:gd name="T102" fmla="*/ 205 w 371"/>
                    <a:gd name="T103" fmla="*/ 58 h 465"/>
                    <a:gd name="T104" fmla="*/ 192 w 371"/>
                    <a:gd name="T105" fmla="*/ 54 h 465"/>
                    <a:gd name="T106" fmla="*/ 192 w 371"/>
                    <a:gd name="T107" fmla="*/ 67 h 465"/>
                    <a:gd name="T108" fmla="*/ 255 w 371"/>
                    <a:gd name="T109" fmla="*/ 36 h 465"/>
                    <a:gd name="T110" fmla="*/ 264 w 371"/>
                    <a:gd name="T111" fmla="*/ 14 h 465"/>
                    <a:gd name="T112" fmla="*/ 241 w 371"/>
                    <a:gd name="T113" fmla="*/ 27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1" h="465">
                      <a:moveTo>
                        <a:pt x="89" y="434"/>
                      </a:moveTo>
                      <a:lnTo>
                        <a:pt x="98" y="438"/>
                      </a:lnTo>
                      <a:lnTo>
                        <a:pt x="98" y="425"/>
                      </a:lnTo>
                      <a:lnTo>
                        <a:pt x="98" y="416"/>
                      </a:lnTo>
                      <a:lnTo>
                        <a:pt x="107" y="407"/>
                      </a:lnTo>
                      <a:lnTo>
                        <a:pt x="103" y="380"/>
                      </a:lnTo>
                      <a:lnTo>
                        <a:pt x="112" y="367"/>
                      </a:lnTo>
                      <a:lnTo>
                        <a:pt x="98" y="349"/>
                      </a:lnTo>
                      <a:lnTo>
                        <a:pt x="98" y="304"/>
                      </a:lnTo>
                      <a:lnTo>
                        <a:pt x="103" y="300"/>
                      </a:lnTo>
                      <a:lnTo>
                        <a:pt x="98" y="295"/>
                      </a:lnTo>
                      <a:lnTo>
                        <a:pt x="103" y="277"/>
                      </a:lnTo>
                      <a:lnTo>
                        <a:pt x="112" y="273"/>
                      </a:lnTo>
                      <a:lnTo>
                        <a:pt x="121" y="277"/>
                      </a:lnTo>
                      <a:lnTo>
                        <a:pt x="130" y="273"/>
                      </a:lnTo>
                      <a:lnTo>
                        <a:pt x="125" y="259"/>
                      </a:lnTo>
                      <a:lnTo>
                        <a:pt x="134" y="233"/>
                      </a:lnTo>
                      <a:lnTo>
                        <a:pt x="134" y="215"/>
                      </a:lnTo>
                      <a:lnTo>
                        <a:pt x="138" y="210"/>
                      </a:lnTo>
                      <a:lnTo>
                        <a:pt x="143" y="215"/>
                      </a:lnTo>
                      <a:lnTo>
                        <a:pt x="147" y="206"/>
                      </a:lnTo>
                      <a:lnTo>
                        <a:pt x="143" y="197"/>
                      </a:lnTo>
                      <a:lnTo>
                        <a:pt x="165" y="175"/>
                      </a:lnTo>
                      <a:lnTo>
                        <a:pt x="161" y="157"/>
                      </a:lnTo>
                      <a:lnTo>
                        <a:pt x="165" y="143"/>
                      </a:lnTo>
                      <a:lnTo>
                        <a:pt x="174" y="130"/>
                      </a:lnTo>
                      <a:lnTo>
                        <a:pt x="183" y="134"/>
                      </a:lnTo>
                      <a:lnTo>
                        <a:pt x="188" y="130"/>
                      </a:lnTo>
                      <a:lnTo>
                        <a:pt x="183" y="116"/>
                      </a:lnTo>
                      <a:lnTo>
                        <a:pt x="188" y="112"/>
                      </a:lnTo>
                      <a:lnTo>
                        <a:pt x="210" y="116"/>
                      </a:lnTo>
                      <a:lnTo>
                        <a:pt x="210" y="103"/>
                      </a:lnTo>
                      <a:lnTo>
                        <a:pt x="214" y="94"/>
                      </a:lnTo>
                      <a:lnTo>
                        <a:pt x="223" y="94"/>
                      </a:lnTo>
                      <a:lnTo>
                        <a:pt x="219" y="90"/>
                      </a:lnTo>
                      <a:lnTo>
                        <a:pt x="228" y="90"/>
                      </a:lnTo>
                      <a:lnTo>
                        <a:pt x="228" y="85"/>
                      </a:lnTo>
                      <a:lnTo>
                        <a:pt x="237" y="85"/>
                      </a:lnTo>
                      <a:lnTo>
                        <a:pt x="250" y="108"/>
                      </a:lnTo>
                      <a:lnTo>
                        <a:pt x="272" y="108"/>
                      </a:lnTo>
                      <a:lnTo>
                        <a:pt x="281" y="112"/>
                      </a:lnTo>
                      <a:lnTo>
                        <a:pt x="295" y="99"/>
                      </a:lnTo>
                      <a:lnTo>
                        <a:pt x="295" y="76"/>
                      </a:lnTo>
                      <a:lnTo>
                        <a:pt x="308" y="58"/>
                      </a:lnTo>
                      <a:lnTo>
                        <a:pt x="326" y="54"/>
                      </a:lnTo>
                      <a:lnTo>
                        <a:pt x="331" y="63"/>
                      </a:lnTo>
                      <a:lnTo>
                        <a:pt x="339" y="63"/>
                      </a:lnTo>
                      <a:lnTo>
                        <a:pt x="339" y="67"/>
                      </a:lnTo>
                      <a:lnTo>
                        <a:pt x="335" y="85"/>
                      </a:lnTo>
                      <a:lnTo>
                        <a:pt x="331" y="90"/>
                      </a:lnTo>
                      <a:lnTo>
                        <a:pt x="331" y="94"/>
                      </a:lnTo>
                      <a:lnTo>
                        <a:pt x="344" y="90"/>
                      </a:lnTo>
                      <a:lnTo>
                        <a:pt x="353" y="76"/>
                      </a:lnTo>
                      <a:lnTo>
                        <a:pt x="353" y="67"/>
                      </a:lnTo>
                      <a:lnTo>
                        <a:pt x="353" y="67"/>
                      </a:lnTo>
                      <a:lnTo>
                        <a:pt x="362" y="76"/>
                      </a:lnTo>
                      <a:lnTo>
                        <a:pt x="366" y="63"/>
                      </a:lnTo>
                      <a:lnTo>
                        <a:pt x="339" y="49"/>
                      </a:lnTo>
                      <a:lnTo>
                        <a:pt x="335" y="45"/>
                      </a:lnTo>
                      <a:lnTo>
                        <a:pt x="357" y="49"/>
                      </a:lnTo>
                      <a:lnTo>
                        <a:pt x="366" y="36"/>
                      </a:lnTo>
                      <a:lnTo>
                        <a:pt x="371" y="36"/>
                      </a:lnTo>
                      <a:lnTo>
                        <a:pt x="371" y="27"/>
                      </a:lnTo>
                      <a:lnTo>
                        <a:pt x="348" y="18"/>
                      </a:lnTo>
                      <a:lnTo>
                        <a:pt x="344" y="18"/>
                      </a:lnTo>
                      <a:lnTo>
                        <a:pt x="348" y="9"/>
                      </a:lnTo>
                      <a:lnTo>
                        <a:pt x="344" y="5"/>
                      </a:lnTo>
                      <a:lnTo>
                        <a:pt x="335" y="14"/>
                      </a:lnTo>
                      <a:lnTo>
                        <a:pt x="331" y="32"/>
                      </a:lnTo>
                      <a:lnTo>
                        <a:pt x="326" y="27"/>
                      </a:lnTo>
                      <a:lnTo>
                        <a:pt x="331" y="18"/>
                      </a:lnTo>
                      <a:lnTo>
                        <a:pt x="335" y="5"/>
                      </a:lnTo>
                      <a:lnTo>
                        <a:pt x="335" y="5"/>
                      </a:lnTo>
                      <a:lnTo>
                        <a:pt x="326" y="0"/>
                      </a:lnTo>
                      <a:lnTo>
                        <a:pt x="317" y="5"/>
                      </a:lnTo>
                      <a:lnTo>
                        <a:pt x="308" y="32"/>
                      </a:lnTo>
                      <a:lnTo>
                        <a:pt x="304" y="9"/>
                      </a:lnTo>
                      <a:lnTo>
                        <a:pt x="295" y="27"/>
                      </a:lnTo>
                      <a:lnTo>
                        <a:pt x="286" y="49"/>
                      </a:lnTo>
                      <a:lnTo>
                        <a:pt x="281" y="49"/>
                      </a:lnTo>
                      <a:lnTo>
                        <a:pt x="286" y="32"/>
                      </a:lnTo>
                      <a:lnTo>
                        <a:pt x="295" y="9"/>
                      </a:lnTo>
                      <a:lnTo>
                        <a:pt x="277" y="5"/>
                      </a:lnTo>
                      <a:lnTo>
                        <a:pt x="272" y="18"/>
                      </a:lnTo>
                      <a:lnTo>
                        <a:pt x="277" y="23"/>
                      </a:lnTo>
                      <a:lnTo>
                        <a:pt x="268" y="27"/>
                      </a:lnTo>
                      <a:lnTo>
                        <a:pt x="259" y="41"/>
                      </a:lnTo>
                      <a:lnTo>
                        <a:pt x="259" y="54"/>
                      </a:lnTo>
                      <a:lnTo>
                        <a:pt x="250" y="54"/>
                      </a:lnTo>
                      <a:lnTo>
                        <a:pt x="250" y="41"/>
                      </a:lnTo>
                      <a:lnTo>
                        <a:pt x="237" y="41"/>
                      </a:lnTo>
                      <a:lnTo>
                        <a:pt x="228" y="45"/>
                      </a:lnTo>
                      <a:lnTo>
                        <a:pt x="237" y="54"/>
                      </a:lnTo>
                      <a:lnTo>
                        <a:pt x="228" y="58"/>
                      </a:lnTo>
                      <a:lnTo>
                        <a:pt x="223" y="54"/>
                      </a:lnTo>
                      <a:lnTo>
                        <a:pt x="214" y="76"/>
                      </a:lnTo>
                      <a:lnTo>
                        <a:pt x="214" y="58"/>
                      </a:lnTo>
                      <a:lnTo>
                        <a:pt x="197" y="67"/>
                      </a:lnTo>
                      <a:lnTo>
                        <a:pt x="192" y="76"/>
                      </a:lnTo>
                      <a:lnTo>
                        <a:pt x="179" y="67"/>
                      </a:lnTo>
                      <a:lnTo>
                        <a:pt x="170" y="76"/>
                      </a:lnTo>
                      <a:lnTo>
                        <a:pt x="165" y="85"/>
                      </a:lnTo>
                      <a:lnTo>
                        <a:pt x="170" y="90"/>
                      </a:lnTo>
                      <a:lnTo>
                        <a:pt x="179" y="81"/>
                      </a:lnTo>
                      <a:lnTo>
                        <a:pt x="179" y="99"/>
                      </a:lnTo>
                      <a:lnTo>
                        <a:pt x="165" y="108"/>
                      </a:lnTo>
                      <a:lnTo>
                        <a:pt x="161" y="116"/>
                      </a:lnTo>
                      <a:lnTo>
                        <a:pt x="161" y="125"/>
                      </a:lnTo>
                      <a:lnTo>
                        <a:pt x="152" y="121"/>
                      </a:lnTo>
                      <a:lnTo>
                        <a:pt x="138" y="134"/>
                      </a:lnTo>
                      <a:lnTo>
                        <a:pt x="138" y="148"/>
                      </a:lnTo>
                      <a:lnTo>
                        <a:pt x="147" y="143"/>
                      </a:lnTo>
                      <a:lnTo>
                        <a:pt x="147" y="152"/>
                      </a:lnTo>
                      <a:lnTo>
                        <a:pt x="138" y="152"/>
                      </a:lnTo>
                      <a:lnTo>
                        <a:pt x="130" y="161"/>
                      </a:lnTo>
                      <a:lnTo>
                        <a:pt x="147" y="157"/>
                      </a:lnTo>
                      <a:lnTo>
                        <a:pt x="152" y="161"/>
                      </a:lnTo>
                      <a:lnTo>
                        <a:pt x="152" y="166"/>
                      </a:lnTo>
                      <a:lnTo>
                        <a:pt x="143" y="161"/>
                      </a:lnTo>
                      <a:lnTo>
                        <a:pt x="134" y="166"/>
                      </a:lnTo>
                      <a:lnTo>
                        <a:pt x="134" y="170"/>
                      </a:lnTo>
                      <a:lnTo>
                        <a:pt x="125" y="170"/>
                      </a:lnTo>
                      <a:lnTo>
                        <a:pt x="116" y="184"/>
                      </a:lnTo>
                      <a:lnTo>
                        <a:pt x="121" y="192"/>
                      </a:lnTo>
                      <a:lnTo>
                        <a:pt x="112" y="197"/>
                      </a:lnTo>
                      <a:lnTo>
                        <a:pt x="116" y="206"/>
                      </a:lnTo>
                      <a:lnTo>
                        <a:pt x="107" y="215"/>
                      </a:lnTo>
                      <a:lnTo>
                        <a:pt x="98" y="233"/>
                      </a:lnTo>
                      <a:lnTo>
                        <a:pt x="98" y="233"/>
                      </a:lnTo>
                      <a:lnTo>
                        <a:pt x="103" y="246"/>
                      </a:lnTo>
                      <a:lnTo>
                        <a:pt x="98" y="242"/>
                      </a:lnTo>
                      <a:lnTo>
                        <a:pt x="89" y="255"/>
                      </a:lnTo>
                      <a:lnTo>
                        <a:pt x="94" y="255"/>
                      </a:lnTo>
                      <a:lnTo>
                        <a:pt x="94" y="264"/>
                      </a:lnTo>
                      <a:lnTo>
                        <a:pt x="80" y="264"/>
                      </a:lnTo>
                      <a:lnTo>
                        <a:pt x="76" y="277"/>
                      </a:lnTo>
                      <a:lnTo>
                        <a:pt x="71" y="286"/>
                      </a:lnTo>
                      <a:lnTo>
                        <a:pt x="80" y="295"/>
                      </a:lnTo>
                      <a:lnTo>
                        <a:pt x="76" y="300"/>
                      </a:lnTo>
                      <a:lnTo>
                        <a:pt x="67" y="295"/>
                      </a:lnTo>
                      <a:lnTo>
                        <a:pt x="58" y="282"/>
                      </a:lnTo>
                      <a:lnTo>
                        <a:pt x="49" y="295"/>
                      </a:lnTo>
                      <a:lnTo>
                        <a:pt x="49" y="313"/>
                      </a:lnTo>
                      <a:lnTo>
                        <a:pt x="40" y="309"/>
                      </a:lnTo>
                      <a:lnTo>
                        <a:pt x="18" y="327"/>
                      </a:lnTo>
                      <a:lnTo>
                        <a:pt x="4" y="335"/>
                      </a:lnTo>
                      <a:lnTo>
                        <a:pt x="0" y="349"/>
                      </a:lnTo>
                      <a:lnTo>
                        <a:pt x="4" y="358"/>
                      </a:lnTo>
                      <a:lnTo>
                        <a:pt x="13" y="358"/>
                      </a:lnTo>
                      <a:lnTo>
                        <a:pt x="4" y="362"/>
                      </a:lnTo>
                      <a:lnTo>
                        <a:pt x="9" y="371"/>
                      </a:lnTo>
                      <a:lnTo>
                        <a:pt x="13" y="376"/>
                      </a:lnTo>
                      <a:lnTo>
                        <a:pt x="4" y="376"/>
                      </a:lnTo>
                      <a:lnTo>
                        <a:pt x="0" y="398"/>
                      </a:lnTo>
                      <a:lnTo>
                        <a:pt x="4" y="402"/>
                      </a:lnTo>
                      <a:lnTo>
                        <a:pt x="0" y="425"/>
                      </a:lnTo>
                      <a:lnTo>
                        <a:pt x="9" y="434"/>
                      </a:lnTo>
                      <a:lnTo>
                        <a:pt x="13" y="447"/>
                      </a:lnTo>
                      <a:lnTo>
                        <a:pt x="18" y="452"/>
                      </a:lnTo>
                      <a:lnTo>
                        <a:pt x="27" y="452"/>
                      </a:lnTo>
                      <a:lnTo>
                        <a:pt x="27" y="461"/>
                      </a:lnTo>
                      <a:lnTo>
                        <a:pt x="36" y="465"/>
                      </a:lnTo>
                      <a:lnTo>
                        <a:pt x="45" y="461"/>
                      </a:lnTo>
                      <a:lnTo>
                        <a:pt x="49" y="456"/>
                      </a:lnTo>
                      <a:lnTo>
                        <a:pt x="54" y="456"/>
                      </a:lnTo>
                      <a:lnTo>
                        <a:pt x="63" y="438"/>
                      </a:lnTo>
                      <a:lnTo>
                        <a:pt x="67" y="429"/>
                      </a:lnTo>
                      <a:lnTo>
                        <a:pt x="71" y="425"/>
                      </a:lnTo>
                      <a:lnTo>
                        <a:pt x="76" y="420"/>
                      </a:lnTo>
                      <a:lnTo>
                        <a:pt x="80" y="420"/>
                      </a:lnTo>
                      <a:lnTo>
                        <a:pt x="80" y="429"/>
                      </a:lnTo>
                      <a:lnTo>
                        <a:pt x="89" y="429"/>
                      </a:lnTo>
                      <a:lnTo>
                        <a:pt x="89" y="434"/>
                      </a:lnTo>
                      <a:close/>
                      <a:moveTo>
                        <a:pt x="112" y="139"/>
                      </a:moveTo>
                      <a:lnTo>
                        <a:pt x="121" y="130"/>
                      </a:lnTo>
                      <a:lnTo>
                        <a:pt x="125" y="125"/>
                      </a:lnTo>
                      <a:lnTo>
                        <a:pt x="130" y="125"/>
                      </a:lnTo>
                      <a:lnTo>
                        <a:pt x="138" y="121"/>
                      </a:lnTo>
                      <a:lnTo>
                        <a:pt x="138" y="112"/>
                      </a:lnTo>
                      <a:lnTo>
                        <a:pt x="134" y="116"/>
                      </a:lnTo>
                      <a:lnTo>
                        <a:pt x="130" y="121"/>
                      </a:lnTo>
                      <a:lnTo>
                        <a:pt x="125" y="121"/>
                      </a:lnTo>
                      <a:lnTo>
                        <a:pt x="112" y="130"/>
                      </a:lnTo>
                      <a:lnTo>
                        <a:pt x="112" y="139"/>
                      </a:lnTo>
                      <a:close/>
                      <a:moveTo>
                        <a:pt x="152" y="116"/>
                      </a:moveTo>
                      <a:lnTo>
                        <a:pt x="161" y="108"/>
                      </a:lnTo>
                      <a:lnTo>
                        <a:pt x="165" y="99"/>
                      </a:lnTo>
                      <a:lnTo>
                        <a:pt x="161" y="94"/>
                      </a:lnTo>
                      <a:lnTo>
                        <a:pt x="156" y="94"/>
                      </a:lnTo>
                      <a:lnTo>
                        <a:pt x="152" y="103"/>
                      </a:lnTo>
                      <a:lnTo>
                        <a:pt x="152" y="94"/>
                      </a:lnTo>
                      <a:lnTo>
                        <a:pt x="156" y="90"/>
                      </a:lnTo>
                      <a:lnTo>
                        <a:pt x="156" y="76"/>
                      </a:lnTo>
                      <a:lnTo>
                        <a:pt x="147" y="90"/>
                      </a:lnTo>
                      <a:lnTo>
                        <a:pt x="143" y="103"/>
                      </a:lnTo>
                      <a:lnTo>
                        <a:pt x="138" y="90"/>
                      </a:lnTo>
                      <a:lnTo>
                        <a:pt x="138" y="99"/>
                      </a:lnTo>
                      <a:lnTo>
                        <a:pt x="134" y="99"/>
                      </a:lnTo>
                      <a:lnTo>
                        <a:pt x="130" y="108"/>
                      </a:lnTo>
                      <a:lnTo>
                        <a:pt x="138" y="108"/>
                      </a:lnTo>
                      <a:lnTo>
                        <a:pt x="147" y="103"/>
                      </a:lnTo>
                      <a:lnTo>
                        <a:pt x="143" y="116"/>
                      </a:lnTo>
                      <a:lnTo>
                        <a:pt x="152" y="116"/>
                      </a:lnTo>
                      <a:close/>
                      <a:moveTo>
                        <a:pt x="192" y="67"/>
                      </a:moveTo>
                      <a:lnTo>
                        <a:pt x="197" y="63"/>
                      </a:lnTo>
                      <a:lnTo>
                        <a:pt x="201" y="58"/>
                      </a:lnTo>
                      <a:lnTo>
                        <a:pt x="205" y="58"/>
                      </a:lnTo>
                      <a:lnTo>
                        <a:pt x="205" y="58"/>
                      </a:lnTo>
                      <a:lnTo>
                        <a:pt x="210" y="49"/>
                      </a:lnTo>
                      <a:lnTo>
                        <a:pt x="205" y="54"/>
                      </a:lnTo>
                      <a:lnTo>
                        <a:pt x="201" y="49"/>
                      </a:lnTo>
                      <a:lnTo>
                        <a:pt x="192" y="54"/>
                      </a:lnTo>
                      <a:lnTo>
                        <a:pt x="192" y="63"/>
                      </a:lnTo>
                      <a:lnTo>
                        <a:pt x="188" y="58"/>
                      </a:lnTo>
                      <a:lnTo>
                        <a:pt x="183" y="67"/>
                      </a:lnTo>
                      <a:lnTo>
                        <a:pt x="192" y="67"/>
                      </a:lnTo>
                      <a:close/>
                      <a:moveTo>
                        <a:pt x="241" y="27"/>
                      </a:moveTo>
                      <a:lnTo>
                        <a:pt x="246" y="32"/>
                      </a:lnTo>
                      <a:lnTo>
                        <a:pt x="259" y="27"/>
                      </a:lnTo>
                      <a:lnTo>
                        <a:pt x="255" y="36"/>
                      </a:lnTo>
                      <a:lnTo>
                        <a:pt x="259" y="41"/>
                      </a:lnTo>
                      <a:lnTo>
                        <a:pt x="264" y="27"/>
                      </a:lnTo>
                      <a:lnTo>
                        <a:pt x="259" y="27"/>
                      </a:lnTo>
                      <a:lnTo>
                        <a:pt x="264" y="14"/>
                      </a:lnTo>
                      <a:lnTo>
                        <a:pt x="259" y="14"/>
                      </a:lnTo>
                      <a:lnTo>
                        <a:pt x="259" y="18"/>
                      </a:lnTo>
                      <a:lnTo>
                        <a:pt x="250" y="18"/>
                      </a:lnTo>
                      <a:lnTo>
                        <a:pt x="241" y="27"/>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55" name="Freeform 195">
                  <a:extLst>
                    <a:ext uri="{FF2B5EF4-FFF2-40B4-BE49-F238E27FC236}">
                      <a16:creationId xmlns:a16="http://schemas.microsoft.com/office/drawing/2014/main" id="{E70A0D0F-A580-40DC-A81B-49B84CA30002}"/>
                    </a:ext>
                  </a:extLst>
                </p:cNvPr>
                <p:cNvSpPr>
                  <a:spLocks/>
                </p:cNvSpPr>
                <p:nvPr/>
              </p:nvSpPr>
              <p:spPr bwMode="gray">
                <a:xfrm>
                  <a:off x="2924" y="1818"/>
                  <a:ext cx="147" cy="139"/>
                </a:xfrm>
                <a:custGeom>
                  <a:avLst/>
                  <a:gdLst>
                    <a:gd name="T0" fmla="*/ 13 w 147"/>
                    <a:gd name="T1" fmla="*/ 99 h 139"/>
                    <a:gd name="T2" fmla="*/ 13 w 147"/>
                    <a:gd name="T3" fmla="*/ 90 h 139"/>
                    <a:gd name="T4" fmla="*/ 9 w 147"/>
                    <a:gd name="T5" fmla="*/ 85 h 139"/>
                    <a:gd name="T6" fmla="*/ 9 w 147"/>
                    <a:gd name="T7" fmla="*/ 72 h 139"/>
                    <a:gd name="T8" fmla="*/ 9 w 147"/>
                    <a:gd name="T9" fmla="*/ 59 h 139"/>
                    <a:gd name="T10" fmla="*/ 0 w 147"/>
                    <a:gd name="T11" fmla="*/ 50 h 139"/>
                    <a:gd name="T12" fmla="*/ 0 w 147"/>
                    <a:gd name="T13" fmla="*/ 36 h 139"/>
                    <a:gd name="T14" fmla="*/ 0 w 147"/>
                    <a:gd name="T15" fmla="*/ 27 h 139"/>
                    <a:gd name="T16" fmla="*/ 5 w 147"/>
                    <a:gd name="T17" fmla="*/ 27 h 139"/>
                    <a:gd name="T18" fmla="*/ 9 w 147"/>
                    <a:gd name="T19" fmla="*/ 36 h 139"/>
                    <a:gd name="T20" fmla="*/ 9 w 147"/>
                    <a:gd name="T21" fmla="*/ 27 h 139"/>
                    <a:gd name="T22" fmla="*/ 13 w 147"/>
                    <a:gd name="T23" fmla="*/ 23 h 139"/>
                    <a:gd name="T24" fmla="*/ 22 w 147"/>
                    <a:gd name="T25" fmla="*/ 14 h 139"/>
                    <a:gd name="T26" fmla="*/ 36 w 147"/>
                    <a:gd name="T27" fmla="*/ 14 h 139"/>
                    <a:gd name="T28" fmla="*/ 40 w 147"/>
                    <a:gd name="T29" fmla="*/ 5 h 139"/>
                    <a:gd name="T30" fmla="*/ 49 w 147"/>
                    <a:gd name="T31" fmla="*/ 0 h 139"/>
                    <a:gd name="T32" fmla="*/ 58 w 147"/>
                    <a:gd name="T33" fmla="*/ 0 h 139"/>
                    <a:gd name="T34" fmla="*/ 72 w 147"/>
                    <a:gd name="T35" fmla="*/ 0 h 139"/>
                    <a:gd name="T36" fmla="*/ 72 w 147"/>
                    <a:gd name="T37" fmla="*/ 5 h 139"/>
                    <a:gd name="T38" fmla="*/ 63 w 147"/>
                    <a:gd name="T39" fmla="*/ 5 h 139"/>
                    <a:gd name="T40" fmla="*/ 67 w 147"/>
                    <a:gd name="T41" fmla="*/ 9 h 139"/>
                    <a:gd name="T42" fmla="*/ 76 w 147"/>
                    <a:gd name="T43" fmla="*/ 5 h 139"/>
                    <a:gd name="T44" fmla="*/ 76 w 147"/>
                    <a:gd name="T45" fmla="*/ 14 h 139"/>
                    <a:gd name="T46" fmla="*/ 80 w 147"/>
                    <a:gd name="T47" fmla="*/ 9 h 139"/>
                    <a:gd name="T48" fmla="*/ 89 w 147"/>
                    <a:gd name="T49" fmla="*/ 9 h 139"/>
                    <a:gd name="T50" fmla="*/ 107 w 147"/>
                    <a:gd name="T51" fmla="*/ 14 h 139"/>
                    <a:gd name="T52" fmla="*/ 130 w 147"/>
                    <a:gd name="T53" fmla="*/ 14 h 139"/>
                    <a:gd name="T54" fmla="*/ 139 w 147"/>
                    <a:gd name="T55" fmla="*/ 23 h 139"/>
                    <a:gd name="T56" fmla="*/ 139 w 147"/>
                    <a:gd name="T57" fmla="*/ 27 h 139"/>
                    <a:gd name="T58" fmla="*/ 143 w 147"/>
                    <a:gd name="T59" fmla="*/ 41 h 139"/>
                    <a:gd name="T60" fmla="*/ 147 w 147"/>
                    <a:gd name="T61" fmla="*/ 50 h 139"/>
                    <a:gd name="T62" fmla="*/ 147 w 147"/>
                    <a:gd name="T63" fmla="*/ 59 h 139"/>
                    <a:gd name="T64" fmla="*/ 134 w 147"/>
                    <a:gd name="T65" fmla="*/ 63 h 139"/>
                    <a:gd name="T66" fmla="*/ 139 w 147"/>
                    <a:gd name="T67" fmla="*/ 72 h 139"/>
                    <a:gd name="T68" fmla="*/ 139 w 147"/>
                    <a:gd name="T69" fmla="*/ 81 h 139"/>
                    <a:gd name="T70" fmla="*/ 139 w 147"/>
                    <a:gd name="T71" fmla="*/ 85 h 139"/>
                    <a:gd name="T72" fmla="*/ 143 w 147"/>
                    <a:gd name="T73" fmla="*/ 99 h 139"/>
                    <a:gd name="T74" fmla="*/ 143 w 147"/>
                    <a:gd name="T75" fmla="*/ 108 h 139"/>
                    <a:gd name="T76" fmla="*/ 147 w 147"/>
                    <a:gd name="T77" fmla="*/ 112 h 139"/>
                    <a:gd name="T78" fmla="*/ 143 w 147"/>
                    <a:gd name="T79" fmla="*/ 117 h 139"/>
                    <a:gd name="T80" fmla="*/ 134 w 147"/>
                    <a:gd name="T81" fmla="*/ 121 h 139"/>
                    <a:gd name="T82" fmla="*/ 125 w 147"/>
                    <a:gd name="T83" fmla="*/ 135 h 139"/>
                    <a:gd name="T84" fmla="*/ 130 w 147"/>
                    <a:gd name="T85" fmla="*/ 139 h 139"/>
                    <a:gd name="T86" fmla="*/ 125 w 147"/>
                    <a:gd name="T87" fmla="*/ 139 h 139"/>
                    <a:gd name="T88" fmla="*/ 112 w 147"/>
                    <a:gd name="T89" fmla="*/ 130 h 139"/>
                    <a:gd name="T90" fmla="*/ 98 w 147"/>
                    <a:gd name="T91" fmla="*/ 135 h 139"/>
                    <a:gd name="T92" fmla="*/ 94 w 147"/>
                    <a:gd name="T93" fmla="*/ 130 h 139"/>
                    <a:gd name="T94" fmla="*/ 89 w 147"/>
                    <a:gd name="T95" fmla="*/ 139 h 139"/>
                    <a:gd name="T96" fmla="*/ 80 w 147"/>
                    <a:gd name="T97" fmla="*/ 130 h 139"/>
                    <a:gd name="T98" fmla="*/ 72 w 147"/>
                    <a:gd name="T99" fmla="*/ 135 h 139"/>
                    <a:gd name="T100" fmla="*/ 67 w 147"/>
                    <a:gd name="T101" fmla="*/ 130 h 139"/>
                    <a:gd name="T102" fmla="*/ 67 w 147"/>
                    <a:gd name="T103" fmla="*/ 121 h 139"/>
                    <a:gd name="T104" fmla="*/ 58 w 147"/>
                    <a:gd name="T105" fmla="*/ 121 h 139"/>
                    <a:gd name="T106" fmla="*/ 54 w 147"/>
                    <a:gd name="T107" fmla="*/ 112 h 139"/>
                    <a:gd name="T108" fmla="*/ 45 w 147"/>
                    <a:gd name="T109" fmla="*/ 108 h 139"/>
                    <a:gd name="T110" fmla="*/ 40 w 147"/>
                    <a:gd name="T111" fmla="*/ 117 h 139"/>
                    <a:gd name="T112" fmla="*/ 31 w 147"/>
                    <a:gd name="T113" fmla="*/ 112 h 139"/>
                    <a:gd name="T114" fmla="*/ 36 w 147"/>
                    <a:gd name="T115" fmla="*/ 108 h 139"/>
                    <a:gd name="T116" fmla="*/ 27 w 147"/>
                    <a:gd name="T117" fmla="*/ 108 h 139"/>
                    <a:gd name="T118" fmla="*/ 22 w 147"/>
                    <a:gd name="T119" fmla="*/ 99 h 139"/>
                    <a:gd name="T120" fmla="*/ 18 w 147"/>
                    <a:gd name="T121" fmla="*/ 103 h 139"/>
                    <a:gd name="T122" fmla="*/ 13 w 147"/>
                    <a:gd name="T123" fmla="*/ 99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7" h="139">
                      <a:moveTo>
                        <a:pt x="13" y="99"/>
                      </a:moveTo>
                      <a:lnTo>
                        <a:pt x="13" y="90"/>
                      </a:lnTo>
                      <a:lnTo>
                        <a:pt x="9" y="85"/>
                      </a:lnTo>
                      <a:lnTo>
                        <a:pt x="9" y="72"/>
                      </a:lnTo>
                      <a:lnTo>
                        <a:pt x="9" y="59"/>
                      </a:lnTo>
                      <a:lnTo>
                        <a:pt x="0" y="50"/>
                      </a:lnTo>
                      <a:lnTo>
                        <a:pt x="0" y="36"/>
                      </a:lnTo>
                      <a:lnTo>
                        <a:pt x="0" y="27"/>
                      </a:lnTo>
                      <a:lnTo>
                        <a:pt x="5" y="27"/>
                      </a:lnTo>
                      <a:lnTo>
                        <a:pt x="9" y="36"/>
                      </a:lnTo>
                      <a:lnTo>
                        <a:pt x="9" y="27"/>
                      </a:lnTo>
                      <a:lnTo>
                        <a:pt x="13" y="23"/>
                      </a:lnTo>
                      <a:lnTo>
                        <a:pt x="22" y="14"/>
                      </a:lnTo>
                      <a:lnTo>
                        <a:pt x="36" y="14"/>
                      </a:lnTo>
                      <a:lnTo>
                        <a:pt x="40" y="5"/>
                      </a:lnTo>
                      <a:lnTo>
                        <a:pt x="49" y="0"/>
                      </a:lnTo>
                      <a:lnTo>
                        <a:pt x="58" y="0"/>
                      </a:lnTo>
                      <a:lnTo>
                        <a:pt x="72" y="0"/>
                      </a:lnTo>
                      <a:lnTo>
                        <a:pt x="72" y="5"/>
                      </a:lnTo>
                      <a:lnTo>
                        <a:pt x="63" y="5"/>
                      </a:lnTo>
                      <a:lnTo>
                        <a:pt x="67" y="9"/>
                      </a:lnTo>
                      <a:lnTo>
                        <a:pt x="76" y="5"/>
                      </a:lnTo>
                      <a:lnTo>
                        <a:pt x="76" y="14"/>
                      </a:lnTo>
                      <a:lnTo>
                        <a:pt x="80" y="9"/>
                      </a:lnTo>
                      <a:lnTo>
                        <a:pt x="89" y="9"/>
                      </a:lnTo>
                      <a:lnTo>
                        <a:pt x="107" y="14"/>
                      </a:lnTo>
                      <a:lnTo>
                        <a:pt x="130" y="14"/>
                      </a:lnTo>
                      <a:lnTo>
                        <a:pt x="139" y="23"/>
                      </a:lnTo>
                      <a:lnTo>
                        <a:pt x="139" y="27"/>
                      </a:lnTo>
                      <a:lnTo>
                        <a:pt x="143" y="41"/>
                      </a:lnTo>
                      <a:lnTo>
                        <a:pt x="147" y="50"/>
                      </a:lnTo>
                      <a:lnTo>
                        <a:pt x="147" y="59"/>
                      </a:lnTo>
                      <a:lnTo>
                        <a:pt x="134" y="63"/>
                      </a:lnTo>
                      <a:lnTo>
                        <a:pt x="139" y="72"/>
                      </a:lnTo>
                      <a:lnTo>
                        <a:pt x="139" y="81"/>
                      </a:lnTo>
                      <a:lnTo>
                        <a:pt x="139" y="85"/>
                      </a:lnTo>
                      <a:lnTo>
                        <a:pt x="143" y="99"/>
                      </a:lnTo>
                      <a:lnTo>
                        <a:pt x="143" y="108"/>
                      </a:lnTo>
                      <a:lnTo>
                        <a:pt x="147" y="112"/>
                      </a:lnTo>
                      <a:lnTo>
                        <a:pt x="143" y="117"/>
                      </a:lnTo>
                      <a:lnTo>
                        <a:pt x="134" y="121"/>
                      </a:lnTo>
                      <a:lnTo>
                        <a:pt x="125" y="135"/>
                      </a:lnTo>
                      <a:lnTo>
                        <a:pt x="130" y="139"/>
                      </a:lnTo>
                      <a:lnTo>
                        <a:pt x="125" y="139"/>
                      </a:lnTo>
                      <a:lnTo>
                        <a:pt x="112" y="130"/>
                      </a:lnTo>
                      <a:lnTo>
                        <a:pt x="98" y="135"/>
                      </a:lnTo>
                      <a:lnTo>
                        <a:pt x="94" y="130"/>
                      </a:lnTo>
                      <a:lnTo>
                        <a:pt x="89" y="139"/>
                      </a:lnTo>
                      <a:lnTo>
                        <a:pt x="80" y="130"/>
                      </a:lnTo>
                      <a:lnTo>
                        <a:pt x="72" y="135"/>
                      </a:lnTo>
                      <a:lnTo>
                        <a:pt x="67" y="130"/>
                      </a:lnTo>
                      <a:lnTo>
                        <a:pt x="67" y="121"/>
                      </a:lnTo>
                      <a:lnTo>
                        <a:pt x="58" y="121"/>
                      </a:lnTo>
                      <a:lnTo>
                        <a:pt x="54" y="112"/>
                      </a:lnTo>
                      <a:lnTo>
                        <a:pt x="45" y="108"/>
                      </a:lnTo>
                      <a:lnTo>
                        <a:pt x="40" y="117"/>
                      </a:lnTo>
                      <a:lnTo>
                        <a:pt x="31" y="112"/>
                      </a:lnTo>
                      <a:lnTo>
                        <a:pt x="36" y="108"/>
                      </a:lnTo>
                      <a:lnTo>
                        <a:pt x="27" y="108"/>
                      </a:lnTo>
                      <a:lnTo>
                        <a:pt x="22" y="99"/>
                      </a:lnTo>
                      <a:lnTo>
                        <a:pt x="18" y="103"/>
                      </a:lnTo>
                      <a:lnTo>
                        <a:pt x="13" y="99"/>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56" name="Freeform 196">
                  <a:extLst>
                    <a:ext uri="{FF2B5EF4-FFF2-40B4-BE49-F238E27FC236}">
                      <a16:creationId xmlns:a16="http://schemas.microsoft.com/office/drawing/2014/main" id="{ACE6A8C2-9CFA-460A-977C-86B4B161DED5}"/>
                    </a:ext>
                  </a:extLst>
                </p:cNvPr>
                <p:cNvSpPr>
                  <a:spLocks noEditPoints="1"/>
                </p:cNvSpPr>
                <p:nvPr/>
              </p:nvSpPr>
              <p:spPr bwMode="gray">
                <a:xfrm>
                  <a:off x="2482" y="2100"/>
                  <a:ext cx="161" cy="179"/>
                </a:xfrm>
                <a:custGeom>
                  <a:avLst/>
                  <a:gdLst>
                    <a:gd name="T0" fmla="*/ 0 w 161"/>
                    <a:gd name="T1" fmla="*/ 174 h 179"/>
                    <a:gd name="T2" fmla="*/ 0 w 161"/>
                    <a:gd name="T3" fmla="*/ 179 h 179"/>
                    <a:gd name="T4" fmla="*/ 9 w 161"/>
                    <a:gd name="T5" fmla="*/ 179 h 179"/>
                    <a:gd name="T6" fmla="*/ 9 w 161"/>
                    <a:gd name="T7" fmla="*/ 174 h 179"/>
                    <a:gd name="T8" fmla="*/ 0 w 161"/>
                    <a:gd name="T9" fmla="*/ 174 h 179"/>
                    <a:gd name="T10" fmla="*/ 120 w 161"/>
                    <a:gd name="T11" fmla="*/ 4 h 179"/>
                    <a:gd name="T12" fmla="*/ 120 w 161"/>
                    <a:gd name="T13" fmla="*/ 13 h 179"/>
                    <a:gd name="T14" fmla="*/ 120 w 161"/>
                    <a:gd name="T15" fmla="*/ 27 h 179"/>
                    <a:gd name="T16" fmla="*/ 120 w 161"/>
                    <a:gd name="T17" fmla="*/ 31 h 179"/>
                    <a:gd name="T18" fmla="*/ 120 w 161"/>
                    <a:gd name="T19" fmla="*/ 31 h 179"/>
                    <a:gd name="T20" fmla="*/ 120 w 161"/>
                    <a:gd name="T21" fmla="*/ 40 h 179"/>
                    <a:gd name="T22" fmla="*/ 116 w 161"/>
                    <a:gd name="T23" fmla="*/ 54 h 179"/>
                    <a:gd name="T24" fmla="*/ 112 w 161"/>
                    <a:gd name="T25" fmla="*/ 58 h 179"/>
                    <a:gd name="T26" fmla="*/ 112 w 161"/>
                    <a:gd name="T27" fmla="*/ 67 h 179"/>
                    <a:gd name="T28" fmla="*/ 116 w 161"/>
                    <a:gd name="T29" fmla="*/ 72 h 179"/>
                    <a:gd name="T30" fmla="*/ 116 w 161"/>
                    <a:gd name="T31" fmla="*/ 72 h 179"/>
                    <a:gd name="T32" fmla="*/ 116 w 161"/>
                    <a:gd name="T33" fmla="*/ 76 h 179"/>
                    <a:gd name="T34" fmla="*/ 120 w 161"/>
                    <a:gd name="T35" fmla="*/ 80 h 179"/>
                    <a:gd name="T36" fmla="*/ 120 w 161"/>
                    <a:gd name="T37" fmla="*/ 89 h 179"/>
                    <a:gd name="T38" fmla="*/ 120 w 161"/>
                    <a:gd name="T39" fmla="*/ 98 h 179"/>
                    <a:gd name="T40" fmla="*/ 120 w 161"/>
                    <a:gd name="T41" fmla="*/ 98 h 179"/>
                    <a:gd name="T42" fmla="*/ 125 w 161"/>
                    <a:gd name="T43" fmla="*/ 94 h 179"/>
                    <a:gd name="T44" fmla="*/ 134 w 161"/>
                    <a:gd name="T45" fmla="*/ 98 h 179"/>
                    <a:gd name="T46" fmla="*/ 138 w 161"/>
                    <a:gd name="T47" fmla="*/ 98 h 179"/>
                    <a:gd name="T48" fmla="*/ 143 w 161"/>
                    <a:gd name="T49" fmla="*/ 94 h 179"/>
                    <a:gd name="T50" fmla="*/ 143 w 161"/>
                    <a:gd name="T51" fmla="*/ 85 h 179"/>
                    <a:gd name="T52" fmla="*/ 147 w 161"/>
                    <a:gd name="T53" fmla="*/ 85 h 179"/>
                    <a:gd name="T54" fmla="*/ 143 w 161"/>
                    <a:gd name="T55" fmla="*/ 76 h 179"/>
                    <a:gd name="T56" fmla="*/ 147 w 161"/>
                    <a:gd name="T57" fmla="*/ 67 h 179"/>
                    <a:gd name="T58" fmla="*/ 138 w 161"/>
                    <a:gd name="T59" fmla="*/ 54 h 179"/>
                    <a:gd name="T60" fmla="*/ 147 w 161"/>
                    <a:gd name="T61" fmla="*/ 49 h 179"/>
                    <a:gd name="T62" fmla="*/ 147 w 161"/>
                    <a:gd name="T63" fmla="*/ 40 h 179"/>
                    <a:gd name="T64" fmla="*/ 147 w 161"/>
                    <a:gd name="T65" fmla="*/ 36 h 179"/>
                    <a:gd name="T66" fmla="*/ 152 w 161"/>
                    <a:gd name="T67" fmla="*/ 22 h 179"/>
                    <a:gd name="T68" fmla="*/ 161 w 161"/>
                    <a:gd name="T69" fmla="*/ 13 h 179"/>
                    <a:gd name="T70" fmla="*/ 152 w 161"/>
                    <a:gd name="T71" fmla="*/ 9 h 179"/>
                    <a:gd name="T72" fmla="*/ 134 w 161"/>
                    <a:gd name="T73" fmla="*/ 9 h 179"/>
                    <a:gd name="T74" fmla="*/ 129 w 161"/>
                    <a:gd name="T75" fmla="*/ 0 h 179"/>
                    <a:gd name="T76" fmla="*/ 120 w 161"/>
                    <a:gd name="T77" fmla="*/ 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 h="179">
                      <a:moveTo>
                        <a:pt x="0" y="174"/>
                      </a:moveTo>
                      <a:lnTo>
                        <a:pt x="0" y="179"/>
                      </a:lnTo>
                      <a:lnTo>
                        <a:pt x="9" y="179"/>
                      </a:lnTo>
                      <a:lnTo>
                        <a:pt x="9" y="174"/>
                      </a:lnTo>
                      <a:lnTo>
                        <a:pt x="0" y="174"/>
                      </a:lnTo>
                      <a:close/>
                      <a:moveTo>
                        <a:pt x="120" y="4"/>
                      </a:moveTo>
                      <a:lnTo>
                        <a:pt x="120" y="13"/>
                      </a:lnTo>
                      <a:lnTo>
                        <a:pt x="120" y="27"/>
                      </a:lnTo>
                      <a:lnTo>
                        <a:pt x="120" y="31"/>
                      </a:lnTo>
                      <a:lnTo>
                        <a:pt x="120" y="31"/>
                      </a:lnTo>
                      <a:lnTo>
                        <a:pt x="120" y="40"/>
                      </a:lnTo>
                      <a:lnTo>
                        <a:pt x="116" y="54"/>
                      </a:lnTo>
                      <a:lnTo>
                        <a:pt x="112" y="58"/>
                      </a:lnTo>
                      <a:lnTo>
                        <a:pt x="112" y="67"/>
                      </a:lnTo>
                      <a:lnTo>
                        <a:pt x="116" y="72"/>
                      </a:lnTo>
                      <a:lnTo>
                        <a:pt x="116" y="72"/>
                      </a:lnTo>
                      <a:lnTo>
                        <a:pt x="116" y="76"/>
                      </a:lnTo>
                      <a:lnTo>
                        <a:pt x="120" y="80"/>
                      </a:lnTo>
                      <a:lnTo>
                        <a:pt x="120" y="89"/>
                      </a:lnTo>
                      <a:lnTo>
                        <a:pt x="120" y="98"/>
                      </a:lnTo>
                      <a:lnTo>
                        <a:pt x="120" y="98"/>
                      </a:lnTo>
                      <a:lnTo>
                        <a:pt x="125" y="94"/>
                      </a:lnTo>
                      <a:lnTo>
                        <a:pt x="134" y="98"/>
                      </a:lnTo>
                      <a:lnTo>
                        <a:pt x="138" y="98"/>
                      </a:lnTo>
                      <a:lnTo>
                        <a:pt x="143" y="94"/>
                      </a:lnTo>
                      <a:lnTo>
                        <a:pt x="143" y="85"/>
                      </a:lnTo>
                      <a:lnTo>
                        <a:pt x="147" y="85"/>
                      </a:lnTo>
                      <a:lnTo>
                        <a:pt x="143" y="76"/>
                      </a:lnTo>
                      <a:lnTo>
                        <a:pt x="147" y="67"/>
                      </a:lnTo>
                      <a:lnTo>
                        <a:pt x="138" y="54"/>
                      </a:lnTo>
                      <a:lnTo>
                        <a:pt x="147" y="49"/>
                      </a:lnTo>
                      <a:lnTo>
                        <a:pt x="147" y="40"/>
                      </a:lnTo>
                      <a:lnTo>
                        <a:pt x="147" y="36"/>
                      </a:lnTo>
                      <a:lnTo>
                        <a:pt x="152" y="22"/>
                      </a:lnTo>
                      <a:lnTo>
                        <a:pt x="161" y="13"/>
                      </a:lnTo>
                      <a:lnTo>
                        <a:pt x="152" y="9"/>
                      </a:lnTo>
                      <a:lnTo>
                        <a:pt x="134" y="9"/>
                      </a:lnTo>
                      <a:lnTo>
                        <a:pt x="129" y="0"/>
                      </a:lnTo>
                      <a:lnTo>
                        <a:pt x="120" y="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57" name="Freeform 197">
                  <a:extLst>
                    <a:ext uri="{FF2B5EF4-FFF2-40B4-BE49-F238E27FC236}">
                      <a16:creationId xmlns:a16="http://schemas.microsoft.com/office/drawing/2014/main" id="{591DA708-ED3D-47D2-9B11-FA08529FD5F0}"/>
                    </a:ext>
                  </a:extLst>
                </p:cNvPr>
                <p:cNvSpPr>
                  <a:spLocks/>
                </p:cNvSpPr>
                <p:nvPr/>
              </p:nvSpPr>
              <p:spPr bwMode="gray">
                <a:xfrm>
                  <a:off x="3018" y="1975"/>
                  <a:ext cx="129" cy="98"/>
                </a:xfrm>
                <a:custGeom>
                  <a:avLst/>
                  <a:gdLst>
                    <a:gd name="T0" fmla="*/ 0 w 129"/>
                    <a:gd name="T1" fmla="*/ 45 h 98"/>
                    <a:gd name="T2" fmla="*/ 4 w 129"/>
                    <a:gd name="T3" fmla="*/ 54 h 98"/>
                    <a:gd name="T4" fmla="*/ 4 w 129"/>
                    <a:gd name="T5" fmla="*/ 62 h 98"/>
                    <a:gd name="T6" fmla="*/ 13 w 129"/>
                    <a:gd name="T7" fmla="*/ 71 h 98"/>
                    <a:gd name="T8" fmla="*/ 22 w 129"/>
                    <a:gd name="T9" fmla="*/ 76 h 98"/>
                    <a:gd name="T10" fmla="*/ 27 w 129"/>
                    <a:gd name="T11" fmla="*/ 76 h 98"/>
                    <a:gd name="T12" fmla="*/ 27 w 129"/>
                    <a:gd name="T13" fmla="*/ 80 h 98"/>
                    <a:gd name="T14" fmla="*/ 31 w 129"/>
                    <a:gd name="T15" fmla="*/ 80 h 98"/>
                    <a:gd name="T16" fmla="*/ 36 w 129"/>
                    <a:gd name="T17" fmla="*/ 80 h 98"/>
                    <a:gd name="T18" fmla="*/ 36 w 129"/>
                    <a:gd name="T19" fmla="*/ 89 h 98"/>
                    <a:gd name="T20" fmla="*/ 49 w 129"/>
                    <a:gd name="T21" fmla="*/ 94 h 98"/>
                    <a:gd name="T22" fmla="*/ 62 w 129"/>
                    <a:gd name="T23" fmla="*/ 98 h 98"/>
                    <a:gd name="T24" fmla="*/ 76 w 129"/>
                    <a:gd name="T25" fmla="*/ 98 h 98"/>
                    <a:gd name="T26" fmla="*/ 85 w 129"/>
                    <a:gd name="T27" fmla="*/ 89 h 98"/>
                    <a:gd name="T28" fmla="*/ 98 w 129"/>
                    <a:gd name="T29" fmla="*/ 85 h 98"/>
                    <a:gd name="T30" fmla="*/ 116 w 129"/>
                    <a:gd name="T31" fmla="*/ 94 h 98"/>
                    <a:gd name="T32" fmla="*/ 116 w 129"/>
                    <a:gd name="T33" fmla="*/ 85 h 98"/>
                    <a:gd name="T34" fmla="*/ 120 w 129"/>
                    <a:gd name="T35" fmla="*/ 80 h 98"/>
                    <a:gd name="T36" fmla="*/ 120 w 129"/>
                    <a:gd name="T37" fmla="*/ 67 h 98"/>
                    <a:gd name="T38" fmla="*/ 120 w 129"/>
                    <a:gd name="T39" fmla="*/ 71 h 98"/>
                    <a:gd name="T40" fmla="*/ 129 w 129"/>
                    <a:gd name="T41" fmla="*/ 71 h 98"/>
                    <a:gd name="T42" fmla="*/ 129 w 129"/>
                    <a:gd name="T43" fmla="*/ 62 h 98"/>
                    <a:gd name="T44" fmla="*/ 125 w 129"/>
                    <a:gd name="T45" fmla="*/ 62 h 98"/>
                    <a:gd name="T46" fmla="*/ 116 w 129"/>
                    <a:gd name="T47" fmla="*/ 67 h 98"/>
                    <a:gd name="T48" fmla="*/ 112 w 129"/>
                    <a:gd name="T49" fmla="*/ 62 h 98"/>
                    <a:gd name="T50" fmla="*/ 107 w 129"/>
                    <a:gd name="T51" fmla="*/ 58 h 98"/>
                    <a:gd name="T52" fmla="*/ 112 w 129"/>
                    <a:gd name="T53" fmla="*/ 40 h 98"/>
                    <a:gd name="T54" fmla="*/ 107 w 129"/>
                    <a:gd name="T55" fmla="*/ 27 h 98"/>
                    <a:gd name="T56" fmla="*/ 103 w 129"/>
                    <a:gd name="T57" fmla="*/ 18 h 98"/>
                    <a:gd name="T58" fmla="*/ 89 w 129"/>
                    <a:gd name="T59" fmla="*/ 0 h 98"/>
                    <a:gd name="T60" fmla="*/ 67 w 129"/>
                    <a:gd name="T61" fmla="*/ 9 h 98"/>
                    <a:gd name="T62" fmla="*/ 40 w 129"/>
                    <a:gd name="T63" fmla="*/ 4 h 98"/>
                    <a:gd name="T64" fmla="*/ 36 w 129"/>
                    <a:gd name="T65" fmla="*/ 9 h 98"/>
                    <a:gd name="T66" fmla="*/ 36 w 129"/>
                    <a:gd name="T67" fmla="*/ 13 h 98"/>
                    <a:gd name="T68" fmla="*/ 22 w 129"/>
                    <a:gd name="T69" fmla="*/ 18 h 98"/>
                    <a:gd name="T70" fmla="*/ 13 w 129"/>
                    <a:gd name="T71" fmla="*/ 36 h 98"/>
                    <a:gd name="T72" fmla="*/ 13 w 129"/>
                    <a:gd name="T73" fmla="*/ 40 h 98"/>
                    <a:gd name="T74" fmla="*/ 4 w 129"/>
                    <a:gd name="T75" fmla="*/ 45 h 98"/>
                    <a:gd name="T76" fmla="*/ 0 w 129"/>
                    <a:gd name="T77" fmla="*/ 4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9" h="98">
                      <a:moveTo>
                        <a:pt x="0" y="45"/>
                      </a:moveTo>
                      <a:lnTo>
                        <a:pt x="4" y="54"/>
                      </a:lnTo>
                      <a:lnTo>
                        <a:pt x="4" y="62"/>
                      </a:lnTo>
                      <a:lnTo>
                        <a:pt x="13" y="71"/>
                      </a:lnTo>
                      <a:lnTo>
                        <a:pt x="22" y="76"/>
                      </a:lnTo>
                      <a:lnTo>
                        <a:pt x="27" y="76"/>
                      </a:lnTo>
                      <a:lnTo>
                        <a:pt x="27" y="80"/>
                      </a:lnTo>
                      <a:lnTo>
                        <a:pt x="31" y="80"/>
                      </a:lnTo>
                      <a:lnTo>
                        <a:pt x="36" y="80"/>
                      </a:lnTo>
                      <a:lnTo>
                        <a:pt x="36" y="89"/>
                      </a:lnTo>
                      <a:lnTo>
                        <a:pt x="49" y="94"/>
                      </a:lnTo>
                      <a:lnTo>
                        <a:pt x="62" y="98"/>
                      </a:lnTo>
                      <a:lnTo>
                        <a:pt x="76" y="98"/>
                      </a:lnTo>
                      <a:lnTo>
                        <a:pt x="85" y="89"/>
                      </a:lnTo>
                      <a:lnTo>
                        <a:pt x="98" y="85"/>
                      </a:lnTo>
                      <a:lnTo>
                        <a:pt x="116" y="94"/>
                      </a:lnTo>
                      <a:lnTo>
                        <a:pt x="116" y="85"/>
                      </a:lnTo>
                      <a:lnTo>
                        <a:pt x="120" y="80"/>
                      </a:lnTo>
                      <a:lnTo>
                        <a:pt x="120" y="67"/>
                      </a:lnTo>
                      <a:lnTo>
                        <a:pt x="120" y="71"/>
                      </a:lnTo>
                      <a:lnTo>
                        <a:pt x="129" y="71"/>
                      </a:lnTo>
                      <a:lnTo>
                        <a:pt x="129" y="62"/>
                      </a:lnTo>
                      <a:lnTo>
                        <a:pt x="125" y="62"/>
                      </a:lnTo>
                      <a:lnTo>
                        <a:pt x="116" y="67"/>
                      </a:lnTo>
                      <a:lnTo>
                        <a:pt x="112" y="62"/>
                      </a:lnTo>
                      <a:lnTo>
                        <a:pt x="107" y="58"/>
                      </a:lnTo>
                      <a:lnTo>
                        <a:pt x="112" y="40"/>
                      </a:lnTo>
                      <a:lnTo>
                        <a:pt x="107" y="27"/>
                      </a:lnTo>
                      <a:lnTo>
                        <a:pt x="103" y="18"/>
                      </a:lnTo>
                      <a:lnTo>
                        <a:pt x="89" y="0"/>
                      </a:lnTo>
                      <a:lnTo>
                        <a:pt x="67" y="9"/>
                      </a:lnTo>
                      <a:lnTo>
                        <a:pt x="40" y="4"/>
                      </a:lnTo>
                      <a:lnTo>
                        <a:pt x="36" y="9"/>
                      </a:lnTo>
                      <a:lnTo>
                        <a:pt x="36" y="13"/>
                      </a:lnTo>
                      <a:lnTo>
                        <a:pt x="22" y="18"/>
                      </a:lnTo>
                      <a:lnTo>
                        <a:pt x="13" y="36"/>
                      </a:lnTo>
                      <a:lnTo>
                        <a:pt x="13" y="40"/>
                      </a:lnTo>
                      <a:lnTo>
                        <a:pt x="4" y="45"/>
                      </a:lnTo>
                      <a:lnTo>
                        <a:pt x="0" y="4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58" name="Freeform 198">
                  <a:extLst>
                    <a:ext uri="{FF2B5EF4-FFF2-40B4-BE49-F238E27FC236}">
                      <a16:creationId xmlns:a16="http://schemas.microsoft.com/office/drawing/2014/main" id="{6C96695F-430A-4E98-BD99-9594739FFE18}"/>
                    </a:ext>
                  </a:extLst>
                </p:cNvPr>
                <p:cNvSpPr>
                  <a:spLocks/>
                </p:cNvSpPr>
                <p:nvPr/>
              </p:nvSpPr>
              <p:spPr bwMode="gray">
                <a:xfrm>
                  <a:off x="2964" y="1948"/>
                  <a:ext cx="85" cy="31"/>
                </a:xfrm>
                <a:custGeom>
                  <a:avLst/>
                  <a:gdLst>
                    <a:gd name="T0" fmla="*/ 0 w 85"/>
                    <a:gd name="T1" fmla="*/ 22 h 31"/>
                    <a:gd name="T2" fmla="*/ 5 w 85"/>
                    <a:gd name="T3" fmla="*/ 18 h 31"/>
                    <a:gd name="T4" fmla="*/ 14 w 85"/>
                    <a:gd name="T5" fmla="*/ 18 h 31"/>
                    <a:gd name="T6" fmla="*/ 18 w 85"/>
                    <a:gd name="T7" fmla="*/ 13 h 31"/>
                    <a:gd name="T8" fmla="*/ 23 w 85"/>
                    <a:gd name="T9" fmla="*/ 5 h 31"/>
                    <a:gd name="T10" fmla="*/ 27 w 85"/>
                    <a:gd name="T11" fmla="*/ 0 h 31"/>
                    <a:gd name="T12" fmla="*/ 32 w 85"/>
                    <a:gd name="T13" fmla="*/ 5 h 31"/>
                    <a:gd name="T14" fmla="*/ 40 w 85"/>
                    <a:gd name="T15" fmla="*/ 0 h 31"/>
                    <a:gd name="T16" fmla="*/ 49 w 85"/>
                    <a:gd name="T17" fmla="*/ 9 h 31"/>
                    <a:gd name="T18" fmla="*/ 54 w 85"/>
                    <a:gd name="T19" fmla="*/ 0 h 31"/>
                    <a:gd name="T20" fmla="*/ 58 w 85"/>
                    <a:gd name="T21" fmla="*/ 5 h 31"/>
                    <a:gd name="T22" fmla="*/ 72 w 85"/>
                    <a:gd name="T23" fmla="*/ 0 h 31"/>
                    <a:gd name="T24" fmla="*/ 85 w 85"/>
                    <a:gd name="T25" fmla="*/ 9 h 31"/>
                    <a:gd name="T26" fmla="*/ 81 w 85"/>
                    <a:gd name="T27" fmla="*/ 22 h 31"/>
                    <a:gd name="T28" fmla="*/ 72 w 85"/>
                    <a:gd name="T29" fmla="*/ 22 h 31"/>
                    <a:gd name="T30" fmla="*/ 67 w 85"/>
                    <a:gd name="T31" fmla="*/ 18 h 31"/>
                    <a:gd name="T32" fmla="*/ 63 w 85"/>
                    <a:gd name="T33" fmla="*/ 22 h 31"/>
                    <a:gd name="T34" fmla="*/ 54 w 85"/>
                    <a:gd name="T35" fmla="*/ 18 h 31"/>
                    <a:gd name="T36" fmla="*/ 45 w 85"/>
                    <a:gd name="T37" fmla="*/ 27 h 31"/>
                    <a:gd name="T38" fmla="*/ 36 w 85"/>
                    <a:gd name="T39" fmla="*/ 27 h 31"/>
                    <a:gd name="T40" fmla="*/ 32 w 85"/>
                    <a:gd name="T41" fmla="*/ 31 h 31"/>
                    <a:gd name="T42" fmla="*/ 14 w 85"/>
                    <a:gd name="T43" fmla="*/ 31 h 31"/>
                    <a:gd name="T44" fmla="*/ 9 w 85"/>
                    <a:gd name="T45" fmla="*/ 27 h 31"/>
                    <a:gd name="T46" fmla="*/ 9 w 85"/>
                    <a:gd name="T47" fmla="*/ 22 h 31"/>
                    <a:gd name="T48" fmla="*/ 5 w 85"/>
                    <a:gd name="T49" fmla="*/ 22 h 31"/>
                    <a:gd name="T50" fmla="*/ 0 w 85"/>
                    <a:gd name="T51"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5" h="31">
                      <a:moveTo>
                        <a:pt x="0" y="22"/>
                      </a:moveTo>
                      <a:lnTo>
                        <a:pt x="5" y="18"/>
                      </a:lnTo>
                      <a:lnTo>
                        <a:pt x="14" y="18"/>
                      </a:lnTo>
                      <a:lnTo>
                        <a:pt x="18" y="13"/>
                      </a:lnTo>
                      <a:lnTo>
                        <a:pt x="23" y="5"/>
                      </a:lnTo>
                      <a:lnTo>
                        <a:pt x="27" y="0"/>
                      </a:lnTo>
                      <a:lnTo>
                        <a:pt x="32" y="5"/>
                      </a:lnTo>
                      <a:lnTo>
                        <a:pt x="40" y="0"/>
                      </a:lnTo>
                      <a:lnTo>
                        <a:pt x="49" y="9"/>
                      </a:lnTo>
                      <a:lnTo>
                        <a:pt x="54" y="0"/>
                      </a:lnTo>
                      <a:lnTo>
                        <a:pt x="58" y="5"/>
                      </a:lnTo>
                      <a:lnTo>
                        <a:pt x="72" y="0"/>
                      </a:lnTo>
                      <a:lnTo>
                        <a:pt x="85" y="9"/>
                      </a:lnTo>
                      <a:lnTo>
                        <a:pt x="81" y="22"/>
                      </a:lnTo>
                      <a:lnTo>
                        <a:pt x="72" y="22"/>
                      </a:lnTo>
                      <a:lnTo>
                        <a:pt x="67" y="18"/>
                      </a:lnTo>
                      <a:lnTo>
                        <a:pt x="63" y="22"/>
                      </a:lnTo>
                      <a:lnTo>
                        <a:pt x="54" y="18"/>
                      </a:lnTo>
                      <a:lnTo>
                        <a:pt x="45" y="27"/>
                      </a:lnTo>
                      <a:lnTo>
                        <a:pt x="36" y="27"/>
                      </a:lnTo>
                      <a:lnTo>
                        <a:pt x="32" y="31"/>
                      </a:lnTo>
                      <a:lnTo>
                        <a:pt x="14" y="31"/>
                      </a:lnTo>
                      <a:lnTo>
                        <a:pt x="9" y="27"/>
                      </a:lnTo>
                      <a:lnTo>
                        <a:pt x="9" y="22"/>
                      </a:lnTo>
                      <a:lnTo>
                        <a:pt x="5" y="22"/>
                      </a:lnTo>
                      <a:lnTo>
                        <a:pt x="0" y="2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59" name="Freeform 199">
                  <a:extLst>
                    <a:ext uri="{FF2B5EF4-FFF2-40B4-BE49-F238E27FC236}">
                      <a16:creationId xmlns:a16="http://schemas.microsoft.com/office/drawing/2014/main" id="{DFD3441D-251E-4D2A-B80F-668C33FB4C6B}"/>
                    </a:ext>
                  </a:extLst>
                </p:cNvPr>
                <p:cNvSpPr>
                  <a:spLocks/>
                </p:cNvSpPr>
                <p:nvPr/>
              </p:nvSpPr>
              <p:spPr bwMode="gray">
                <a:xfrm>
                  <a:off x="2915" y="2006"/>
                  <a:ext cx="45" cy="27"/>
                </a:xfrm>
                <a:custGeom>
                  <a:avLst/>
                  <a:gdLst>
                    <a:gd name="T0" fmla="*/ 5 w 45"/>
                    <a:gd name="T1" fmla="*/ 27 h 27"/>
                    <a:gd name="T2" fmla="*/ 5 w 45"/>
                    <a:gd name="T3" fmla="*/ 27 h 27"/>
                    <a:gd name="T4" fmla="*/ 5 w 45"/>
                    <a:gd name="T5" fmla="*/ 27 h 27"/>
                    <a:gd name="T6" fmla="*/ 14 w 45"/>
                    <a:gd name="T7" fmla="*/ 27 h 27"/>
                    <a:gd name="T8" fmla="*/ 14 w 45"/>
                    <a:gd name="T9" fmla="*/ 27 h 27"/>
                    <a:gd name="T10" fmla="*/ 18 w 45"/>
                    <a:gd name="T11" fmla="*/ 23 h 27"/>
                    <a:gd name="T12" fmla="*/ 22 w 45"/>
                    <a:gd name="T13" fmla="*/ 27 h 27"/>
                    <a:gd name="T14" fmla="*/ 27 w 45"/>
                    <a:gd name="T15" fmla="*/ 27 h 27"/>
                    <a:gd name="T16" fmla="*/ 27 w 45"/>
                    <a:gd name="T17" fmla="*/ 27 h 27"/>
                    <a:gd name="T18" fmla="*/ 27 w 45"/>
                    <a:gd name="T19" fmla="*/ 23 h 27"/>
                    <a:gd name="T20" fmla="*/ 31 w 45"/>
                    <a:gd name="T21" fmla="*/ 18 h 27"/>
                    <a:gd name="T22" fmla="*/ 31 w 45"/>
                    <a:gd name="T23" fmla="*/ 18 h 27"/>
                    <a:gd name="T24" fmla="*/ 31 w 45"/>
                    <a:gd name="T25" fmla="*/ 14 h 27"/>
                    <a:gd name="T26" fmla="*/ 31 w 45"/>
                    <a:gd name="T27" fmla="*/ 14 h 27"/>
                    <a:gd name="T28" fmla="*/ 36 w 45"/>
                    <a:gd name="T29" fmla="*/ 14 h 27"/>
                    <a:gd name="T30" fmla="*/ 36 w 45"/>
                    <a:gd name="T31" fmla="*/ 9 h 27"/>
                    <a:gd name="T32" fmla="*/ 40 w 45"/>
                    <a:gd name="T33" fmla="*/ 9 h 27"/>
                    <a:gd name="T34" fmla="*/ 40 w 45"/>
                    <a:gd name="T35" fmla="*/ 9 h 27"/>
                    <a:gd name="T36" fmla="*/ 40 w 45"/>
                    <a:gd name="T37" fmla="*/ 5 h 27"/>
                    <a:gd name="T38" fmla="*/ 45 w 45"/>
                    <a:gd name="T39" fmla="*/ 9 h 27"/>
                    <a:gd name="T40" fmla="*/ 45 w 45"/>
                    <a:gd name="T41" fmla="*/ 9 h 27"/>
                    <a:gd name="T42" fmla="*/ 40 w 45"/>
                    <a:gd name="T43" fmla="*/ 0 h 27"/>
                    <a:gd name="T44" fmla="*/ 27 w 45"/>
                    <a:gd name="T45" fmla="*/ 5 h 27"/>
                    <a:gd name="T46" fmla="*/ 18 w 45"/>
                    <a:gd name="T47" fmla="*/ 9 h 27"/>
                    <a:gd name="T48" fmla="*/ 5 w 45"/>
                    <a:gd name="T49" fmla="*/ 9 h 27"/>
                    <a:gd name="T50" fmla="*/ 0 w 45"/>
                    <a:gd name="T51" fmla="*/ 9 h 27"/>
                    <a:gd name="T52" fmla="*/ 5 w 45"/>
                    <a:gd name="T53" fmla="*/ 14 h 27"/>
                    <a:gd name="T54" fmla="*/ 5 w 45"/>
                    <a:gd name="T55" fmla="*/ 18 h 27"/>
                    <a:gd name="T56" fmla="*/ 9 w 45"/>
                    <a:gd name="T57" fmla="*/ 27 h 27"/>
                    <a:gd name="T58" fmla="*/ 5 w 45"/>
                    <a:gd name="T5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5" h="27">
                      <a:moveTo>
                        <a:pt x="5" y="27"/>
                      </a:moveTo>
                      <a:lnTo>
                        <a:pt x="5" y="27"/>
                      </a:lnTo>
                      <a:lnTo>
                        <a:pt x="5" y="27"/>
                      </a:lnTo>
                      <a:lnTo>
                        <a:pt x="14" y="27"/>
                      </a:lnTo>
                      <a:lnTo>
                        <a:pt x="14" y="27"/>
                      </a:lnTo>
                      <a:lnTo>
                        <a:pt x="18" y="23"/>
                      </a:lnTo>
                      <a:lnTo>
                        <a:pt x="22" y="27"/>
                      </a:lnTo>
                      <a:lnTo>
                        <a:pt x="27" y="27"/>
                      </a:lnTo>
                      <a:lnTo>
                        <a:pt x="27" y="27"/>
                      </a:lnTo>
                      <a:lnTo>
                        <a:pt x="27" y="23"/>
                      </a:lnTo>
                      <a:lnTo>
                        <a:pt x="31" y="18"/>
                      </a:lnTo>
                      <a:lnTo>
                        <a:pt x="31" y="18"/>
                      </a:lnTo>
                      <a:lnTo>
                        <a:pt x="31" y="14"/>
                      </a:lnTo>
                      <a:lnTo>
                        <a:pt x="31" y="14"/>
                      </a:lnTo>
                      <a:lnTo>
                        <a:pt x="36" y="14"/>
                      </a:lnTo>
                      <a:lnTo>
                        <a:pt x="36" y="9"/>
                      </a:lnTo>
                      <a:lnTo>
                        <a:pt x="40" y="9"/>
                      </a:lnTo>
                      <a:lnTo>
                        <a:pt x="40" y="9"/>
                      </a:lnTo>
                      <a:lnTo>
                        <a:pt x="40" y="5"/>
                      </a:lnTo>
                      <a:lnTo>
                        <a:pt x="45" y="9"/>
                      </a:lnTo>
                      <a:lnTo>
                        <a:pt x="45" y="9"/>
                      </a:lnTo>
                      <a:lnTo>
                        <a:pt x="40" y="0"/>
                      </a:lnTo>
                      <a:lnTo>
                        <a:pt x="27" y="5"/>
                      </a:lnTo>
                      <a:lnTo>
                        <a:pt x="18" y="9"/>
                      </a:lnTo>
                      <a:lnTo>
                        <a:pt x="5" y="9"/>
                      </a:lnTo>
                      <a:lnTo>
                        <a:pt x="0" y="9"/>
                      </a:lnTo>
                      <a:lnTo>
                        <a:pt x="5" y="14"/>
                      </a:lnTo>
                      <a:lnTo>
                        <a:pt x="5" y="18"/>
                      </a:lnTo>
                      <a:lnTo>
                        <a:pt x="9" y="27"/>
                      </a:lnTo>
                      <a:lnTo>
                        <a:pt x="5" y="27"/>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60" name="Freeform 200">
                  <a:extLst>
                    <a:ext uri="{FF2B5EF4-FFF2-40B4-BE49-F238E27FC236}">
                      <a16:creationId xmlns:a16="http://schemas.microsoft.com/office/drawing/2014/main" id="{937DAD39-C2EC-415F-8700-4C0783346FCF}"/>
                    </a:ext>
                  </a:extLst>
                </p:cNvPr>
                <p:cNvSpPr>
                  <a:spLocks noEditPoints="1"/>
                </p:cNvSpPr>
                <p:nvPr/>
              </p:nvSpPr>
              <p:spPr bwMode="gray">
                <a:xfrm>
                  <a:off x="2884" y="1367"/>
                  <a:ext cx="187" cy="438"/>
                </a:xfrm>
                <a:custGeom>
                  <a:avLst/>
                  <a:gdLst>
                    <a:gd name="T0" fmla="*/ 0 w 187"/>
                    <a:gd name="T1" fmla="*/ 340 h 438"/>
                    <a:gd name="T2" fmla="*/ 9 w 187"/>
                    <a:gd name="T3" fmla="*/ 358 h 438"/>
                    <a:gd name="T4" fmla="*/ 13 w 187"/>
                    <a:gd name="T5" fmla="*/ 358 h 438"/>
                    <a:gd name="T6" fmla="*/ 9 w 187"/>
                    <a:gd name="T7" fmla="*/ 371 h 438"/>
                    <a:gd name="T8" fmla="*/ 13 w 187"/>
                    <a:gd name="T9" fmla="*/ 384 h 438"/>
                    <a:gd name="T10" fmla="*/ 27 w 187"/>
                    <a:gd name="T11" fmla="*/ 402 h 438"/>
                    <a:gd name="T12" fmla="*/ 22 w 187"/>
                    <a:gd name="T13" fmla="*/ 411 h 438"/>
                    <a:gd name="T14" fmla="*/ 22 w 187"/>
                    <a:gd name="T15" fmla="*/ 429 h 438"/>
                    <a:gd name="T16" fmla="*/ 31 w 187"/>
                    <a:gd name="T17" fmla="*/ 438 h 438"/>
                    <a:gd name="T18" fmla="*/ 45 w 187"/>
                    <a:gd name="T19" fmla="*/ 434 h 438"/>
                    <a:gd name="T20" fmla="*/ 45 w 187"/>
                    <a:gd name="T21" fmla="*/ 420 h 438"/>
                    <a:gd name="T22" fmla="*/ 53 w 187"/>
                    <a:gd name="T23" fmla="*/ 416 h 438"/>
                    <a:gd name="T24" fmla="*/ 76 w 187"/>
                    <a:gd name="T25" fmla="*/ 407 h 438"/>
                    <a:gd name="T26" fmla="*/ 85 w 187"/>
                    <a:gd name="T27" fmla="*/ 358 h 438"/>
                    <a:gd name="T28" fmla="*/ 112 w 187"/>
                    <a:gd name="T29" fmla="*/ 340 h 438"/>
                    <a:gd name="T30" fmla="*/ 116 w 187"/>
                    <a:gd name="T31" fmla="*/ 317 h 438"/>
                    <a:gd name="T32" fmla="*/ 98 w 187"/>
                    <a:gd name="T33" fmla="*/ 295 h 438"/>
                    <a:gd name="T34" fmla="*/ 94 w 187"/>
                    <a:gd name="T35" fmla="*/ 282 h 438"/>
                    <a:gd name="T36" fmla="*/ 98 w 187"/>
                    <a:gd name="T37" fmla="*/ 259 h 438"/>
                    <a:gd name="T38" fmla="*/ 98 w 187"/>
                    <a:gd name="T39" fmla="*/ 241 h 438"/>
                    <a:gd name="T40" fmla="*/ 98 w 187"/>
                    <a:gd name="T41" fmla="*/ 233 h 438"/>
                    <a:gd name="T42" fmla="*/ 103 w 187"/>
                    <a:gd name="T43" fmla="*/ 224 h 438"/>
                    <a:gd name="T44" fmla="*/ 103 w 187"/>
                    <a:gd name="T45" fmla="*/ 215 h 438"/>
                    <a:gd name="T46" fmla="*/ 116 w 187"/>
                    <a:gd name="T47" fmla="*/ 210 h 438"/>
                    <a:gd name="T48" fmla="*/ 125 w 187"/>
                    <a:gd name="T49" fmla="*/ 201 h 438"/>
                    <a:gd name="T50" fmla="*/ 138 w 187"/>
                    <a:gd name="T51" fmla="*/ 188 h 438"/>
                    <a:gd name="T52" fmla="*/ 143 w 187"/>
                    <a:gd name="T53" fmla="*/ 165 h 438"/>
                    <a:gd name="T54" fmla="*/ 161 w 187"/>
                    <a:gd name="T55" fmla="*/ 139 h 438"/>
                    <a:gd name="T56" fmla="*/ 165 w 187"/>
                    <a:gd name="T57" fmla="*/ 125 h 438"/>
                    <a:gd name="T58" fmla="*/ 174 w 187"/>
                    <a:gd name="T59" fmla="*/ 125 h 438"/>
                    <a:gd name="T60" fmla="*/ 183 w 187"/>
                    <a:gd name="T61" fmla="*/ 112 h 438"/>
                    <a:gd name="T62" fmla="*/ 187 w 187"/>
                    <a:gd name="T63" fmla="*/ 81 h 438"/>
                    <a:gd name="T64" fmla="*/ 179 w 187"/>
                    <a:gd name="T65" fmla="*/ 36 h 438"/>
                    <a:gd name="T66" fmla="*/ 152 w 187"/>
                    <a:gd name="T67" fmla="*/ 14 h 438"/>
                    <a:gd name="T68" fmla="*/ 129 w 187"/>
                    <a:gd name="T69" fmla="*/ 0 h 438"/>
                    <a:gd name="T70" fmla="*/ 125 w 187"/>
                    <a:gd name="T71" fmla="*/ 22 h 438"/>
                    <a:gd name="T72" fmla="*/ 98 w 187"/>
                    <a:gd name="T73" fmla="*/ 22 h 438"/>
                    <a:gd name="T74" fmla="*/ 98 w 187"/>
                    <a:gd name="T75" fmla="*/ 40 h 438"/>
                    <a:gd name="T76" fmla="*/ 80 w 187"/>
                    <a:gd name="T77" fmla="*/ 49 h 438"/>
                    <a:gd name="T78" fmla="*/ 80 w 187"/>
                    <a:gd name="T79" fmla="*/ 81 h 438"/>
                    <a:gd name="T80" fmla="*/ 62 w 187"/>
                    <a:gd name="T81" fmla="*/ 112 h 438"/>
                    <a:gd name="T82" fmla="*/ 53 w 187"/>
                    <a:gd name="T83" fmla="*/ 116 h 438"/>
                    <a:gd name="T84" fmla="*/ 49 w 187"/>
                    <a:gd name="T85" fmla="*/ 139 h 438"/>
                    <a:gd name="T86" fmla="*/ 45 w 187"/>
                    <a:gd name="T87" fmla="*/ 179 h 438"/>
                    <a:gd name="T88" fmla="*/ 27 w 187"/>
                    <a:gd name="T89" fmla="*/ 179 h 438"/>
                    <a:gd name="T90" fmla="*/ 13 w 187"/>
                    <a:gd name="T91" fmla="*/ 201 h 438"/>
                    <a:gd name="T92" fmla="*/ 13 w 187"/>
                    <a:gd name="T93" fmla="*/ 210 h 438"/>
                    <a:gd name="T94" fmla="*/ 27 w 187"/>
                    <a:gd name="T95" fmla="*/ 273 h 438"/>
                    <a:gd name="T96" fmla="*/ 22 w 187"/>
                    <a:gd name="T97" fmla="*/ 313 h 438"/>
                    <a:gd name="T98" fmla="*/ 13 w 187"/>
                    <a:gd name="T99" fmla="*/ 331 h 438"/>
                    <a:gd name="T100" fmla="*/ 4 w 187"/>
                    <a:gd name="T101" fmla="*/ 340 h 438"/>
                    <a:gd name="T102" fmla="*/ 80 w 187"/>
                    <a:gd name="T103" fmla="*/ 402 h 438"/>
                    <a:gd name="T104" fmla="*/ 80 w 187"/>
                    <a:gd name="T105" fmla="*/ 411 h 438"/>
                    <a:gd name="T106" fmla="*/ 89 w 187"/>
                    <a:gd name="T107" fmla="*/ 384 h 438"/>
                    <a:gd name="T108" fmla="*/ 120 w 187"/>
                    <a:gd name="T109" fmla="*/ 371 h 438"/>
                    <a:gd name="T110" fmla="*/ 112 w 187"/>
                    <a:gd name="T111" fmla="*/ 371 h 438"/>
                    <a:gd name="T112" fmla="*/ 103 w 187"/>
                    <a:gd name="T113" fmla="*/ 376 h 438"/>
                    <a:gd name="T114" fmla="*/ 107 w 187"/>
                    <a:gd name="T115" fmla="*/ 393 h 438"/>
                    <a:gd name="T116" fmla="*/ 112 w 187"/>
                    <a:gd name="T117" fmla="*/ 380 h 438"/>
                    <a:gd name="T118" fmla="*/ 120 w 187"/>
                    <a:gd name="T119" fmla="*/ 371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7" h="438">
                      <a:moveTo>
                        <a:pt x="4" y="340"/>
                      </a:moveTo>
                      <a:lnTo>
                        <a:pt x="0" y="340"/>
                      </a:lnTo>
                      <a:lnTo>
                        <a:pt x="0" y="358"/>
                      </a:lnTo>
                      <a:lnTo>
                        <a:pt x="9" y="358"/>
                      </a:lnTo>
                      <a:lnTo>
                        <a:pt x="9" y="353"/>
                      </a:lnTo>
                      <a:lnTo>
                        <a:pt x="13" y="358"/>
                      </a:lnTo>
                      <a:lnTo>
                        <a:pt x="9" y="367"/>
                      </a:lnTo>
                      <a:lnTo>
                        <a:pt x="9" y="371"/>
                      </a:lnTo>
                      <a:lnTo>
                        <a:pt x="9" y="384"/>
                      </a:lnTo>
                      <a:lnTo>
                        <a:pt x="13" y="384"/>
                      </a:lnTo>
                      <a:lnTo>
                        <a:pt x="18" y="398"/>
                      </a:lnTo>
                      <a:lnTo>
                        <a:pt x="27" y="402"/>
                      </a:lnTo>
                      <a:lnTo>
                        <a:pt x="18" y="411"/>
                      </a:lnTo>
                      <a:lnTo>
                        <a:pt x="22" y="411"/>
                      </a:lnTo>
                      <a:lnTo>
                        <a:pt x="18" y="411"/>
                      </a:lnTo>
                      <a:lnTo>
                        <a:pt x="22" y="429"/>
                      </a:lnTo>
                      <a:lnTo>
                        <a:pt x="22" y="434"/>
                      </a:lnTo>
                      <a:lnTo>
                        <a:pt x="31" y="438"/>
                      </a:lnTo>
                      <a:lnTo>
                        <a:pt x="45" y="438"/>
                      </a:lnTo>
                      <a:lnTo>
                        <a:pt x="45" y="434"/>
                      </a:lnTo>
                      <a:lnTo>
                        <a:pt x="45" y="429"/>
                      </a:lnTo>
                      <a:lnTo>
                        <a:pt x="45" y="420"/>
                      </a:lnTo>
                      <a:lnTo>
                        <a:pt x="53" y="420"/>
                      </a:lnTo>
                      <a:lnTo>
                        <a:pt x="53" y="416"/>
                      </a:lnTo>
                      <a:lnTo>
                        <a:pt x="71" y="416"/>
                      </a:lnTo>
                      <a:lnTo>
                        <a:pt x="76" y="407"/>
                      </a:lnTo>
                      <a:lnTo>
                        <a:pt x="80" y="380"/>
                      </a:lnTo>
                      <a:lnTo>
                        <a:pt x="85" y="358"/>
                      </a:lnTo>
                      <a:lnTo>
                        <a:pt x="94" y="344"/>
                      </a:lnTo>
                      <a:lnTo>
                        <a:pt x="112" y="340"/>
                      </a:lnTo>
                      <a:lnTo>
                        <a:pt x="107" y="331"/>
                      </a:lnTo>
                      <a:lnTo>
                        <a:pt x="116" y="317"/>
                      </a:lnTo>
                      <a:lnTo>
                        <a:pt x="112" y="308"/>
                      </a:lnTo>
                      <a:lnTo>
                        <a:pt x="98" y="295"/>
                      </a:lnTo>
                      <a:lnTo>
                        <a:pt x="94" y="291"/>
                      </a:lnTo>
                      <a:lnTo>
                        <a:pt x="94" y="282"/>
                      </a:lnTo>
                      <a:lnTo>
                        <a:pt x="94" y="259"/>
                      </a:lnTo>
                      <a:lnTo>
                        <a:pt x="98" y="259"/>
                      </a:lnTo>
                      <a:lnTo>
                        <a:pt x="94" y="255"/>
                      </a:lnTo>
                      <a:lnTo>
                        <a:pt x="98" y="241"/>
                      </a:lnTo>
                      <a:lnTo>
                        <a:pt x="94" y="237"/>
                      </a:lnTo>
                      <a:lnTo>
                        <a:pt x="98" y="233"/>
                      </a:lnTo>
                      <a:lnTo>
                        <a:pt x="98" y="224"/>
                      </a:lnTo>
                      <a:lnTo>
                        <a:pt x="103" y="224"/>
                      </a:lnTo>
                      <a:lnTo>
                        <a:pt x="107" y="219"/>
                      </a:lnTo>
                      <a:lnTo>
                        <a:pt x="103" y="215"/>
                      </a:lnTo>
                      <a:lnTo>
                        <a:pt x="112" y="206"/>
                      </a:lnTo>
                      <a:lnTo>
                        <a:pt x="116" y="210"/>
                      </a:lnTo>
                      <a:lnTo>
                        <a:pt x="125" y="197"/>
                      </a:lnTo>
                      <a:lnTo>
                        <a:pt x="125" y="201"/>
                      </a:lnTo>
                      <a:lnTo>
                        <a:pt x="129" y="192"/>
                      </a:lnTo>
                      <a:lnTo>
                        <a:pt x="138" y="188"/>
                      </a:lnTo>
                      <a:lnTo>
                        <a:pt x="152" y="174"/>
                      </a:lnTo>
                      <a:lnTo>
                        <a:pt x="143" y="165"/>
                      </a:lnTo>
                      <a:lnTo>
                        <a:pt x="152" y="148"/>
                      </a:lnTo>
                      <a:lnTo>
                        <a:pt x="161" y="139"/>
                      </a:lnTo>
                      <a:lnTo>
                        <a:pt x="161" y="130"/>
                      </a:lnTo>
                      <a:lnTo>
                        <a:pt x="165" y="125"/>
                      </a:lnTo>
                      <a:lnTo>
                        <a:pt x="165" y="121"/>
                      </a:lnTo>
                      <a:lnTo>
                        <a:pt x="174" y="125"/>
                      </a:lnTo>
                      <a:lnTo>
                        <a:pt x="187" y="125"/>
                      </a:lnTo>
                      <a:lnTo>
                        <a:pt x="183" y="112"/>
                      </a:lnTo>
                      <a:lnTo>
                        <a:pt x="183" y="98"/>
                      </a:lnTo>
                      <a:lnTo>
                        <a:pt x="187" y="81"/>
                      </a:lnTo>
                      <a:lnTo>
                        <a:pt x="183" y="58"/>
                      </a:lnTo>
                      <a:lnTo>
                        <a:pt x="179" y="36"/>
                      </a:lnTo>
                      <a:lnTo>
                        <a:pt x="174" y="22"/>
                      </a:lnTo>
                      <a:lnTo>
                        <a:pt x="152" y="14"/>
                      </a:lnTo>
                      <a:lnTo>
                        <a:pt x="138" y="0"/>
                      </a:lnTo>
                      <a:lnTo>
                        <a:pt x="129" y="0"/>
                      </a:lnTo>
                      <a:lnTo>
                        <a:pt x="125" y="9"/>
                      </a:lnTo>
                      <a:lnTo>
                        <a:pt x="125" y="22"/>
                      </a:lnTo>
                      <a:lnTo>
                        <a:pt x="103" y="18"/>
                      </a:lnTo>
                      <a:lnTo>
                        <a:pt x="98" y="22"/>
                      </a:lnTo>
                      <a:lnTo>
                        <a:pt x="103" y="36"/>
                      </a:lnTo>
                      <a:lnTo>
                        <a:pt x="98" y="40"/>
                      </a:lnTo>
                      <a:lnTo>
                        <a:pt x="89" y="36"/>
                      </a:lnTo>
                      <a:lnTo>
                        <a:pt x="80" y="49"/>
                      </a:lnTo>
                      <a:lnTo>
                        <a:pt x="76" y="63"/>
                      </a:lnTo>
                      <a:lnTo>
                        <a:pt x="80" y="81"/>
                      </a:lnTo>
                      <a:lnTo>
                        <a:pt x="58" y="103"/>
                      </a:lnTo>
                      <a:lnTo>
                        <a:pt x="62" y="112"/>
                      </a:lnTo>
                      <a:lnTo>
                        <a:pt x="58" y="121"/>
                      </a:lnTo>
                      <a:lnTo>
                        <a:pt x="53" y="116"/>
                      </a:lnTo>
                      <a:lnTo>
                        <a:pt x="49" y="121"/>
                      </a:lnTo>
                      <a:lnTo>
                        <a:pt x="49" y="139"/>
                      </a:lnTo>
                      <a:lnTo>
                        <a:pt x="40" y="165"/>
                      </a:lnTo>
                      <a:lnTo>
                        <a:pt x="45" y="179"/>
                      </a:lnTo>
                      <a:lnTo>
                        <a:pt x="36" y="183"/>
                      </a:lnTo>
                      <a:lnTo>
                        <a:pt x="27" y="179"/>
                      </a:lnTo>
                      <a:lnTo>
                        <a:pt x="18" y="183"/>
                      </a:lnTo>
                      <a:lnTo>
                        <a:pt x="13" y="201"/>
                      </a:lnTo>
                      <a:lnTo>
                        <a:pt x="18" y="206"/>
                      </a:lnTo>
                      <a:lnTo>
                        <a:pt x="13" y="210"/>
                      </a:lnTo>
                      <a:lnTo>
                        <a:pt x="13" y="255"/>
                      </a:lnTo>
                      <a:lnTo>
                        <a:pt x="27" y="273"/>
                      </a:lnTo>
                      <a:lnTo>
                        <a:pt x="18" y="286"/>
                      </a:lnTo>
                      <a:lnTo>
                        <a:pt x="22" y="313"/>
                      </a:lnTo>
                      <a:lnTo>
                        <a:pt x="13" y="322"/>
                      </a:lnTo>
                      <a:lnTo>
                        <a:pt x="13" y="331"/>
                      </a:lnTo>
                      <a:lnTo>
                        <a:pt x="13" y="344"/>
                      </a:lnTo>
                      <a:lnTo>
                        <a:pt x="4" y="340"/>
                      </a:lnTo>
                      <a:close/>
                      <a:moveTo>
                        <a:pt x="85" y="384"/>
                      </a:moveTo>
                      <a:lnTo>
                        <a:pt x="80" y="402"/>
                      </a:lnTo>
                      <a:lnTo>
                        <a:pt x="80" y="416"/>
                      </a:lnTo>
                      <a:lnTo>
                        <a:pt x="80" y="411"/>
                      </a:lnTo>
                      <a:lnTo>
                        <a:pt x="80" y="407"/>
                      </a:lnTo>
                      <a:lnTo>
                        <a:pt x="89" y="384"/>
                      </a:lnTo>
                      <a:lnTo>
                        <a:pt x="85" y="384"/>
                      </a:lnTo>
                      <a:close/>
                      <a:moveTo>
                        <a:pt x="120" y="371"/>
                      </a:moveTo>
                      <a:lnTo>
                        <a:pt x="116" y="367"/>
                      </a:lnTo>
                      <a:lnTo>
                        <a:pt x="112" y="371"/>
                      </a:lnTo>
                      <a:lnTo>
                        <a:pt x="107" y="367"/>
                      </a:lnTo>
                      <a:lnTo>
                        <a:pt x="103" y="376"/>
                      </a:lnTo>
                      <a:lnTo>
                        <a:pt x="103" y="384"/>
                      </a:lnTo>
                      <a:lnTo>
                        <a:pt x="107" y="393"/>
                      </a:lnTo>
                      <a:lnTo>
                        <a:pt x="112" y="380"/>
                      </a:lnTo>
                      <a:lnTo>
                        <a:pt x="112" y="380"/>
                      </a:lnTo>
                      <a:lnTo>
                        <a:pt x="112" y="371"/>
                      </a:lnTo>
                      <a:lnTo>
                        <a:pt x="120" y="371"/>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61" name="Freeform 201">
                  <a:extLst>
                    <a:ext uri="{FF2B5EF4-FFF2-40B4-BE49-F238E27FC236}">
                      <a16:creationId xmlns:a16="http://schemas.microsoft.com/office/drawing/2014/main" id="{14939877-52EF-4FC5-93AC-110112BE0B3A}"/>
                    </a:ext>
                  </a:extLst>
                </p:cNvPr>
                <p:cNvSpPr>
                  <a:spLocks/>
                </p:cNvSpPr>
                <p:nvPr/>
              </p:nvSpPr>
              <p:spPr bwMode="gray">
                <a:xfrm>
                  <a:off x="2817" y="1988"/>
                  <a:ext cx="58" cy="36"/>
                </a:xfrm>
                <a:custGeom>
                  <a:avLst/>
                  <a:gdLst>
                    <a:gd name="T0" fmla="*/ 13 w 58"/>
                    <a:gd name="T1" fmla="*/ 36 h 36"/>
                    <a:gd name="T2" fmla="*/ 9 w 58"/>
                    <a:gd name="T3" fmla="*/ 27 h 36"/>
                    <a:gd name="T4" fmla="*/ 4 w 58"/>
                    <a:gd name="T5" fmla="*/ 23 h 36"/>
                    <a:gd name="T6" fmla="*/ 0 w 58"/>
                    <a:gd name="T7" fmla="*/ 32 h 36"/>
                    <a:gd name="T8" fmla="*/ 0 w 58"/>
                    <a:gd name="T9" fmla="*/ 23 h 36"/>
                    <a:gd name="T10" fmla="*/ 9 w 58"/>
                    <a:gd name="T11" fmla="*/ 9 h 36"/>
                    <a:gd name="T12" fmla="*/ 9 w 58"/>
                    <a:gd name="T13" fmla="*/ 5 h 36"/>
                    <a:gd name="T14" fmla="*/ 18 w 58"/>
                    <a:gd name="T15" fmla="*/ 5 h 36"/>
                    <a:gd name="T16" fmla="*/ 22 w 58"/>
                    <a:gd name="T17" fmla="*/ 0 h 36"/>
                    <a:gd name="T18" fmla="*/ 22 w 58"/>
                    <a:gd name="T19" fmla="*/ 5 h 36"/>
                    <a:gd name="T20" fmla="*/ 31 w 58"/>
                    <a:gd name="T21" fmla="*/ 0 h 36"/>
                    <a:gd name="T22" fmla="*/ 40 w 58"/>
                    <a:gd name="T23" fmla="*/ 0 h 36"/>
                    <a:gd name="T24" fmla="*/ 49 w 58"/>
                    <a:gd name="T25" fmla="*/ 0 h 36"/>
                    <a:gd name="T26" fmla="*/ 49 w 58"/>
                    <a:gd name="T27" fmla="*/ 14 h 36"/>
                    <a:gd name="T28" fmla="*/ 49 w 58"/>
                    <a:gd name="T29" fmla="*/ 18 h 36"/>
                    <a:gd name="T30" fmla="*/ 58 w 58"/>
                    <a:gd name="T31" fmla="*/ 14 h 36"/>
                    <a:gd name="T32" fmla="*/ 58 w 58"/>
                    <a:gd name="T33" fmla="*/ 18 h 36"/>
                    <a:gd name="T34" fmla="*/ 53 w 58"/>
                    <a:gd name="T35" fmla="*/ 27 h 36"/>
                    <a:gd name="T36" fmla="*/ 45 w 58"/>
                    <a:gd name="T37" fmla="*/ 27 h 36"/>
                    <a:gd name="T38" fmla="*/ 40 w 58"/>
                    <a:gd name="T39" fmla="*/ 23 h 36"/>
                    <a:gd name="T40" fmla="*/ 40 w 58"/>
                    <a:gd name="T41" fmla="*/ 32 h 36"/>
                    <a:gd name="T42" fmla="*/ 36 w 58"/>
                    <a:gd name="T43" fmla="*/ 36 h 36"/>
                    <a:gd name="T44" fmla="*/ 31 w 58"/>
                    <a:gd name="T45" fmla="*/ 27 h 36"/>
                    <a:gd name="T46" fmla="*/ 27 w 58"/>
                    <a:gd name="T47" fmla="*/ 27 h 36"/>
                    <a:gd name="T48" fmla="*/ 27 w 58"/>
                    <a:gd name="T49" fmla="*/ 36 h 36"/>
                    <a:gd name="T50" fmla="*/ 18 w 58"/>
                    <a:gd name="T51" fmla="*/ 36 h 36"/>
                    <a:gd name="T52" fmla="*/ 13 w 58"/>
                    <a:gd name="T5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8" h="36">
                      <a:moveTo>
                        <a:pt x="13" y="36"/>
                      </a:moveTo>
                      <a:lnTo>
                        <a:pt x="9" y="27"/>
                      </a:lnTo>
                      <a:lnTo>
                        <a:pt x="4" y="23"/>
                      </a:lnTo>
                      <a:lnTo>
                        <a:pt x="0" y="32"/>
                      </a:lnTo>
                      <a:lnTo>
                        <a:pt x="0" y="23"/>
                      </a:lnTo>
                      <a:lnTo>
                        <a:pt x="9" y="9"/>
                      </a:lnTo>
                      <a:lnTo>
                        <a:pt x="9" y="5"/>
                      </a:lnTo>
                      <a:lnTo>
                        <a:pt x="18" y="5"/>
                      </a:lnTo>
                      <a:lnTo>
                        <a:pt x="22" y="0"/>
                      </a:lnTo>
                      <a:lnTo>
                        <a:pt x="22" y="5"/>
                      </a:lnTo>
                      <a:lnTo>
                        <a:pt x="31" y="0"/>
                      </a:lnTo>
                      <a:lnTo>
                        <a:pt x="40" y="0"/>
                      </a:lnTo>
                      <a:lnTo>
                        <a:pt x="49" y="0"/>
                      </a:lnTo>
                      <a:lnTo>
                        <a:pt x="49" y="14"/>
                      </a:lnTo>
                      <a:lnTo>
                        <a:pt x="49" y="18"/>
                      </a:lnTo>
                      <a:lnTo>
                        <a:pt x="58" y="14"/>
                      </a:lnTo>
                      <a:lnTo>
                        <a:pt x="58" y="18"/>
                      </a:lnTo>
                      <a:lnTo>
                        <a:pt x="53" y="27"/>
                      </a:lnTo>
                      <a:lnTo>
                        <a:pt x="45" y="27"/>
                      </a:lnTo>
                      <a:lnTo>
                        <a:pt x="40" y="23"/>
                      </a:lnTo>
                      <a:lnTo>
                        <a:pt x="40" y="32"/>
                      </a:lnTo>
                      <a:lnTo>
                        <a:pt x="36" y="36"/>
                      </a:lnTo>
                      <a:lnTo>
                        <a:pt x="31" y="27"/>
                      </a:lnTo>
                      <a:lnTo>
                        <a:pt x="27" y="27"/>
                      </a:lnTo>
                      <a:lnTo>
                        <a:pt x="27" y="36"/>
                      </a:lnTo>
                      <a:lnTo>
                        <a:pt x="18" y="36"/>
                      </a:lnTo>
                      <a:lnTo>
                        <a:pt x="13" y="36"/>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62" name="Freeform 202">
                  <a:extLst>
                    <a:ext uri="{FF2B5EF4-FFF2-40B4-BE49-F238E27FC236}">
                      <a16:creationId xmlns:a16="http://schemas.microsoft.com/office/drawing/2014/main" id="{2E1AA30B-13A8-4893-B62B-A3F253DDDD59}"/>
                    </a:ext>
                  </a:extLst>
                </p:cNvPr>
                <p:cNvSpPr>
                  <a:spLocks noEditPoints="1"/>
                </p:cNvSpPr>
                <p:nvPr/>
              </p:nvSpPr>
              <p:spPr bwMode="gray">
                <a:xfrm>
                  <a:off x="3098" y="2100"/>
                  <a:ext cx="273" cy="125"/>
                </a:xfrm>
                <a:custGeom>
                  <a:avLst/>
                  <a:gdLst>
                    <a:gd name="T0" fmla="*/ 0 w 273"/>
                    <a:gd name="T1" fmla="*/ 18 h 125"/>
                    <a:gd name="T2" fmla="*/ 18 w 273"/>
                    <a:gd name="T3" fmla="*/ 0 h 125"/>
                    <a:gd name="T4" fmla="*/ 32 w 273"/>
                    <a:gd name="T5" fmla="*/ 4 h 125"/>
                    <a:gd name="T6" fmla="*/ 45 w 273"/>
                    <a:gd name="T7" fmla="*/ 18 h 125"/>
                    <a:gd name="T8" fmla="*/ 32 w 273"/>
                    <a:gd name="T9" fmla="*/ 22 h 125"/>
                    <a:gd name="T10" fmla="*/ 14 w 273"/>
                    <a:gd name="T11" fmla="*/ 31 h 125"/>
                    <a:gd name="T12" fmla="*/ 0 w 273"/>
                    <a:gd name="T13" fmla="*/ 40 h 125"/>
                    <a:gd name="T14" fmla="*/ 9 w 273"/>
                    <a:gd name="T15" fmla="*/ 27 h 125"/>
                    <a:gd name="T16" fmla="*/ 63 w 273"/>
                    <a:gd name="T17" fmla="*/ 112 h 125"/>
                    <a:gd name="T18" fmla="*/ 85 w 273"/>
                    <a:gd name="T19" fmla="*/ 107 h 125"/>
                    <a:gd name="T20" fmla="*/ 99 w 273"/>
                    <a:gd name="T21" fmla="*/ 116 h 125"/>
                    <a:gd name="T22" fmla="*/ 121 w 273"/>
                    <a:gd name="T23" fmla="*/ 107 h 125"/>
                    <a:gd name="T24" fmla="*/ 139 w 273"/>
                    <a:gd name="T25" fmla="*/ 112 h 125"/>
                    <a:gd name="T26" fmla="*/ 148 w 273"/>
                    <a:gd name="T27" fmla="*/ 107 h 125"/>
                    <a:gd name="T28" fmla="*/ 143 w 273"/>
                    <a:gd name="T29" fmla="*/ 116 h 125"/>
                    <a:gd name="T30" fmla="*/ 139 w 273"/>
                    <a:gd name="T31" fmla="*/ 125 h 125"/>
                    <a:gd name="T32" fmla="*/ 157 w 273"/>
                    <a:gd name="T33" fmla="*/ 116 h 125"/>
                    <a:gd name="T34" fmla="*/ 179 w 273"/>
                    <a:gd name="T35" fmla="*/ 103 h 125"/>
                    <a:gd name="T36" fmla="*/ 210 w 273"/>
                    <a:gd name="T37" fmla="*/ 103 h 125"/>
                    <a:gd name="T38" fmla="*/ 241 w 273"/>
                    <a:gd name="T39" fmla="*/ 103 h 125"/>
                    <a:gd name="T40" fmla="*/ 264 w 273"/>
                    <a:gd name="T41" fmla="*/ 103 h 125"/>
                    <a:gd name="T42" fmla="*/ 273 w 273"/>
                    <a:gd name="T43" fmla="*/ 94 h 125"/>
                    <a:gd name="T44" fmla="*/ 259 w 273"/>
                    <a:gd name="T45" fmla="*/ 63 h 125"/>
                    <a:gd name="T46" fmla="*/ 264 w 273"/>
                    <a:gd name="T47" fmla="*/ 45 h 125"/>
                    <a:gd name="T48" fmla="*/ 250 w 273"/>
                    <a:gd name="T49" fmla="*/ 22 h 125"/>
                    <a:gd name="T50" fmla="*/ 219 w 273"/>
                    <a:gd name="T51" fmla="*/ 13 h 125"/>
                    <a:gd name="T52" fmla="*/ 206 w 273"/>
                    <a:gd name="T53" fmla="*/ 22 h 125"/>
                    <a:gd name="T54" fmla="*/ 183 w 273"/>
                    <a:gd name="T55" fmla="*/ 22 h 125"/>
                    <a:gd name="T56" fmla="*/ 148 w 273"/>
                    <a:gd name="T57" fmla="*/ 18 h 125"/>
                    <a:gd name="T58" fmla="*/ 134 w 273"/>
                    <a:gd name="T59" fmla="*/ 9 h 125"/>
                    <a:gd name="T60" fmla="*/ 130 w 273"/>
                    <a:gd name="T61" fmla="*/ 0 h 125"/>
                    <a:gd name="T62" fmla="*/ 103 w 273"/>
                    <a:gd name="T63" fmla="*/ 0 h 125"/>
                    <a:gd name="T64" fmla="*/ 76 w 273"/>
                    <a:gd name="T65" fmla="*/ 18 h 125"/>
                    <a:gd name="T66" fmla="*/ 54 w 273"/>
                    <a:gd name="T67" fmla="*/ 18 h 125"/>
                    <a:gd name="T68" fmla="*/ 45 w 273"/>
                    <a:gd name="T69" fmla="*/ 22 h 125"/>
                    <a:gd name="T70" fmla="*/ 40 w 273"/>
                    <a:gd name="T71" fmla="*/ 27 h 125"/>
                    <a:gd name="T72" fmla="*/ 36 w 273"/>
                    <a:gd name="T73" fmla="*/ 31 h 125"/>
                    <a:gd name="T74" fmla="*/ 23 w 273"/>
                    <a:gd name="T75" fmla="*/ 40 h 125"/>
                    <a:gd name="T76" fmla="*/ 9 w 273"/>
                    <a:gd name="T77" fmla="*/ 36 h 125"/>
                    <a:gd name="T78" fmla="*/ 0 w 273"/>
                    <a:gd name="T79" fmla="*/ 49 h 125"/>
                    <a:gd name="T80" fmla="*/ 9 w 273"/>
                    <a:gd name="T81" fmla="*/ 54 h 125"/>
                    <a:gd name="T82" fmla="*/ 14 w 273"/>
                    <a:gd name="T83" fmla="*/ 72 h 125"/>
                    <a:gd name="T84" fmla="*/ 5 w 273"/>
                    <a:gd name="T85" fmla="*/ 67 h 125"/>
                    <a:gd name="T86" fmla="*/ 9 w 273"/>
                    <a:gd name="T87" fmla="*/ 76 h 125"/>
                    <a:gd name="T88" fmla="*/ 14 w 273"/>
                    <a:gd name="T89" fmla="*/ 85 h 125"/>
                    <a:gd name="T90" fmla="*/ 23 w 273"/>
                    <a:gd name="T91" fmla="*/ 94 h 125"/>
                    <a:gd name="T92" fmla="*/ 27 w 273"/>
                    <a:gd name="T93" fmla="*/ 98 h 125"/>
                    <a:gd name="T94" fmla="*/ 23 w 273"/>
                    <a:gd name="T95" fmla="*/ 107 h 125"/>
                    <a:gd name="T96" fmla="*/ 32 w 273"/>
                    <a:gd name="T97" fmla="*/ 107 h 125"/>
                    <a:gd name="T98" fmla="*/ 45 w 273"/>
                    <a:gd name="T99" fmla="*/ 103 h 125"/>
                    <a:gd name="T100" fmla="*/ 54 w 273"/>
                    <a:gd name="T101" fmla="*/ 116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3" h="125">
                      <a:moveTo>
                        <a:pt x="0" y="22"/>
                      </a:moveTo>
                      <a:lnTo>
                        <a:pt x="0" y="18"/>
                      </a:lnTo>
                      <a:lnTo>
                        <a:pt x="0" y="9"/>
                      </a:lnTo>
                      <a:lnTo>
                        <a:pt x="18" y="0"/>
                      </a:lnTo>
                      <a:lnTo>
                        <a:pt x="23" y="4"/>
                      </a:lnTo>
                      <a:lnTo>
                        <a:pt x="32" y="4"/>
                      </a:lnTo>
                      <a:lnTo>
                        <a:pt x="32" y="13"/>
                      </a:lnTo>
                      <a:lnTo>
                        <a:pt x="45" y="18"/>
                      </a:lnTo>
                      <a:lnTo>
                        <a:pt x="36" y="22"/>
                      </a:lnTo>
                      <a:lnTo>
                        <a:pt x="32" y="22"/>
                      </a:lnTo>
                      <a:lnTo>
                        <a:pt x="18" y="22"/>
                      </a:lnTo>
                      <a:lnTo>
                        <a:pt x="14" y="31"/>
                      </a:lnTo>
                      <a:lnTo>
                        <a:pt x="9" y="31"/>
                      </a:lnTo>
                      <a:lnTo>
                        <a:pt x="0" y="40"/>
                      </a:lnTo>
                      <a:lnTo>
                        <a:pt x="0" y="36"/>
                      </a:lnTo>
                      <a:lnTo>
                        <a:pt x="9" y="27"/>
                      </a:lnTo>
                      <a:lnTo>
                        <a:pt x="0" y="22"/>
                      </a:lnTo>
                      <a:close/>
                      <a:moveTo>
                        <a:pt x="63" y="112"/>
                      </a:moveTo>
                      <a:lnTo>
                        <a:pt x="67" y="103"/>
                      </a:lnTo>
                      <a:lnTo>
                        <a:pt x="85" y="107"/>
                      </a:lnTo>
                      <a:lnTo>
                        <a:pt x="90" y="116"/>
                      </a:lnTo>
                      <a:lnTo>
                        <a:pt x="99" y="116"/>
                      </a:lnTo>
                      <a:lnTo>
                        <a:pt x="116" y="112"/>
                      </a:lnTo>
                      <a:lnTo>
                        <a:pt x="121" y="107"/>
                      </a:lnTo>
                      <a:lnTo>
                        <a:pt x="125" y="107"/>
                      </a:lnTo>
                      <a:lnTo>
                        <a:pt x="139" y="112"/>
                      </a:lnTo>
                      <a:lnTo>
                        <a:pt x="143" y="103"/>
                      </a:lnTo>
                      <a:lnTo>
                        <a:pt x="148" y="107"/>
                      </a:lnTo>
                      <a:lnTo>
                        <a:pt x="143" y="112"/>
                      </a:lnTo>
                      <a:lnTo>
                        <a:pt x="143" y="116"/>
                      </a:lnTo>
                      <a:lnTo>
                        <a:pt x="139" y="121"/>
                      </a:lnTo>
                      <a:lnTo>
                        <a:pt x="139" y="125"/>
                      </a:lnTo>
                      <a:lnTo>
                        <a:pt x="148" y="125"/>
                      </a:lnTo>
                      <a:lnTo>
                        <a:pt x="157" y="116"/>
                      </a:lnTo>
                      <a:lnTo>
                        <a:pt x="157" y="107"/>
                      </a:lnTo>
                      <a:lnTo>
                        <a:pt x="179" y="103"/>
                      </a:lnTo>
                      <a:lnTo>
                        <a:pt x="197" y="107"/>
                      </a:lnTo>
                      <a:lnTo>
                        <a:pt x="210" y="103"/>
                      </a:lnTo>
                      <a:lnTo>
                        <a:pt x="233" y="98"/>
                      </a:lnTo>
                      <a:lnTo>
                        <a:pt x="241" y="103"/>
                      </a:lnTo>
                      <a:lnTo>
                        <a:pt x="246" y="98"/>
                      </a:lnTo>
                      <a:lnTo>
                        <a:pt x="264" y="103"/>
                      </a:lnTo>
                      <a:lnTo>
                        <a:pt x="273" y="98"/>
                      </a:lnTo>
                      <a:lnTo>
                        <a:pt x="273" y="94"/>
                      </a:lnTo>
                      <a:lnTo>
                        <a:pt x="264" y="89"/>
                      </a:lnTo>
                      <a:lnTo>
                        <a:pt x="259" y="63"/>
                      </a:lnTo>
                      <a:lnTo>
                        <a:pt x="268" y="54"/>
                      </a:lnTo>
                      <a:lnTo>
                        <a:pt x="264" y="45"/>
                      </a:lnTo>
                      <a:lnTo>
                        <a:pt x="255" y="40"/>
                      </a:lnTo>
                      <a:lnTo>
                        <a:pt x="250" y="22"/>
                      </a:lnTo>
                      <a:lnTo>
                        <a:pt x="241" y="18"/>
                      </a:lnTo>
                      <a:lnTo>
                        <a:pt x="219" y="13"/>
                      </a:lnTo>
                      <a:lnTo>
                        <a:pt x="210" y="18"/>
                      </a:lnTo>
                      <a:lnTo>
                        <a:pt x="206" y="22"/>
                      </a:lnTo>
                      <a:lnTo>
                        <a:pt x="192" y="18"/>
                      </a:lnTo>
                      <a:lnTo>
                        <a:pt x="183" y="22"/>
                      </a:lnTo>
                      <a:lnTo>
                        <a:pt x="170" y="22"/>
                      </a:lnTo>
                      <a:lnTo>
                        <a:pt x="148" y="18"/>
                      </a:lnTo>
                      <a:lnTo>
                        <a:pt x="143" y="9"/>
                      </a:lnTo>
                      <a:lnTo>
                        <a:pt x="134" y="9"/>
                      </a:lnTo>
                      <a:lnTo>
                        <a:pt x="134" y="0"/>
                      </a:lnTo>
                      <a:lnTo>
                        <a:pt x="130" y="0"/>
                      </a:lnTo>
                      <a:lnTo>
                        <a:pt x="125" y="4"/>
                      </a:lnTo>
                      <a:lnTo>
                        <a:pt x="103" y="0"/>
                      </a:lnTo>
                      <a:lnTo>
                        <a:pt x="76" y="13"/>
                      </a:lnTo>
                      <a:lnTo>
                        <a:pt x="76" y="18"/>
                      </a:lnTo>
                      <a:lnTo>
                        <a:pt x="63" y="18"/>
                      </a:lnTo>
                      <a:lnTo>
                        <a:pt x="54" y="18"/>
                      </a:lnTo>
                      <a:lnTo>
                        <a:pt x="45" y="18"/>
                      </a:lnTo>
                      <a:lnTo>
                        <a:pt x="45" y="22"/>
                      </a:lnTo>
                      <a:lnTo>
                        <a:pt x="45" y="27"/>
                      </a:lnTo>
                      <a:lnTo>
                        <a:pt x="40" y="27"/>
                      </a:lnTo>
                      <a:lnTo>
                        <a:pt x="45" y="31"/>
                      </a:lnTo>
                      <a:lnTo>
                        <a:pt x="36" y="31"/>
                      </a:lnTo>
                      <a:lnTo>
                        <a:pt x="27" y="31"/>
                      </a:lnTo>
                      <a:lnTo>
                        <a:pt x="23" y="40"/>
                      </a:lnTo>
                      <a:lnTo>
                        <a:pt x="14" y="36"/>
                      </a:lnTo>
                      <a:lnTo>
                        <a:pt x="9" y="36"/>
                      </a:lnTo>
                      <a:lnTo>
                        <a:pt x="0" y="40"/>
                      </a:lnTo>
                      <a:lnTo>
                        <a:pt x="0" y="49"/>
                      </a:lnTo>
                      <a:lnTo>
                        <a:pt x="14" y="49"/>
                      </a:lnTo>
                      <a:lnTo>
                        <a:pt x="9" y="54"/>
                      </a:lnTo>
                      <a:lnTo>
                        <a:pt x="14" y="67"/>
                      </a:lnTo>
                      <a:lnTo>
                        <a:pt x="14" y="72"/>
                      </a:lnTo>
                      <a:lnTo>
                        <a:pt x="9" y="72"/>
                      </a:lnTo>
                      <a:lnTo>
                        <a:pt x="5" y="67"/>
                      </a:lnTo>
                      <a:lnTo>
                        <a:pt x="5" y="76"/>
                      </a:lnTo>
                      <a:lnTo>
                        <a:pt x="9" y="76"/>
                      </a:lnTo>
                      <a:lnTo>
                        <a:pt x="14" y="80"/>
                      </a:lnTo>
                      <a:lnTo>
                        <a:pt x="14" y="85"/>
                      </a:lnTo>
                      <a:lnTo>
                        <a:pt x="14" y="94"/>
                      </a:lnTo>
                      <a:lnTo>
                        <a:pt x="23" y="94"/>
                      </a:lnTo>
                      <a:lnTo>
                        <a:pt x="14" y="98"/>
                      </a:lnTo>
                      <a:lnTo>
                        <a:pt x="27" y="98"/>
                      </a:lnTo>
                      <a:lnTo>
                        <a:pt x="27" y="103"/>
                      </a:lnTo>
                      <a:lnTo>
                        <a:pt x="23" y="107"/>
                      </a:lnTo>
                      <a:lnTo>
                        <a:pt x="27" y="103"/>
                      </a:lnTo>
                      <a:lnTo>
                        <a:pt x="32" y="107"/>
                      </a:lnTo>
                      <a:lnTo>
                        <a:pt x="36" y="98"/>
                      </a:lnTo>
                      <a:lnTo>
                        <a:pt x="45" y="103"/>
                      </a:lnTo>
                      <a:lnTo>
                        <a:pt x="49" y="112"/>
                      </a:lnTo>
                      <a:lnTo>
                        <a:pt x="54" y="116"/>
                      </a:lnTo>
                      <a:lnTo>
                        <a:pt x="63" y="112"/>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63" name="Freeform 203">
                  <a:extLst>
                    <a:ext uri="{FF2B5EF4-FFF2-40B4-BE49-F238E27FC236}">
                      <a16:creationId xmlns:a16="http://schemas.microsoft.com/office/drawing/2014/main" id="{D5C3E08D-3E76-482F-A6FC-B2E81841A044}"/>
                    </a:ext>
                  </a:extLst>
                </p:cNvPr>
                <p:cNvSpPr>
                  <a:spLocks/>
                </p:cNvSpPr>
                <p:nvPr/>
              </p:nvSpPr>
              <p:spPr bwMode="gray">
                <a:xfrm>
                  <a:off x="3045" y="1886"/>
                  <a:ext cx="254" cy="169"/>
                </a:xfrm>
                <a:custGeom>
                  <a:avLst/>
                  <a:gdLst>
                    <a:gd name="T0" fmla="*/ 4 w 254"/>
                    <a:gd name="T1" fmla="*/ 71 h 169"/>
                    <a:gd name="T2" fmla="*/ 4 w 254"/>
                    <a:gd name="T3" fmla="*/ 67 h 169"/>
                    <a:gd name="T4" fmla="*/ 22 w 254"/>
                    <a:gd name="T5" fmla="*/ 49 h 169"/>
                    <a:gd name="T6" fmla="*/ 22 w 254"/>
                    <a:gd name="T7" fmla="*/ 40 h 169"/>
                    <a:gd name="T8" fmla="*/ 18 w 254"/>
                    <a:gd name="T9" fmla="*/ 17 h 169"/>
                    <a:gd name="T10" fmla="*/ 26 w 254"/>
                    <a:gd name="T11" fmla="*/ 17 h 169"/>
                    <a:gd name="T12" fmla="*/ 35 w 254"/>
                    <a:gd name="T13" fmla="*/ 4 h 169"/>
                    <a:gd name="T14" fmla="*/ 58 w 254"/>
                    <a:gd name="T15" fmla="*/ 13 h 169"/>
                    <a:gd name="T16" fmla="*/ 76 w 254"/>
                    <a:gd name="T17" fmla="*/ 13 h 169"/>
                    <a:gd name="T18" fmla="*/ 80 w 254"/>
                    <a:gd name="T19" fmla="*/ 17 h 169"/>
                    <a:gd name="T20" fmla="*/ 89 w 254"/>
                    <a:gd name="T21" fmla="*/ 13 h 169"/>
                    <a:gd name="T22" fmla="*/ 98 w 254"/>
                    <a:gd name="T23" fmla="*/ 13 h 169"/>
                    <a:gd name="T24" fmla="*/ 111 w 254"/>
                    <a:gd name="T25" fmla="*/ 17 h 169"/>
                    <a:gd name="T26" fmla="*/ 120 w 254"/>
                    <a:gd name="T27" fmla="*/ 17 h 169"/>
                    <a:gd name="T28" fmla="*/ 125 w 254"/>
                    <a:gd name="T29" fmla="*/ 0 h 169"/>
                    <a:gd name="T30" fmla="*/ 138 w 254"/>
                    <a:gd name="T31" fmla="*/ 4 h 169"/>
                    <a:gd name="T32" fmla="*/ 147 w 254"/>
                    <a:gd name="T33" fmla="*/ 4 h 169"/>
                    <a:gd name="T34" fmla="*/ 165 w 254"/>
                    <a:gd name="T35" fmla="*/ 0 h 169"/>
                    <a:gd name="T36" fmla="*/ 174 w 254"/>
                    <a:gd name="T37" fmla="*/ 8 h 169"/>
                    <a:gd name="T38" fmla="*/ 187 w 254"/>
                    <a:gd name="T39" fmla="*/ 22 h 169"/>
                    <a:gd name="T40" fmla="*/ 192 w 254"/>
                    <a:gd name="T41" fmla="*/ 44 h 169"/>
                    <a:gd name="T42" fmla="*/ 205 w 254"/>
                    <a:gd name="T43" fmla="*/ 49 h 169"/>
                    <a:gd name="T44" fmla="*/ 219 w 254"/>
                    <a:gd name="T45" fmla="*/ 44 h 169"/>
                    <a:gd name="T46" fmla="*/ 223 w 254"/>
                    <a:gd name="T47" fmla="*/ 53 h 169"/>
                    <a:gd name="T48" fmla="*/ 232 w 254"/>
                    <a:gd name="T49" fmla="*/ 58 h 169"/>
                    <a:gd name="T50" fmla="*/ 241 w 254"/>
                    <a:gd name="T51" fmla="*/ 58 h 169"/>
                    <a:gd name="T52" fmla="*/ 250 w 254"/>
                    <a:gd name="T53" fmla="*/ 71 h 169"/>
                    <a:gd name="T54" fmla="*/ 250 w 254"/>
                    <a:gd name="T55" fmla="*/ 80 h 169"/>
                    <a:gd name="T56" fmla="*/ 250 w 254"/>
                    <a:gd name="T57" fmla="*/ 93 h 169"/>
                    <a:gd name="T58" fmla="*/ 232 w 254"/>
                    <a:gd name="T59" fmla="*/ 111 h 169"/>
                    <a:gd name="T60" fmla="*/ 205 w 254"/>
                    <a:gd name="T61" fmla="*/ 120 h 169"/>
                    <a:gd name="T62" fmla="*/ 192 w 254"/>
                    <a:gd name="T63" fmla="*/ 125 h 169"/>
                    <a:gd name="T64" fmla="*/ 183 w 254"/>
                    <a:gd name="T65" fmla="*/ 125 h 169"/>
                    <a:gd name="T66" fmla="*/ 192 w 254"/>
                    <a:gd name="T67" fmla="*/ 147 h 169"/>
                    <a:gd name="T68" fmla="*/ 201 w 254"/>
                    <a:gd name="T69" fmla="*/ 156 h 169"/>
                    <a:gd name="T70" fmla="*/ 192 w 254"/>
                    <a:gd name="T71" fmla="*/ 156 h 169"/>
                    <a:gd name="T72" fmla="*/ 178 w 254"/>
                    <a:gd name="T73" fmla="*/ 160 h 169"/>
                    <a:gd name="T74" fmla="*/ 156 w 254"/>
                    <a:gd name="T75" fmla="*/ 165 h 169"/>
                    <a:gd name="T76" fmla="*/ 160 w 254"/>
                    <a:gd name="T77" fmla="*/ 151 h 169"/>
                    <a:gd name="T78" fmla="*/ 147 w 254"/>
                    <a:gd name="T79" fmla="*/ 147 h 169"/>
                    <a:gd name="T80" fmla="*/ 165 w 254"/>
                    <a:gd name="T81" fmla="*/ 138 h 169"/>
                    <a:gd name="T82" fmla="*/ 156 w 254"/>
                    <a:gd name="T83" fmla="*/ 129 h 169"/>
                    <a:gd name="T84" fmla="*/ 138 w 254"/>
                    <a:gd name="T85" fmla="*/ 129 h 169"/>
                    <a:gd name="T86" fmla="*/ 138 w 254"/>
                    <a:gd name="T87" fmla="*/ 120 h 169"/>
                    <a:gd name="T88" fmla="*/ 116 w 254"/>
                    <a:gd name="T89" fmla="*/ 129 h 169"/>
                    <a:gd name="T90" fmla="*/ 111 w 254"/>
                    <a:gd name="T91" fmla="*/ 129 h 169"/>
                    <a:gd name="T92" fmla="*/ 111 w 254"/>
                    <a:gd name="T93" fmla="*/ 143 h 169"/>
                    <a:gd name="T94" fmla="*/ 102 w 254"/>
                    <a:gd name="T95" fmla="*/ 151 h 169"/>
                    <a:gd name="T96" fmla="*/ 89 w 254"/>
                    <a:gd name="T97" fmla="*/ 156 h 169"/>
                    <a:gd name="T98" fmla="*/ 80 w 254"/>
                    <a:gd name="T99" fmla="*/ 147 h 169"/>
                    <a:gd name="T100" fmla="*/ 93 w 254"/>
                    <a:gd name="T101" fmla="*/ 143 h 169"/>
                    <a:gd name="T102" fmla="*/ 93 w 254"/>
                    <a:gd name="T103" fmla="*/ 129 h 169"/>
                    <a:gd name="T104" fmla="*/ 98 w 254"/>
                    <a:gd name="T105" fmla="*/ 129 h 169"/>
                    <a:gd name="T106" fmla="*/ 107 w 254"/>
                    <a:gd name="T107" fmla="*/ 129 h 169"/>
                    <a:gd name="T108" fmla="*/ 102 w 254"/>
                    <a:gd name="T109" fmla="*/ 111 h 169"/>
                    <a:gd name="T110" fmla="*/ 89 w 254"/>
                    <a:gd name="T111" fmla="*/ 93 h 169"/>
                    <a:gd name="T112" fmla="*/ 80 w 254"/>
                    <a:gd name="T113" fmla="*/ 89 h 169"/>
                    <a:gd name="T114" fmla="*/ 76 w 254"/>
                    <a:gd name="T115" fmla="*/ 89 h 169"/>
                    <a:gd name="T116" fmla="*/ 40 w 254"/>
                    <a:gd name="T117" fmla="*/ 98 h 169"/>
                    <a:gd name="T118" fmla="*/ 9 w 254"/>
                    <a:gd name="T119" fmla="*/ 9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4" h="169">
                      <a:moveTo>
                        <a:pt x="0" y="84"/>
                      </a:moveTo>
                      <a:lnTo>
                        <a:pt x="4" y="71"/>
                      </a:lnTo>
                      <a:lnTo>
                        <a:pt x="9" y="71"/>
                      </a:lnTo>
                      <a:lnTo>
                        <a:pt x="4" y="67"/>
                      </a:lnTo>
                      <a:lnTo>
                        <a:pt x="13" y="53"/>
                      </a:lnTo>
                      <a:lnTo>
                        <a:pt x="22" y="49"/>
                      </a:lnTo>
                      <a:lnTo>
                        <a:pt x="26" y="44"/>
                      </a:lnTo>
                      <a:lnTo>
                        <a:pt x="22" y="40"/>
                      </a:lnTo>
                      <a:lnTo>
                        <a:pt x="22" y="31"/>
                      </a:lnTo>
                      <a:lnTo>
                        <a:pt x="18" y="17"/>
                      </a:lnTo>
                      <a:lnTo>
                        <a:pt x="18" y="13"/>
                      </a:lnTo>
                      <a:lnTo>
                        <a:pt x="26" y="17"/>
                      </a:lnTo>
                      <a:lnTo>
                        <a:pt x="31" y="8"/>
                      </a:lnTo>
                      <a:lnTo>
                        <a:pt x="35" y="4"/>
                      </a:lnTo>
                      <a:lnTo>
                        <a:pt x="49" y="8"/>
                      </a:lnTo>
                      <a:lnTo>
                        <a:pt x="58" y="13"/>
                      </a:lnTo>
                      <a:lnTo>
                        <a:pt x="71" y="8"/>
                      </a:lnTo>
                      <a:lnTo>
                        <a:pt x="76" y="13"/>
                      </a:lnTo>
                      <a:lnTo>
                        <a:pt x="80" y="22"/>
                      </a:lnTo>
                      <a:lnTo>
                        <a:pt x="80" y="17"/>
                      </a:lnTo>
                      <a:lnTo>
                        <a:pt x="89" y="17"/>
                      </a:lnTo>
                      <a:lnTo>
                        <a:pt x="89" y="13"/>
                      </a:lnTo>
                      <a:lnTo>
                        <a:pt x="93" y="17"/>
                      </a:lnTo>
                      <a:lnTo>
                        <a:pt x="98" y="13"/>
                      </a:lnTo>
                      <a:lnTo>
                        <a:pt x="102" y="22"/>
                      </a:lnTo>
                      <a:lnTo>
                        <a:pt x="111" y="17"/>
                      </a:lnTo>
                      <a:lnTo>
                        <a:pt x="120" y="22"/>
                      </a:lnTo>
                      <a:lnTo>
                        <a:pt x="120" y="17"/>
                      </a:lnTo>
                      <a:lnTo>
                        <a:pt x="120" y="13"/>
                      </a:lnTo>
                      <a:lnTo>
                        <a:pt x="125" y="0"/>
                      </a:lnTo>
                      <a:lnTo>
                        <a:pt x="134" y="4"/>
                      </a:lnTo>
                      <a:lnTo>
                        <a:pt x="138" y="4"/>
                      </a:lnTo>
                      <a:lnTo>
                        <a:pt x="143" y="0"/>
                      </a:lnTo>
                      <a:lnTo>
                        <a:pt x="147" y="4"/>
                      </a:lnTo>
                      <a:lnTo>
                        <a:pt x="156" y="0"/>
                      </a:lnTo>
                      <a:lnTo>
                        <a:pt x="165" y="0"/>
                      </a:lnTo>
                      <a:lnTo>
                        <a:pt x="169" y="8"/>
                      </a:lnTo>
                      <a:lnTo>
                        <a:pt x="174" y="8"/>
                      </a:lnTo>
                      <a:lnTo>
                        <a:pt x="169" y="17"/>
                      </a:lnTo>
                      <a:lnTo>
                        <a:pt x="187" y="22"/>
                      </a:lnTo>
                      <a:lnTo>
                        <a:pt x="187" y="31"/>
                      </a:lnTo>
                      <a:lnTo>
                        <a:pt x="192" y="44"/>
                      </a:lnTo>
                      <a:lnTo>
                        <a:pt x="201" y="44"/>
                      </a:lnTo>
                      <a:lnTo>
                        <a:pt x="205" y="49"/>
                      </a:lnTo>
                      <a:lnTo>
                        <a:pt x="210" y="44"/>
                      </a:lnTo>
                      <a:lnTo>
                        <a:pt x="219" y="44"/>
                      </a:lnTo>
                      <a:lnTo>
                        <a:pt x="223" y="49"/>
                      </a:lnTo>
                      <a:lnTo>
                        <a:pt x="223" y="53"/>
                      </a:lnTo>
                      <a:lnTo>
                        <a:pt x="232" y="53"/>
                      </a:lnTo>
                      <a:lnTo>
                        <a:pt x="232" y="58"/>
                      </a:lnTo>
                      <a:lnTo>
                        <a:pt x="236" y="53"/>
                      </a:lnTo>
                      <a:lnTo>
                        <a:pt x="241" y="58"/>
                      </a:lnTo>
                      <a:lnTo>
                        <a:pt x="254" y="67"/>
                      </a:lnTo>
                      <a:lnTo>
                        <a:pt x="250" y="71"/>
                      </a:lnTo>
                      <a:lnTo>
                        <a:pt x="254" y="75"/>
                      </a:lnTo>
                      <a:lnTo>
                        <a:pt x="250" y="80"/>
                      </a:lnTo>
                      <a:lnTo>
                        <a:pt x="254" y="84"/>
                      </a:lnTo>
                      <a:lnTo>
                        <a:pt x="250" y="93"/>
                      </a:lnTo>
                      <a:lnTo>
                        <a:pt x="241" y="98"/>
                      </a:lnTo>
                      <a:lnTo>
                        <a:pt x="232" y="111"/>
                      </a:lnTo>
                      <a:lnTo>
                        <a:pt x="223" y="111"/>
                      </a:lnTo>
                      <a:lnTo>
                        <a:pt x="205" y="120"/>
                      </a:lnTo>
                      <a:lnTo>
                        <a:pt x="196" y="125"/>
                      </a:lnTo>
                      <a:lnTo>
                        <a:pt x="192" y="125"/>
                      </a:lnTo>
                      <a:lnTo>
                        <a:pt x="187" y="129"/>
                      </a:lnTo>
                      <a:lnTo>
                        <a:pt x="183" y="125"/>
                      </a:lnTo>
                      <a:lnTo>
                        <a:pt x="174" y="134"/>
                      </a:lnTo>
                      <a:lnTo>
                        <a:pt x="192" y="147"/>
                      </a:lnTo>
                      <a:lnTo>
                        <a:pt x="205" y="147"/>
                      </a:lnTo>
                      <a:lnTo>
                        <a:pt x="201" y="156"/>
                      </a:lnTo>
                      <a:lnTo>
                        <a:pt x="196" y="156"/>
                      </a:lnTo>
                      <a:lnTo>
                        <a:pt x="192" y="156"/>
                      </a:lnTo>
                      <a:lnTo>
                        <a:pt x="183" y="160"/>
                      </a:lnTo>
                      <a:lnTo>
                        <a:pt x="178" y="160"/>
                      </a:lnTo>
                      <a:lnTo>
                        <a:pt x="169" y="169"/>
                      </a:lnTo>
                      <a:lnTo>
                        <a:pt x="156" y="165"/>
                      </a:lnTo>
                      <a:lnTo>
                        <a:pt x="160" y="160"/>
                      </a:lnTo>
                      <a:lnTo>
                        <a:pt x="160" y="151"/>
                      </a:lnTo>
                      <a:lnTo>
                        <a:pt x="156" y="151"/>
                      </a:lnTo>
                      <a:lnTo>
                        <a:pt x="147" y="147"/>
                      </a:lnTo>
                      <a:lnTo>
                        <a:pt x="156" y="138"/>
                      </a:lnTo>
                      <a:lnTo>
                        <a:pt x="165" y="138"/>
                      </a:lnTo>
                      <a:lnTo>
                        <a:pt x="160" y="134"/>
                      </a:lnTo>
                      <a:lnTo>
                        <a:pt x="156" y="129"/>
                      </a:lnTo>
                      <a:lnTo>
                        <a:pt x="134" y="134"/>
                      </a:lnTo>
                      <a:lnTo>
                        <a:pt x="138" y="129"/>
                      </a:lnTo>
                      <a:lnTo>
                        <a:pt x="129" y="125"/>
                      </a:lnTo>
                      <a:lnTo>
                        <a:pt x="138" y="120"/>
                      </a:lnTo>
                      <a:lnTo>
                        <a:pt x="125" y="125"/>
                      </a:lnTo>
                      <a:lnTo>
                        <a:pt x="116" y="129"/>
                      </a:lnTo>
                      <a:lnTo>
                        <a:pt x="111" y="125"/>
                      </a:lnTo>
                      <a:lnTo>
                        <a:pt x="111" y="129"/>
                      </a:lnTo>
                      <a:lnTo>
                        <a:pt x="116" y="134"/>
                      </a:lnTo>
                      <a:lnTo>
                        <a:pt x="111" y="143"/>
                      </a:lnTo>
                      <a:lnTo>
                        <a:pt x="102" y="147"/>
                      </a:lnTo>
                      <a:lnTo>
                        <a:pt x="102" y="151"/>
                      </a:lnTo>
                      <a:lnTo>
                        <a:pt x="98" y="151"/>
                      </a:lnTo>
                      <a:lnTo>
                        <a:pt x="89" y="156"/>
                      </a:lnTo>
                      <a:lnTo>
                        <a:pt x="85" y="151"/>
                      </a:lnTo>
                      <a:lnTo>
                        <a:pt x="80" y="147"/>
                      </a:lnTo>
                      <a:lnTo>
                        <a:pt x="89" y="147"/>
                      </a:lnTo>
                      <a:lnTo>
                        <a:pt x="93" y="143"/>
                      </a:lnTo>
                      <a:lnTo>
                        <a:pt x="93" y="138"/>
                      </a:lnTo>
                      <a:lnTo>
                        <a:pt x="93" y="129"/>
                      </a:lnTo>
                      <a:lnTo>
                        <a:pt x="98" y="134"/>
                      </a:lnTo>
                      <a:lnTo>
                        <a:pt x="98" y="129"/>
                      </a:lnTo>
                      <a:lnTo>
                        <a:pt x="102" y="129"/>
                      </a:lnTo>
                      <a:lnTo>
                        <a:pt x="107" y="129"/>
                      </a:lnTo>
                      <a:lnTo>
                        <a:pt x="107" y="120"/>
                      </a:lnTo>
                      <a:lnTo>
                        <a:pt x="102" y="111"/>
                      </a:lnTo>
                      <a:lnTo>
                        <a:pt x="102" y="102"/>
                      </a:lnTo>
                      <a:lnTo>
                        <a:pt x="89" y="93"/>
                      </a:lnTo>
                      <a:lnTo>
                        <a:pt x="85" y="93"/>
                      </a:lnTo>
                      <a:lnTo>
                        <a:pt x="80" y="89"/>
                      </a:lnTo>
                      <a:lnTo>
                        <a:pt x="76" y="93"/>
                      </a:lnTo>
                      <a:lnTo>
                        <a:pt x="76" y="89"/>
                      </a:lnTo>
                      <a:lnTo>
                        <a:pt x="62" y="89"/>
                      </a:lnTo>
                      <a:lnTo>
                        <a:pt x="40" y="98"/>
                      </a:lnTo>
                      <a:lnTo>
                        <a:pt x="13" y="93"/>
                      </a:lnTo>
                      <a:lnTo>
                        <a:pt x="9" y="98"/>
                      </a:lnTo>
                      <a:lnTo>
                        <a:pt x="0" y="84"/>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64" name="Freeform 204">
                  <a:extLst>
                    <a:ext uri="{FF2B5EF4-FFF2-40B4-BE49-F238E27FC236}">
                      <a16:creationId xmlns:a16="http://schemas.microsoft.com/office/drawing/2014/main" id="{437377F8-E9F0-484B-A2DA-260BBC637FB9}"/>
                    </a:ext>
                  </a:extLst>
                </p:cNvPr>
                <p:cNvSpPr>
                  <a:spLocks/>
                </p:cNvSpPr>
                <p:nvPr/>
              </p:nvSpPr>
              <p:spPr bwMode="gray">
                <a:xfrm>
                  <a:off x="3022" y="2096"/>
                  <a:ext cx="36" cy="35"/>
                </a:xfrm>
                <a:custGeom>
                  <a:avLst/>
                  <a:gdLst>
                    <a:gd name="T0" fmla="*/ 9 w 36"/>
                    <a:gd name="T1" fmla="*/ 35 h 35"/>
                    <a:gd name="T2" fmla="*/ 0 w 36"/>
                    <a:gd name="T3" fmla="*/ 31 h 35"/>
                    <a:gd name="T4" fmla="*/ 0 w 36"/>
                    <a:gd name="T5" fmla="*/ 8 h 35"/>
                    <a:gd name="T6" fmla="*/ 9 w 36"/>
                    <a:gd name="T7" fmla="*/ 4 h 35"/>
                    <a:gd name="T8" fmla="*/ 9 w 36"/>
                    <a:gd name="T9" fmla="*/ 4 h 35"/>
                    <a:gd name="T10" fmla="*/ 23 w 36"/>
                    <a:gd name="T11" fmla="*/ 0 h 35"/>
                    <a:gd name="T12" fmla="*/ 27 w 36"/>
                    <a:gd name="T13" fmla="*/ 4 h 35"/>
                    <a:gd name="T14" fmla="*/ 36 w 36"/>
                    <a:gd name="T15" fmla="*/ 8 h 35"/>
                    <a:gd name="T16" fmla="*/ 36 w 36"/>
                    <a:gd name="T17" fmla="*/ 22 h 35"/>
                    <a:gd name="T18" fmla="*/ 27 w 36"/>
                    <a:gd name="T19" fmla="*/ 26 h 35"/>
                    <a:gd name="T20" fmla="*/ 23 w 36"/>
                    <a:gd name="T21" fmla="*/ 26 h 35"/>
                    <a:gd name="T22" fmla="*/ 18 w 36"/>
                    <a:gd name="T23" fmla="*/ 31 h 35"/>
                    <a:gd name="T24" fmla="*/ 9 w 36"/>
                    <a:gd name="T2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35">
                      <a:moveTo>
                        <a:pt x="9" y="35"/>
                      </a:moveTo>
                      <a:lnTo>
                        <a:pt x="0" y="31"/>
                      </a:lnTo>
                      <a:lnTo>
                        <a:pt x="0" y="8"/>
                      </a:lnTo>
                      <a:lnTo>
                        <a:pt x="9" y="4"/>
                      </a:lnTo>
                      <a:lnTo>
                        <a:pt x="9" y="4"/>
                      </a:lnTo>
                      <a:lnTo>
                        <a:pt x="23" y="0"/>
                      </a:lnTo>
                      <a:lnTo>
                        <a:pt x="27" y="4"/>
                      </a:lnTo>
                      <a:lnTo>
                        <a:pt x="36" y="8"/>
                      </a:lnTo>
                      <a:lnTo>
                        <a:pt x="36" y="22"/>
                      </a:lnTo>
                      <a:lnTo>
                        <a:pt x="27" y="26"/>
                      </a:lnTo>
                      <a:lnTo>
                        <a:pt x="23" y="26"/>
                      </a:lnTo>
                      <a:lnTo>
                        <a:pt x="18" y="31"/>
                      </a:lnTo>
                      <a:lnTo>
                        <a:pt x="9" y="35"/>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65" name="Freeform 205">
                  <a:extLst>
                    <a:ext uri="{FF2B5EF4-FFF2-40B4-BE49-F238E27FC236}">
                      <a16:creationId xmlns:a16="http://schemas.microsoft.com/office/drawing/2014/main" id="{7926582D-74B6-437E-B205-CCB52BA7FA1A}"/>
                    </a:ext>
                  </a:extLst>
                </p:cNvPr>
                <p:cNvSpPr>
                  <a:spLocks noEditPoints="1"/>
                </p:cNvSpPr>
                <p:nvPr/>
              </p:nvSpPr>
              <p:spPr bwMode="gray">
                <a:xfrm>
                  <a:off x="2607" y="1667"/>
                  <a:ext cx="147" cy="272"/>
                </a:xfrm>
                <a:custGeom>
                  <a:avLst/>
                  <a:gdLst>
                    <a:gd name="T0" fmla="*/ 22 w 147"/>
                    <a:gd name="T1" fmla="*/ 71 h 272"/>
                    <a:gd name="T2" fmla="*/ 31 w 147"/>
                    <a:gd name="T3" fmla="*/ 53 h 272"/>
                    <a:gd name="T4" fmla="*/ 18 w 147"/>
                    <a:gd name="T5" fmla="*/ 80 h 272"/>
                    <a:gd name="T6" fmla="*/ 13 w 147"/>
                    <a:gd name="T7" fmla="*/ 165 h 272"/>
                    <a:gd name="T8" fmla="*/ 4 w 147"/>
                    <a:gd name="T9" fmla="*/ 156 h 272"/>
                    <a:gd name="T10" fmla="*/ 22 w 147"/>
                    <a:gd name="T11" fmla="*/ 143 h 272"/>
                    <a:gd name="T12" fmla="*/ 36 w 147"/>
                    <a:gd name="T13" fmla="*/ 156 h 272"/>
                    <a:gd name="T14" fmla="*/ 36 w 147"/>
                    <a:gd name="T15" fmla="*/ 89 h 272"/>
                    <a:gd name="T16" fmla="*/ 27 w 147"/>
                    <a:gd name="T17" fmla="*/ 80 h 272"/>
                    <a:gd name="T18" fmla="*/ 31 w 147"/>
                    <a:gd name="T19" fmla="*/ 93 h 272"/>
                    <a:gd name="T20" fmla="*/ 76 w 147"/>
                    <a:gd name="T21" fmla="*/ 49 h 272"/>
                    <a:gd name="T22" fmla="*/ 45 w 147"/>
                    <a:gd name="T23" fmla="*/ 62 h 272"/>
                    <a:gd name="T24" fmla="*/ 36 w 147"/>
                    <a:gd name="T25" fmla="*/ 98 h 272"/>
                    <a:gd name="T26" fmla="*/ 27 w 147"/>
                    <a:gd name="T27" fmla="*/ 107 h 272"/>
                    <a:gd name="T28" fmla="*/ 36 w 147"/>
                    <a:gd name="T29" fmla="*/ 111 h 272"/>
                    <a:gd name="T30" fmla="*/ 36 w 147"/>
                    <a:gd name="T31" fmla="*/ 120 h 272"/>
                    <a:gd name="T32" fmla="*/ 40 w 147"/>
                    <a:gd name="T33" fmla="*/ 138 h 272"/>
                    <a:gd name="T34" fmla="*/ 45 w 147"/>
                    <a:gd name="T35" fmla="*/ 125 h 272"/>
                    <a:gd name="T36" fmla="*/ 54 w 147"/>
                    <a:gd name="T37" fmla="*/ 143 h 272"/>
                    <a:gd name="T38" fmla="*/ 58 w 147"/>
                    <a:gd name="T39" fmla="*/ 156 h 272"/>
                    <a:gd name="T40" fmla="*/ 71 w 147"/>
                    <a:gd name="T41" fmla="*/ 151 h 272"/>
                    <a:gd name="T42" fmla="*/ 76 w 147"/>
                    <a:gd name="T43" fmla="*/ 174 h 272"/>
                    <a:gd name="T44" fmla="*/ 76 w 147"/>
                    <a:gd name="T45" fmla="*/ 183 h 272"/>
                    <a:gd name="T46" fmla="*/ 54 w 147"/>
                    <a:gd name="T47" fmla="*/ 187 h 272"/>
                    <a:gd name="T48" fmla="*/ 67 w 147"/>
                    <a:gd name="T49" fmla="*/ 196 h 272"/>
                    <a:gd name="T50" fmla="*/ 45 w 147"/>
                    <a:gd name="T51" fmla="*/ 223 h 272"/>
                    <a:gd name="T52" fmla="*/ 67 w 147"/>
                    <a:gd name="T53" fmla="*/ 232 h 272"/>
                    <a:gd name="T54" fmla="*/ 76 w 147"/>
                    <a:gd name="T55" fmla="*/ 236 h 272"/>
                    <a:gd name="T56" fmla="*/ 49 w 147"/>
                    <a:gd name="T57" fmla="*/ 254 h 272"/>
                    <a:gd name="T58" fmla="*/ 40 w 147"/>
                    <a:gd name="T59" fmla="*/ 268 h 272"/>
                    <a:gd name="T60" fmla="*/ 58 w 147"/>
                    <a:gd name="T61" fmla="*/ 259 h 272"/>
                    <a:gd name="T62" fmla="*/ 89 w 147"/>
                    <a:gd name="T63" fmla="*/ 254 h 272"/>
                    <a:gd name="T64" fmla="*/ 98 w 147"/>
                    <a:gd name="T65" fmla="*/ 254 h 272"/>
                    <a:gd name="T66" fmla="*/ 121 w 147"/>
                    <a:gd name="T67" fmla="*/ 250 h 272"/>
                    <a:gd name="T68" fmla="*/ 143 w 147"/>
                    <a:gd name="T69" fmla="*/ 232 h 272"/>
                    <a:gd name="T70" fmla="*/ 143 w 147"/>
                    <a:gd name="T71" fmla="*/ 223 h 272"/>
                    <a:gd name="T72" fmla="*/ 129 w 147"/>
                    <a:gd name="T73" fmla="*/ 201 h 272"/>
                    <a:gd name="T74" fmla="*/ 121 w 147"/>
                    <a:gd name="T75" fmla="*/ 183 h 272"/>
                    <a:gd name="T76" fmla="*/ 103 w 147"/>
                    <a:gd name="T77" fmla="*/ 151 h 272"/>
                    <a:gd name="T78" fmla="*/ 85 w 147"/>
                    <a:gd name="T79" fmla="*/ 125 h 272"/>
                    <a:gd name="T80" fmla="*/ 89 w 147"/>
                    <a:gd name="T81" fmla="*/ 111 h 272"/>
                    <a:gd name="T82" fmla="*/ 98 w 147"/>
                    <a:gd name="T83" fmla="*/ 80 h 272"/>
                    <a:gd name="T84" fmla="*/ 62 w 147"/>
                    <a:gd name="T85" fmla="*/ 80 h 272"/>
                    <a:gd name="T86" fmla="*/ 67 w 147"/>
                    <a:gd name="T87" fmla="*/ 71 h 272"/>
                    <a:gd name="T88" fmla="*/ 76 w 147"/>
                    <a:gd name="T89" fmla="*/ 44 h 272"/>
                    <a:gd name="T90" fmla="*/ 76 w 147"/>
                    <a:gd name="T91" fmla="*/ 40 h 272"/>
                    <a:gd name="T92" fmla="*/ 107 w 147"/>
                    <a:gd name="T93" fmla="*/ 13 h 272"/>
                    <a:gd name="T94" fmla="*/ 103 w 147"/>
                    <a:gd name="T95" fmla="*/ 17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 h="272">
                      <a:moveTo>
                        <a:pt x="13" y="98"/>
                      </a:moveTo>
                      <a:lnTo>
                        <a:pt x="18" y="93"/>
                      </a:lnTo>
                      <a:lnTo>
                        <a:pt x="22" y="76"/>
                      </a:lnTo>
                      <a:lnTo>
                        <a:pt x="22" y="71"/>
                      </a:lnTo>
                      <a:lnTo>
                        <a:pt x="27" y="67"/>
                      </a:lnTo>
                      <a:lnTo>
                        <a:pt x="27" y="67"/>
                      </a:lnTo>
                      <a:lnTo>
                        <a:pt x="31" y="58"/>
                      </a:lnTo>
                      <a:lnTo>
                        <a:pt x="31" y="53"/>
                      </a:lnTo>
                      <a:lnTo>
                        <a:pt x="22" y="58"/>
                      </a:lnTo>
                      <a:lnTo>
                        <a:pt x="18" y="76"/>
                      </a:lnTo>
                      <a:lnTo>
                        <a:pt x="13" y="76"/>
                      </a:lnTo>
                      <a:lnTo>
                        <a:pt x="18" y="80"/>
                      </a:lnTo>
                      <a:lnTo>
                        <a:pt x="13" y="98"/>
                      </a:lnTo>
                      <a:close/>
                      <a:moveTo>
                        <a:pt x="27" y="169"/>
                      </a:moveTo>
                      <a:lnTo>
                        <a:pt x="22" y="169"/>
                      </a:lnTo>
                      <a:lnTo>
                        <a:pt x="13" y="165"/>
                      </a:lnTo>
                      <a:lnTo>
                        <a:pt x="13" y="174"/>
                      </a:lnTo>
                      <a:lnTo>
                        <a:pt x="0" y="169"/>
                      </a:lnTo>
                      <a:lnTo>
                        <a:pt x="0" y="165"/>
                      </a:lnTo>
                      <a:lnTo>
                        <a:pt x="4" y="156"/>
                      </a:lnTo>
                      <a:lnTo>
                        <a:pt x="9" y="156"/>
                      </a:lnTo>
                      <a:lnTo>
                        <a:pt x="13" y="151"/>
                      </a:lnTo>
                      <a:lnTo>
                        <a:pt x="18" y="143"/>
                      </a:lnTo>
                      <a:lnTo>
                        <a:pt x="22" y="143"/>
                      </a:lnTo>
                      <a:lnTo>
                        <a:pt x="31" y="143"/>
                      </a:lnTo>
                      <a:lnTo>
                        <a:pt x="36" y="151"/>
                      </a:lnTo>
                      <a:lnTo>
                        <a:pt x="31" y="156"/>
                      </a:lnTo>
                      <a:lnTo>
                        <a:pt x="36" y="156"/>
                      </a:lnTo>
                      <a:lnTo>
                        <a:pt x="40" y="160"/>
                      </a:lnTo>
                      <a:lnTo>
                        <a:pt x="36" y="165"/>
                      </a:lnTo>
                      <a:lnTo>
                        <a:pt x="27" y="169"/>
                      </a:lnTo>
                      <a:close/>
                      <a:moveTo>
                        <a:pt x="36" y="89"/>
                      </a:moveTo>
                      <a:lnTo>
                        <a:pt x="31" y="84"/>
                      </a:lnTo>
                      <a:lnTo>
                        <a:pt x="31" y="80"/>
                      </a:lnTo>
                      <a:lnTo>
                        <a:pt x="27" y="76"/>
                      </a:lnTo>
                      <a:lnTo>
                        <a:pt x="27" y="80"/>
                      </a:lnTo>
                      <a:lnTo>
                        <a:pt x="22" y="89"/>
                      </a:lnTo>
                      <a:lnTo>
                        <a:pt x="27" y="89"/>
                      </a:lnTo>
                      <a:lnTo>
                        <a:pt x="27" y="93"/>
                      </a:lnTo>
                      <a:lnTo>
                        <a:pt x="31" y="93"/>
                      </a:lnTo>
                      <a:lnTo>
                        <a:pt x="36" y="89"/>
                      </a:lnTo>
                      <a:close/>
                      <a:moveTo>
                        <a:pt x="62" y="71"/>
                      </a:moveTo>
                      <a:lnTo>
                        <a:pt x="76" y="58"/>
                      </a:lnTo>
                      <a:lnTo>
                        <a:pt x="76" y="49"/>
                      </a:lnTo>
                      <a:lnTo>
                        <a:pt x="58" y="53"/>
                      </a:lnTo>
                      <a:lnTo>
                        <a:pt x="49" y="49"/>
                      </a:lnTo>
                      <a:lnTo>
                        <a:pt x="45" y="62"/>
                      </a:lnTo>
                      <a:lnTo>
                        <a:pt x="45" y="62"/>
                      </a:lnTo>
                      <a:lnTo>
                        <a:pt x="40" y="67"/>
                      </a:lnTo>
                      <a:lnTo>
                        <a:pt x="36" y="71"/>
                      </a:lnTo>
                      <a:lnTo>
                        <a:pt x="36" y="84"/>
                      </a:lnTo>
                      <a:lnTo>
                        <a:pt x="36" y="98"/>
                      </a:lnTo>
                      <a:lnTo>
                        <a:pt x="36" y="102"/>
                      </a:lnTo>
                      <a:lnTo>
                        <a:pt x="36" y="107"/>
                      </a:lnTo>
                      <a:lnTo>
                        <a:pt x="31" y="107"/>
                      </a:lnTo>
                      <a:lnTo>
                        <a:pt x="27" y="107"/>
                      </a:lnTo>
                      <a:lnTo>
                        <a:pt x="31" y="111"/>
                      </a:lnTo>
                      <a:lnTo>
                        <a:pt x="27" y="111"/>
                      </a:lnTo>
                      <a:lnTo>
                        <a:pt x="27" y="116"/>
                      </a:lnTo>
                      <a:lnTo>
                        <a:pt x="36" y="111"/>
                      </a:lnTo>
                      <a:lnTo>
                        <a:pt x="45" y="102"/>
                      </a:lnTo>
                      <a:lnTo>
                        <a:pt x="49" y="102"/>
                      </a:lnTo>
                      <a:lnTo>
                        <a:pt x="36" y="120"/>
                      </a:lnTo>
                      <a:lnTo>
                        <a:pt x="36" y="120"/>
                      </a:lnTo>
                      <a:lnTo>
                        <a:pt x="31" y="125"/>
                      </a:lnTo>
                      <a:lnTo>
                        <a:pt x="36" y="125"/>
                      </a:lnTo>
                      <a:lnTo>
                        <a:pt x="40" y="134"/>
                      </a:lnTo>
                      <a:lnTo>
                        <a:pt x="40" y="138"/>
                      </a:lnTo>
                      <a:lnTo>
                        <a:pt x="45" y="138"/>
                      </a:lnTo>
                      <a:lnTo>
                        <a:pt x="45" y="134"/>
                      </a:lnTo>
                      <a:lnTo>
                        <a:pt x="49" y="134"/>
                      </a:lnTo>
                      <a:lnTo>
                        <a:pt x="45" y="125"/>
                      </a:lnTo>
                      <a:lnTo>
                        <a:pt x="49" y="125"/>
                      </a:lnTo>
                      <a:lnTo>
                        <a:pt x="49" y="134"/>
                      </a:lnTo>
                      <a:lnTo>
                        <a:pt x="54" y="134"/>
                      </a:lnTo>
                      <a:lnTo>
                        <a:pt x="54" y="143"/>
                      </a:lnTo>
                      <a:lnTo>
                        <a:pt x="49" y="151"/>
                      </a:lnTo>
                      <a:lnTo>
                        <a:pt x="54" y="160"/>
                      </a:lnTo>
                      <a:lnTo>
                        <a:pt x="54" y="156"/>
                      </a:lnTo>
                      <a:lnTo>
                        <a:pt x="58" y="156"/>
                      </a:lnTo>
                      <a:lnTo>
                        <a:pt x="62" y="156"/>
                      </a:lnTo>
                      <a:lnTo>
                        <a:pt x="58" y="151"/>
                      </a:lnTo>
                      <a:lnTo>
                        <a:pt x="67" y="156"/>
                      </a:lnTo>
                      <a:lnTo>
                        <a:pt x="71" y="151"/>
                      </a:lnTo>
                      <a:lnTo>
                        <a:pt x="80" y="151"/>
                      </a:lnTo>
                      <a:lnTo>
                        <a:pt x="76" y="156"/>
                      </a:lnTo>
                      <a:lnTo>
                        <a:pt x="71" y="160"/>
                      </a:lnTo>
                      <a:lnTo>
                        <a:pt x="76" y="174"/>
                      </a:lnTo>
                      <a:lnTo>
                        <a:pt x="80" y="169"/>
                      </a:lnTo>
                      <a:lnTo>
                        <a:pt x="85" y="169"/>
                      </a:lnTo>
                      <a:lnTo>
                        <a:pt x="76" y="174"/>
                      </a:lnTo>
                      <a:lnTo>
                        <a:pt x="76" y="183"/>
                      </a:lnTo>
                      <a:lnTo>
                        <a:pt x="80" y="187"/>
                      </a:lnTo>
                      <a:lnTo>
                        <a:pt x="62" y="187"/>
                      </a:lnTo>
                      <a:lnTo>
                        <a:pt x="58" y="187"/>
                      </a:lnTo>
                      <a:lnTo>
                        <a:pt x="54" y="187"/>
                      </a:lnTo>
                      <a:lnTo>
                        <a:pt x="58" y="192"/>
                      </a:lnTo>
                      <a:lnTo>
                        <a:pt x="54" y="201"/>
                      </a:lnTo>
                      <a:lnTo>
                        <a:pt x="62" y="196"/>
                      </a:lnTo>
                      <a:lnTo>
                        <a:pt x="67" y="196"/>
                      </a:lnTo>
                      <a:lnTo>
                        <a:pt x="67" y="205"/>
                      </a:lnTo>
                      <a:lnTo>
                        <a:pt x="67" y="210"/>
                      </a:lnTo>
                      <a:lnTo>
                        <a:pt x="62" y="219"/>
                      </a:lnTo>
                      <a:lnTo>
                        <a:pt x="45" y="223"/>
                      </a:lnTo>
                      <a:lnTo>
                        <a:pt x="49" y="232"/>
                      </a:lnTo>
                      <a:lnTo>
                        <a:pt x="58" y="223"/>
                      </a:lnTo>
                      <a:lnTo>
                        <a:pt x="62" y="232"/>
                      </a:lnTo>
                      <a:lnTo>
                        <a:pt x="67" y="232"/>
                      </a:lnTo>
                      <a:lnTo>
                        <a:pt x="71" y="232"/>
                      </a:lnTo>
                      <a:lnTo>
                        <a:pt x="76" y="227"/>
                      </a:lnTo>
                      <a:lnTo>
                        <a:pt x="80" y="227"/>
                      </a:lnTo>
                      <a:lnTo>
                        <a:pt x="76" y="236"/>
                      </a:lnTo>
                      <a:lnTo>
                        <a:pt x="62" y="241"/>
                      </a:lnTo>
                      <a:lnTo>
                        <a:pt x="58" y="245"/>
                      </a:lnTo>
                      <a:lnTo>
                        <a:pt x="54" y="250"/>
                      </a:lnTo>
                      <a:lnTo>
                        <a:pt x="49" y="254"/>
                      </a:lnTo>
                      <a:lnTo>
                        <a:pt x="45" y="259"/>
                      </a:lnTo>
                      <a:lnTo>
                        <a:pt x="40" y="263"/>
                      </a:lnTo>
                      <a:lnTo>
                        <a:pt x="36" y="268"/>
                      </a:lnTo>
                      <a:lnTo>
                        <a:pt x="40" y="268"/>
                      </a:lnTo>
                      <a:lnTo>
                        <a:pt x="45" y="268"/>
                      </a:lnTo>
                      <a:lnTo>
                        <a:pt x="45" y="272"/>
                      </a:lnTo>
                      <a:lnTo>
                        <a:pt x="49" y="263"/>
                      </a:lnTo>
                      <a:lnTo>
                        <a:pt x="58" y="259"/>
                      </a:lnTo>
                      <a:lnTo>
                        <a:pt x="71" y="263"/>
                      </a:lnTo>
                      <a:lnTo>
                        <a:pt x="71" y="254"/>
                      </a:lnTo>
                      <a:lnTo>
                        <a:pt x="85" y="250"/>
                      </a:lnTo>
                      <a:lnTo>
                        <a:pt x="89" y="254"/>
                      </a:lnTo>
                      <a:lnTo>
                        <a:pt x="89" y="259"/>
                      </a:lnTo>
                      <a:lnTo>
                        <a:pt x="94" y="254"/>
                      </a:lnTo>
                      <a:lnTo>
                        <a:pt x="98" y="254"/>
                      </a:lnTo>
                      <a:lnTo>
                        <a:pt x="98" y="254"/>
                      </a:lnTo>
                      <a:lnTo>
                        <a:pt x="103" y="254"/>
                      </a:lnTo>
                      <a:lnTo>
                        <a:pt x="103" y="250"/>
                      </a:lnTo>
                      <a:lnTo>
                        <a:pt x="112" y="254"/>
                      </a:lnTo>
                      <a:lnTo>
                        <a:pt x="121" y="250"/>
                      </a:lnTo>
                      <a:lnTo>
                        <a:pt x="125" y="250"/>
                      </a:lnTo>
                      <a:lnTo>
                        <a:pt x="138" y="250"/>
                      </a:lnTo>
                      <a:lnTo>
                        <a:pt x="143" y="241"/>
                      </a:lnTo>
                      <a:lnTo>
                        <a:pt x="143" y="232"/>
                      </a:lnTo>
                      <a:lnTo>
                        <a:pt x="134" y="232"/>
                      </a:lnTo>
                      <a:lnTo>
                        <a:pt x="129" y="232"/>
                      </a:lnTo>
                      <a:lnTo>
                        <a:pt x="138" y="223"/>
                      </a:lnTo>
                      <a:lnTo>
                        <a:pt x="143" y="223"/>
                      </a:lnTo>
                      <a:lnTo>
                        <a:pt x="147" y="214"/>
                      </a:lnTo>
                      <a:lnTo>
                        <a:pt x="147" y="205"/>
                      </a:lnTo>
                      <a:lnTo>
                        <a:pt x="143" y="201"/>
                      </a:lnTo>
                      <a:lnTo>
                        <a:pt x="129" y="201"/>
                      </a:lnTo>
                      <a:lnTo>
                        <a:pt x="125" y="205"/>
                      </a:lnTo>
                      <a:lnTo>
                        <a:pt x="121" y="201"/>
                      </a:lnTo>
                      <a:lnTo>
                        <a:pt x="125" y="192"/>
                      </a:lnTo>
                      <a:lnTo>
                        <a:pt x="121" y="183"/>
                      </a:lnTo>
                      <a:lnTo>
                        <a:pt x="121" y="178"/>
                      </a:lnTo>
                      <a:lnTo>
                        <a:pt x="112" y="160"/>
                      </a:lnTo>
                      <a:lnTo>
                        <a:pt x="107" y="160"/>
                      </a:lnTo>
                      <a:lnTo>
                        <a:pt x="103" y="151"/>
                      </a:lnTo>
                      <a:lnTo>
                        <a:pt x="103" y="147"/>
                      </a:lnTo>
                      <a:lnTo>
                        <a:pt x="98" y="134"/>
                      </a:lnTo>
                      <a:lnTo>
                        <a:pt x="94" y="129"/>
                      </a:lnTo>
                      <a:lnTo>
                        <a:pt x="85" y="125"/>
                      </a:lnTo>
                      <a:lnTo>
                        <a:pt x="76" y="125"/>
                      </a:lnTo>
                      <a:lnTo>
                        <a:pt x="80" y="116"/>
                      </a:lnTo>
                      <a:lnTo>
                        <a:pt x="85" y="120"/>
                      </a:lnTo>
                      <a:lnTo>
                        <a:pt x="89" y="111"/>
                      </a:lnTo>
                      <a:lnTo>
                        <a:pt x="85" y="116"/>
                      </a:lnTo>
                      <a:lnTo>
                        <a:pt x="85" y="107"/>
                      </a:lnTo>
                      <a:lnTo>
                        <a:pt x="85" y="98"/>
                      </a:lnTo>
                      <a:lnTo>
                        <a:pt x="98" y="80"/>
                      </a:lnTo>
                      <a:lnTo>
                        <a:pt x="98" y="76"/>
                      </a:lnTo>
                      <a:lnTo>
                        <a:pt x="89" y="80"/>
                      </a:lnTo>
                      <a:lnTo>
                        <a:pt x="71" y="76"/>
                      </a:lnTo>
                      <a:lnTo>
                        <a:pt x="62" y="80"/>
                      </a:lnTo>
                      <a:lnTo>
                        <a:pt x="58" y="84"/>
                      </a:lnTo>
                      <a:lnTo>
                        <a:pt x="58" y="84"/>
                      </a:lnTo>
                      <a:lnTo>
                        <a:pt x="62" y="76"/>
                      </a:lnTo>
                      <a:lnTo>
                        <a:pt x="67" y="71"/>
                      </a:lnTo>
                      <a:lnTo>
                        <a:pt x="62" y="71"/>
                      </a:lnTo>
                      <a:close/>
                      <a:moveTo>
                        <a:pt x="71" y="35"/>
                      </a:moveTo>
                      <a:lnTo>
                        <a:pt x="71" y="44"/>
                      </a:lnTo>
                      <a:lnTo>
                        <a:pt x="76" y="44"/>
                      </a:lnTo>
                      <a:lnTo>
                        <a:pt x="76" y="40"/>
                      </a:lnTo>
                      <a:lnTo>
                        <a:pt x="80" y="44"/>
                      </a:lnTo>
                      <a:lnTo>
                        <a:pt x="80" y="40"/>
                      </a:lnTo>
                      <a:lnTo>
                        <a:pt x="76" y="40"/>
                      </a:lnTo>
                      <a:lnTo>
                        <a:pt x="80" y="31"/>
                      </a:lnTo>
                      <a:lnTo>
                        <a:pt x="71" y="35"/>
                      </a:lnTo>
                      <a:close/>
                      <a:moveTo>
                        <a:pt x="103" y="17"/>
                      </a:moveTo>
                      <a:lnTo>
                        <a:pt x="107" y="13"/>
                      </a:lnTo>
                      <a:lnTo>
                        <a:pt x="103" y="0"/>
                      </a:lnTo>
                      <a:lnTo>
                        <a:pt x="98" y="8"/>
                      </a:lnTo>
                      <a:lnTo>
                        <a:pt x="103" y="8"/>
                      </a:lnTo>
                      <a:lnTo>
                        <a:pt x="103" y="17"/>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66" name="Freeform 206">
                  <a:extLst>
                    <a:ext uri="{FF2B5EF4-FFF2-40B4-BE49-F238E27FC236}">
                      <a16:creationId xmlns:a16="http://schemas.microsoft.com/office/drawing/2014/main" id="{DF3D4D6B-8FD9-4995-9D64-F6143DB262B5}"/>
                    </a:ext>
                  </a:extLst>
                </p:cNvPr>
                <p:cNvSpPr>
                  <a:spLocks/>
                </p:cNvSpPr>
                <p:nvPr/>
              </p:nvSpPr>
              <p:spPr bwMode="gray">
                <a:xfrm>
                  <a:off x="2991" y="2020"/>
                  <a:ext cx="67" cy="84"/>
                </a:xfrm>
                <a:custGeom>
                  <a:avLst/>
                  <a:gdLst>
                    <a:gd name="T0" fmla="*/ 0 w 67"/>
                    <a:gd name="T1" fmla="*/ 67 h 84"/>
                    <a:gd name="T2" fmla="*/ 0 w 67"/>
                    <a:gd name="T3" fmla="*/ 67 h 84"/>
                    <a:gd name="T4" fmla="*/ 0 w 67"/>
                    <a:gd name="T5" fmla="*/ 67 h 84"/>
                    <a:gd name="T6" fmla="*/ 0 w 67"/>
                    <a:gd name="T7" fmla="*/ 62 h 84"/>
                    <a:gd name="T8" fmla="*/ 0 w 67"/>
                    <a:gd name="T9" fmla="*/ 62 h 84"/>
                    <a:gd name="T10" fmla="*/ 0 w 67"/>
                    <a:gd name="T11" fmla="*/ 58 h 84"/>
                    <a:gd name="T12" fmla="*/ 5 w 67"/>
                    <a:gd name="T13" fmla="*/ 53 h 84"/>
                    <a:gd name="T14" fmla="*/ 5 w 67"/>
                    <a:gd name="T15" fmla="*/ 53 h 84"/>
                    <a:gd name="T16" fmla="*/ 5 w 67"/>
                    <a:gd name="T17" fmla="*/ 53 h 84"/>
                    <a:gd name="T18" fmla="*/ 5 w 67"/>
                    <a:gd name="T19" fmla="*/ 49 h 84"/>
                    <a:gd name="T20" fmla="*/ 9 w 67"/>
                    <a:gd name="T21" fmla="*/ 49 h 84"/>
                    <a:gd name="T22" fmla="*/ 13 w 67"/>
                    <a:gd name="T23" fmla="*/ 44 h 84"/>
                    <a:gd name="T24" fmla="*/ 9 w 67"/>
                    <a:gd name="T25" fmla="*/ 40 h 84"/>
                    <a:gd name="T26" fmla="*/ 13 w 67"/>
                    <a:gd name="T27" fmla="*/ 40 h 84"/>
                    <a:gd name="T28" fmla="*/ 13 w 67"/>
                    <a:gd name="T29" fmla="*/ 40 h 84"/>
                    <a:gd name="T30" fmla="*/ 5 w 67"/>
                    <a:gd name="T31" fmla="*/ 35 h 84"/>
                    <a:gd name="T32" fmla="*/ 5 w 67"/>
                    <a:gd name="T33" fmla="*/ 31 h 84"/>
                    <a:gd name="T34" fmla="*/ 9 w 67"/>
                    <a:gd name="T35" fmla="*/ 26 h 84"/>
                    <a:gd name="T36" fmla="*/ 9 w 67"/>
                    <a:gd name="T37" fmla="*/ 22 h 84"/>
                    <a:gd name="T38" fmla="*/ 5 w 67"/>
                    <a:gd name="T39" fmla="*/ 22 h 84"/>
                    <a:gd name="T40" fmla="*/ 5 w 67"/>
                    <a:gd name="T41" fmla="*/ 17 h 84"/>
                    <a:gd name="T42" fmla="*/ 9 w 67"/>
                    <a:gd name="T43" fmla="*/ 17 h 84"/>
                    <a:gd name="T44" fmla="*/ 9 w 67"/>
                    <a:gd name="T45" fmla="*/ 13 h 84"/>
                    <a:gd name="T46" fmla="*/ 5 w 67"/>
                    <a:gd name="T47" fmla="*/ 13 h 84"/>
                    <a:gd name="T48" fmla="*/ 5 w 67"/>
                    <a:gd name="T49" fmla="*/ 13 h 84"/>
                    <a:gd name="T50" fmla="*/ 5 w 67"/>
                    <a:gd name="T51" fmla="*/ 9 h 84"/>
                    <a:gd name="T52" fmla="*/ 5 w 67"/>
                    <a:gd name="T53" fmla="*/ 9 h 84"/>
                    <a:gd name="T54" fmla="*/ 5 w 67"/>
                    <a:gd name="T55" fmla="*/ 4 h 84"/>
                    <a:gd name="T56" fmla="*/ 0 w 67"/>
                    <a:gd name="T57" fmla="*/ 4 h 84"/>
                    <a:gd name="T58" fmla="*/ 13 w 67"/>
                    <a:gd name="T59" fmla="*/ 0 h 84"/>
                    <a:gd name="T60" fmla="*/ 27 w 67"/>
                    <a:gd name="T61" fmla="*/ 0 h 84"/>
                    <a:gd name="T62" fmla="*/ 31 w 67"/>
                    <a:gd name="T63" fmla="*/ 9 h 84"/>
                    <a:gd name="T64" fmla="*/ 31 w 67"/>
                    <a:gd name="T65" fmla="*/ 17 h 84"/>
                    <a:gd name="T66" fmla="*/ 40 w 67"/>
                    <a:gd name="T67" fmla="*/ 26 h 84"/>
                    <a:gd name="T68" fmla="*/ 49 w 67"/>
                    <a:gd name="T69" fmla="*/ 31 h 84"/>
                    <a:gd name="T70" fmla="*/ 54 w 67"/>
                    <a:gd name="T71" fmla="*/ 31 h 84"/>
                    <a:gd name="T72" fmla="*/ 54 w 67"/>
                    <a:gd name="T73" fmla="*/ 35 h 84"/>
                    <a:gd name="T74" fmla="*/ 58 w 67"/>
                    <a:gd name="T75" fmla="*/ 35 h 84"/>
                    <a:gd name="T76" fmla="*/ 54 w 67"/>
                    <a:gd name="T77" fmla="*/ 53 h 84"/>
                    <a:gd name="T78" fmla="*/ 67 w 67"/>
                    <a:gd name="T79" fmla="*/ 62 h 84"/>
                    <a:gd name="T80" fmla="*/ 67 w 67"/>
                    <a:gd name="T81" fmla="*/ 67 h 84"/>
                    <a:gd name="T82" fmla="*/ 58 w 67"/>
                    <a:gd name="T83" fmla="*/ 71 h 84"/>
                    <a:gd name="T84" fmla="*/ 58 w 67"/>
                    <a:gd name="T85" fmla="*/ 80 h 84"/>
                    <a:gd name="T86" fmla="*/ 54 w 67"/>
                    <a:gd name="T87" fmla="*/ 76 h 84"/>
                    <a:gd name="T88" fmla="*/ 40 w 67"/>
                    <a:gd name="T89" fmla="*/ 80 h 84"/>
                    <a:gd name="T90" fmla="*/ 40 w 67"/>
                    <a:gd name="T91" fmla="*/ 80 h 84"/>
                    <a:gd name="T92" fmla="*/ 31 w 67"/>
                    <a:gd name="T93" fmla="*/ 84 h 84"/>
                    <a:gd name="T94" fmla="*/ 27 w 67"/>
                    <a:gd name="T95" fmla="*/ 84 h 84"/>
                    <a:gd name="T96" fmla="*/ 27 w 67"/>
                    <a:gd name="T97" fmla="*/ 76 h 84"/>
                    <a:gd name="T98" fmla="*/ 18 w 67"/>
                    <a:gd name="T99" fmla="*/ 71 h 84"/>
                    <a:gd name="T100" fmla="*/ 13 w 67"/>
                    <a:gd name="T101" fmla="*/ 84 h 84"/>
                    <a:gd name="T102" fmla="*/ 9 w 67"/>
                    <a:gd name="T103" fmla="*/ 84 h 84"/>
                    <a:gd name="T104" fmla="*/ 0 w 67"/>
                    <a:gd name="T105" fmla="*/ 71 h 84"/>
                    <a:gd name="T106" fmla="*/ 0 w 67"/>
                    <a:gd name="T107" fmla="*/ 71 h 84"/>
                    <a:gd name="T108" fmla="*/ 0 w 67"/>
                    <a:gd name="T109" fmla="*/ 6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 h="84">
                      <a:moveTo>
                        <a:pt x="0" y="67"/>
                      </a:moveTo>
                      <a:lnTo>
                        <a:pt x="0" y="67"/>
                      </a:lnTo>
                      <a:lnTo>
                        <a:pt x="0" y="67"/>
                      </a:lnTo>
                      <a:lnTo>
                        <a:pt x="0" y="62"/>
                      </a:lnTo>
                      <a:lnTo>
                        <a:pt x="0" y="62"/>
                      </a:lnTo>
                      <a:lnTo>
                        <a:pt x="0" y="58"/>
                      </a:lnTo>
                      <a:lnTo>
                        <a:pt x="5" y="53"/>
                      </a:lnTo>
                      <a:lnTo>
                        <a:pt x="5" y="53"/>
                      </a:lnTo>
                      <a:lnTo>
                        <a:pt x="5" y="53"/>
                      </a:lnTo>
                      <a:lnTo>
                        <a:pt x="5" y="49"/>
                      </a:lnTo>
                      <a:lnTo>
                        <a:pt x="9" y="49"/>
                      </a:lnTo>
                      <a:lnTo>
                        <a:pt x="13" y="44"/>
                      </a:lnTo>
                      <a:lnTo>
                        <a:pt x="9" y="40"/>
                      </a:lnTo>
                      <a:lnTo>
                        <a:pt x="13" y="40"/>
                      </a:lnTo>
                      <a:lnTo>
                        <a:pt x="13" y="40"/>
                      </a:lnTo>
                      <a:lnTo>
                        <a:pt x="5" y="35"/>
                      </a:lnTo>
                      <a:lnTo>
                        <a:pt x="5" y="31"/>
                      </a:lnTo>
                      <a:lnTo>
                        <a:pt x="9" y="26"/>
                      </a:lnTo>
                      <a:lnTo>
                        <a:pt x="9" y="22"/>
                      </a:lnTo>
                      <a:lnTo>
                        <a:pt x="5" y="22"/>
                      </a:lnTo>
                      <a:lnTo>
                        <a:pt x="5" y="17"/>
                      </a:lnTo>
                      <a:lnTo>
                        <a:pt x="9" y="17"/>
                      </a:lnTo>
                      <a:lnTo>
                        <a:pt x="9" y="13"/>
                      </a:lnTo>
                      <a:lnTo>
                        <a:pt x="5" y="13"/>
                      </a:lnTo>
                      <a:lnTo>
                        <a:pt x="5" y="13"/>
                      </a:lnTo>
                      <a:lnTo>
                        <a:pt x="5" y="9"/>
                      </a:lnTo>
                      <a:lnTo>
                        <a:pt x="5" y="9"/>
                      </a:lnTo>
                      <a:lnTo>
                        <a:pt x="5" y="4"/>
                      </a:lnTo>
                      <a:lnTo>
                        <a:pt x="0" y="4"/>
                      </a:lnTo>
                      <a:lnTo>
                        <a:pt x="13" y="0"/>
                      </a:lnTo>
                      <a:lnTo>
                        <a:pt x="27" y="0"/>
                      </a:lnTo>
                      <a:lnTo>
                        <a:pt x="31" y="9"/>
                      </a:lnTo>
                      <a:lnTo>
                        <a:pt x="31" y="17"/>
                      </a:lnTo>
                      <a:lnTo>
                        <a:pt x="40" y="26"/>
                      </a:lnTo>
                      <a:lnTo>
                        <a:pt x="49" y="31"/>
                      </a:lnTo>
                      <a:lnTo>
                        <a:pt x="54" y="31"/>
                      </a:lnTo>
                      <a:lnTo>
                        <a:pt x="54" y="35"/>
                      </a:lnTo>
                      <a:lnTo>
                        <a:pt x="58" y="35"/>
                      </a:lnTo>
                      <a:lnTo>
                        <a:pt x="54" y="53"/>
                      </a:lnTo>
                      <a:lnTo>
                        <a:pt x="67" y="62"/>
                      </a:lnTo>
                      <a:lnTo>
                        <a:pt x="67" y="67"/>
                      </a:lnTo>
                      <a:lnTo>
                        <a:pt x="58" y="71"/>
                      </a:lnTo>
                      <a:lnTo>
                        <a:pt x="58" y="80"/>
                      </a:lnTo>
                      <a:lnTo>
                        <a:pt x="54" y="76"/>
                      </a:lnTo>
                      <a:lnTo>
                        <a:pt x="40" y="80"/>
                      </a:lnTo>
                      <a:lnTo>
                        <a:pt x="40" y="80"/>
                      </a:lnTo>
                      <a:lnTo>
                        <a:pt x="31" y="84"/>
                      </a:lnTo>
                      <a:lnTo>
                        <a:pt x="27" y="84"/>
                      </a:lnTo>
                      <a:lnTo>
                        <a:pt x="27" y="76"/>
                      </a:lnTo>
                      <a:lnTo>
                        <a:pt x="18" y="71"/>
                      </a:lnTo>
                      <a:lnTo>
                        <a:pt x="13" y="84"/>
                      </a:lnTo>
                      <a:lnTo>
                        <a:pt x="9" y="84"/>
                      </a:lnTo>
                      <a:lnTo>
                        <a:pt x="0" y="71"/>
                      </a:lnTo>
                      <a:lnTo>
                        <a:pt x="0" y="71"/>
                      </a:lnTo>
                      <a:lnTo>
                        <a:pt x="0" y="67"/>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sp>
              <p:nvSpPr>
                <p:cNvPr id="67" name="Freeform 207">
                  <a:extLst>
                    <a:ext uri="{FF2B5EF4-FFF2-40B4-BE49-F238E27FC236}">
                      <a16:creationId xmlns:a16="http://schemas.microsoft.com/office/drawing/2014/main" id="{8BF7F395-2523-484F-9637-09E059873AC6}"/>
                    </a:ext>
                  </a:extLst>
                </p:cNvPr>
                <p:cNvSpPr>
                  <a:spLocks/>
                </p:cNvSpPr>
                <p:nvPr/>
              </p:nvSpPr>
              <p:spPr bwMode="gray">
                <a:xfrm>
                  <a:off x="2991" y="2091"/>
                  <a:ext cx="13" cy="13"/>
                </a:xfrm>
                <a:custGeom>
                  <a:avLst/>
                  <a:gdLst>
                    <a:gd name="T0" fmla="*/ 0 w 13"/>
                    <a:gd name="T1" fmla="*/ 0 h 13"/>
                    <a:gd name="T2" fmla="*/ 0 w 13"/>
                    <a:gd name="T3" fmla="*/ 0 h 13"/>
                    <a:gd name="T4" fmla="*/ 9 w 13"/>
                    <a:gd name="T5" fmla="*/ 13 h 13"/>
                    <a:gd name="T6" fmla="*/ 13 w 13"/>
                    <a:gd name="T7" fmla="*/ 13 h 13"/>
                  </a:gdLst>
                  <a:ahLst/>
                  <a:cxnLst>
                    <a:cxn ang="0">
                      <a:pos x="T0" y="T1"/>
                    </a:cxn>
                    <a:cxn ang="0">
                      <a:pos x="T2" y="T3"/>
                    </a:cxn>
                    <a:cxn ang="0">
                      <a:pos x="T4" y="T5"/>
                    </a:cxn>
                    <a:cxn ang="0">
                      <a:pos x="T6" y="T7"/>
                    </a:cxn>
                  </a:cxnLst>
                  <a:rect l="0" t="0" r="r" b="b"/>
                  <a:pathLst>
                    <a:path w="13" h="13">
                      <a:moveTo>
                        <a:pt x="0" y="0"/>
                      </a:moveTo>
                      <a:lnTo>
                        <a:pt x="0" y="0"/>
                      </a:lnTo>
                      <a:lnTo>
                        <a:pt x="9" y="13"/>
                      </a:lnTo>
                      <a:lnTo>
                        <a:pt x="13" y="13"/>
                      </a:lnTo>
                    </a:path>
                  </a:pathLst>
                </a:custGeom>
                <a:grpFill/>
                <a:ln w="9525" cmpd="sng">
                  <a:solidFill>
                    <a:schemeClr val="bg1"/>
                  </a:solidFill>
                  <a:prstDash val="solid"/>
                  <a:round/>
                  <a:headEnd/>
                  <a:tailEnd/>
                </a:ln>
              </p:spPr>
              <p:txBody>
                <a:bodyPr/>
                <a:lstStyle/>
                <a:p>
                  <a:endParaRPr lang="x-es-XL" dirty="0">
                    <a:latin typeface="Delivery" panose="020F0503020204020204" pitchFamily="34" charset="0"/>
                  </a:endParaRPr>
                </a:p>
              </p:txBody>
            </p:sp>
            <p:sp>
              <p:nvSpPr>
                <p:cNvPr id="68" name="Freeform 208">
                  <a:extLst>
                    <a:ext uri="{FF2B5EF4-FFF2-40B4-BE49-F238E27FC236}">
                      <a16:creationId xmlns:a16="http://schemas.microsoft.com/office/drawing/2014/main" id="{63AEB90B-BF56-4200-979A-5537CB65F595}"/>
                    </a:ext>
                  </a:extLst>
                </p:cNvPr>
                <p:cNvSpPr>
                  <a:spLocks noEditPoints="1"/>
                </p:cNvSpPr>
                <p:nvPr/>
              </p:nvSpPr>
              <p:spPr bwMode="gray">
                <a:xfrm>
                  <a:off x="2482" y="2069"/>
                  <a:ext cx="317" cy="290"/>
                </a:xfrm>
                <a:custGeom>
                  <a:avLst/>
                  <a:gdLst>
                    <a:gd name="T0" fmla="*/ 4 w 317"/>
                    <a:gd name="T1" fmla="*/ 290 h 290"/>
                    <a:gd name="T2" fmla="*/ 13 w 317"/>
                    <a:gd name="T3" fmla="*/ 277 h 290"/>
                    <a:gd name="T4" fmla="*/ 22 w 317"/>
                    <a:gd name="T5" fmla="*/ 286 h 290"/>
                    <a:gd name="T6" fmla="*/ 27 w 317"/>
                    <a:gd name="T7" fmla="*/ 290 h 290"/>
                    <a:gd name="T8" fmla="*/ 27 w 317"/>
                    <a:gd name="T9" fmla="*/ 286 h 290"/>
                    <a:gd name="T10" fmla="*/ 143 w 317"/>
                    <a:gd name="T11" fmla="*/ 125 h 290"/>
                    <a:gd name="T12" fmla="*/ 156 w 317"/>
                    <a:gd name="T13" fmla="*/ 138 h 290"/>
                    <a:gd name="T14" fmla="*/ 170 w 317"/>
                    <a:gd name="T15" fmla="*/ 147 h 290"/>
                    <a:gd name="T16" fmla="*/ 179 w 317"/>
                    <a:gd name="T17" fmla="*/ 143 h 290"/>
                    <a:gd name="T18" fmla="*/ 196 w 317"/>
                    <a:gd name="T19" fmla="*/ 138 h 290"/>
                    <a:gd name="T20" fmla="*/ 205 w 317"/>
                    <a:gd name="T21" fmla="*/ 138 h 290"/>
                    <a:gd name="T22" fmla="*/ 219 w 317"/>
                    <a:gd name="T23" fmla="*/ 134 h 290"/>
                    <a:gd name="T24" fmla="*/ 228 w 317"/>
                    <a:gd name="T25" fmla="*/ 125 h 290"/>
                    <a:gd name="T26" fmla="*/ 241 w 317"/>
                    <a:gd name="T27" fmla="*/ 111 h 290"/>
                    <a:gd name="T28" fmla="*/ 250 w 317"/>
                    <a:gd name="T29" fmla="*/ 98 h 290"/>
                    <a:gd name="T30" fmla="*/ 241 w 317"/>
                    <a:gd name="T31" fmla="*/ 89 h 290"/>
                    <a:gd name="T32" fmla="*/ 263 w 317"/>
                    <a:gd name="T33" fmla="*/ 53 h 290"/>
                    <a:gd name="T34" fmla="*/ 295 w 317"/>
                    <a:gd name="T35" fmla="*/ 35 h 290"/>
                    <a:gd name="T36" fmla="*/ 295 w 317"/>
                    <a:gd name="T37" fmla="*/ 31 h 290"/>
                    <a:gd name="T38" fmla="*/ 295 w 317"/>
                    <a:gd name="T39" fmla="*/ 27 h 290"/>
                    <a:gd name="T40" fmla="*/ 277 w 317"/>
                    <a:gd name="T41" fmla="*/ 27 h 290"/>
                    <a:gd name="T42" fmla="*/ 259 w 317"/>
                    <a:gd name="T43" fmla="*/ 22 h 290"/>
                    <a:gd name="T44" fmla="*/ 241 w 317"/>
                    <a:gd name="T45" fmla="*/ 22 h 290"/>
                    <a:gd name="T46" fmla="*/ 223 w 317"/>
                    <a:gd name="T47" fmla="*/ 4 h 290"/>
                    <a:gd name="T48" fmla="*/ 214 w 317"/>
                    <a:gd name="T49" fmla="*/ 4 h 290"/>
                    <a:gd name="T50" fmla="*/ 201 w 317"/>
                    <a:gd name="T51" fmla="*/ 4 h 290"/>
                    <a:gd name="T52" fmla="*/ 179 w 317"/>
                    <a:gd name="T53" fmla="*/ 4 h 290"/>
                    <a:gd name="T54" fmla="*/ 170 w 317"/>
                    <a:gd name="T55" fmla="*/ 0 h 290"/>
                    <a:gd name="T56" fmla="*/ 152 w 317"/>
                    <a:gd name="T57" fmla="*/ 4 h 290"/>
                    <a:gd name="T58" fmla="*/ 143 w 317"/>
                    <a:gd name="T59" fmla="*/ 0 h 290"/>
                    <a:gd name="T60" fmla="*/ 125 w 317"/>
                    <a:gd name="T61" fmla="*/ 0 h 290"/>
                    <a:gd name="T62" fmla="*/ 116 w 317"/>
                    <a:gd name="T63" fmla="*/ 4 h 290"/>
                    <a:gd name="T64" fmla="*/ 112 w 317"/>
                    <a:gd name="T65" fmla="*/ 18 h 290"/>
                    <a:gd name="T66" fmla="*/ 116 w 317"/>
                    <a:gd name="T67" fmla="*/ 22 h 290"/>
                    <a:gd name="T68" fmla="*/ 116 w 317"/>
                    <a:gd name="T69" fmla="*/ 31 h 290"/>
                    <a:gd name="T70" fmla="*/ 129 w 317"/>
                    <a:gd name="T71" fmla="*/ 31 h 290"/>
                    <a:gd name="T72" fmla="*/ 152 w 317"/>
                    <a:gd name="T73" fmla="*/ 40 h 290"/>
                    <a:gd name="T74" fmla="*/ 152 w 317"/>
                    <a:gd name="T75" fmla="*/ 53 h 290"/>
                    <a:gd name="T76" fmla="*/ 147 w 317"/>
                    <a:gd name="T77" fmla="*/ 71 h 290"/>
                    <a:gd name="T78" fmla="*/ 138 w 317"/>
                    <a:gd name="T79" fmla="*/ 85 h 290"/>
                    <a:gd name="T80" fmla="*/ 143 w 317"/>
                    <a:gd name="T81" fmla="*/ 107 h 290"/>
                    <a:gd name="T82" fmla="*/ 143 w 317"/>
                    <a:gd name="T83" fmla="*/ 116 h 290"/>
                    <a:gd name="T84" fmla="*/ 268 w 317"/>
                    <a:gd name="T85" fmla="*/ 94 h 290"/>
                    <a:gd name="T86" fmla="*/ 268 w 317"/>
                    <a:gd name="T87" fmla="*/ 103 h 290"/>
                    <a:gd name="T88" fmla="*/ 272 w 317"/>
                    <a:gd name="T89" fmla="*/ 103 h 290"/>
                    <a:gd name="T90" fmla="*/ 272 w 317"/>
                    <a:gd name="T91" fmla="*/ 94 h 290"/>
                    <a:gd name="T92" fmla="*/ 286 w 317"/>
                    <a:gd name="T93" fmla="*/ 85 h 290"/>
                    <a:gd name="T94" fmla="*/ 290 w 317"/>
                    <a:gd name="T95" fmla="*/ 89 h 290"/>
                    <a:gd name="T96" fmla="*/ 304 w 317"/>
                    <a:gd name="T97" fmla="*/ 85 h 290"/>
                    <a:gd name="T98" fmla="*/ 299 w 317"/>
                    <a:gd name="T99" fmla="*/ 76 h 290"/>
                    <a:gd name="T100" fmla="*/ 290 w 317"/>
                    <a:gd name="T101" fmla="*/ 80 h 290"/>
                    <a:gd name="T102" fmla="*/ 308 w 317"/>
                    <a:gd name="T103" fmla="*/ 71 h 290"/>
                    <a:gd name="T104" fmla="*/ 317 w 317"/>
                    <a:gd name="T105" fmla="*/ 80 h 290"/>
                    <a:gd name="T106" fmla="*/ 308 w 317"/>
                    <a:gd name="T107" fmla="*/ 7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7" h="290">
                      <a:moveTo>
                        <a:pt x="0" y="281"/>
                      </a:moveTo>
                      <a:lnTo>
                        <a:pt x="4" y="290"/>
                      </a:lnTo>
                      <a:lnTo>
                        <a:pt x="13" y="286"/>
                      </a:lnTo>
                      <a:lnTo>
                        <a:pt x="13" y="277"/>
                      </a:lnTo>
                      <a:lnTo>
                        <a:pt x="0" y="281"/>
                      </a:lnTo>
                      <a:close/>
                      <a:moveTo>
                        <a:pt x="22" y="286"/>
                      </a:moveTo>
                      <a:lnTo>
                        <a:pt x="18" y="290"/>
                      </a:lnTo>
                      <a:lnTo>
                        <a:pt x="27" y="290"/>
                      </a:lnTo>
                      <a:lnTo>
                        <a:pt x="27" y="286"/>
                      </a:lnTo>
                      <a:lnTo>
                        <a:pt x="27" y="286"/>
                      </a:lnTo>
                      <a:lnTo>
                        <a:pt x="22" y="286"/>
                      </a:lnTo>
                      <a:close/>
                      <a:moveTo>
                        <a:pt x="143" y="125"/>
                      </a:moveTo>
                      <a:lnTo>
                        <a:pt x="156" y="134"/>
                      </a:lnTo>
                      <a:lnTo>
                        <a:pt x="156" y="138"/>
                      </a:lnTo>
                      <a:lnTo>
                        <a:pt x="156" y="143"/>
                      </a:lnTo>
                      <a:lnTo>
                        <a:pt x="170" y="147"/>
                      </a:lnTo>
                      <a:lnTo>
                        <a:pt x="174" y="138"/>
                      </a:lnTo>
                      <a:lnTo>
                        <a:pt x="179" y="143"/>
                      </a:lnTo>
                      <a:lnTo>
                        <a:pt x="187" y="134"/>
                      </a:lnTo>
                      <a:lnTo>
                        <a:pt x="196" y="138"/>
                      </a:lnTo>
                      <a:lnTo>
                        <a:pt x="205" y="134"/>
                      </a:lnTo>
                      <a:lnTo>
                        <a:pt x="205" y="138"/>
                      </a:lnTo>
                      <a:lnTo>
                        <a:pt x="214" y="134"/>
                      </a:lnTo>
                      <a:lnTo>
                        <a:pt x="219" y="134"/>
                      </a:lnTo>
                      <a:lnTo>
                        <a:pt x="223" y="129"/>
                      </a:lnTo>
                      <a:lnTo>
                        <a:pt x="228" y="125"/>
                      </a:lnTo>
                      <a:lnTo>
                        <a:pt x="237" y="125"/>
                      </a:lnTo>
                      <a:lnTo>
                        <a:pt x="241" y="111"/>
                      </a:lnTo>
                      <a:lnTo>
                        <a:pt x="246" y="103"/>
                      </a:lnTo>
                      <a:lnTo>
                        <a:pt x="250" y="98"/>
                      </a:lnTo>
                      <a:lnTo>
                        <a:pt x="246" y="98"/>
                      </a:lnTo>
                      <a:lnTo>
                        <a:pt x="241" y="89"/>
                      </a:lnTo>
                      <a:lnTo>
                        <a:pt x="241" y="85"/>
                      </a:lnTo>
                      <a:lnTo>
                        <a:pt x="263" y="53"/>
                      </a:lnTo>
                      <a:lnTo>
                        <a:pt x="281" y="49"/>
                      </a:lnTo>
                      <a:lnTo>
                        <a:pt x="295" y="35"/>
                      </a:lnTo>
                      <a:lnTo>
                        <a:pt x="295" y="31"/>
                      </a:lnTo>
                      <a:lnTo>
                        <a:pt x="295" y="31"/>
                      </a:lnTo>
                      <a:lnTo>
                        <a:pt x="299" y="27"/>
                      </a:lnTo>
                      <a:lnTo>
                        <a:pt x="295" y="27"/>
                      </a:lnTo>
                      <a:lnTo>
                        <a:pt x="286" y="27"/>
                      </a:lnTo>
                      <a:lnTo>
                        <a:pt x="277" y="27"/>
                      </a:lnTo>
                      <a:lnTo>
                        <a:pt x="268" y="22"/>
                      </a:lnTo>
                      <a:lnTo>
                        <a:pt x="259" y="22"/>
                      </a:lnTo>
                      <a:lnTo>
                        <a:pt x="246" y="22"/>
                      </a:lnTo>
                      <a:lnTo>
                        <a:pt x="241" y="22"/>
                      </a:lnTo>
                      <a:lnTo>
                        <a:pt x="228" y="13"/>
                      </a:lnTo>
                      <a:lnTo>
                        <a:pt x="223" y="4"/>
                      </a:lnTo>
                      <a:lnTo>
                        <a:pt x="214" y="9"/>
                      </a:lnTo>
                      <a:lnTo>
                        <a:pt x="214" y="4"/>
                      </a:lnTo>
                      <a:lnTo>
                        <a:pt x="205" y="4"/>
                      </a:lnTo>
                      <a:lnTo>
                        <a:pt x="201" y="4"/>
                      </a:lnTo>
                      <a:lnTo>
                        <a:pt x="192" y="4"/>
                      </a:lnTo>
                      <a:lnTo>
                        <a:pt x="179" y="4"/>
                      </a:lnTo>
                      <a:lnTo>
                        <a:pt x="170" y="4"/>
                      </a:lnTo>
                      <a:lnTo>
                        <a:pt x="170" y="0"/>
                      </a:lnTo>
                      <a:lnTo>
                        <a:pt x="161" y="0"/>
                      </a:lnTo>
                      <a:lnTo>
                        <a:pt x="152" y="4"/>
                      </a:lnTo>
                      <a:lnTo>
                        <a:pt x="147" y="0"/>
                      </a:lnTo>
                      <a:lnTo>
                        <a:pt x="143" y="0"/>
                      </a:lnTo>
                      <a:lnTo>
                        <a:pt x="134" y="0"/>
                      </a:lnTo>
                      <a:lnTo>
                        <a:pt x="125" y="0"/>
                      </a:lnTo>
                      <a:lnTo>
                        <a:pt x="129" y="4"/>
                      </a:lnTo>
                      <a:lnTo>
                        <a:pt x="116" y="4"/>
                      </a:lnTo>
                      <a:lnTo>
                        <a:pt x="112" y="9"/>
                      </a:lnTo>
                      <a:lnTo>
                        <a:pt x="112" y="18"/>
                      </a:lnTo>
                      <a:lnTo>
                        <a:pt x="116" y="18"/>
                      </a:lnTo>
                      <a:lnTo>
                        <a:pt x="116" y="22"/>
                      </a:lnTo>
                      <a:lnTo>
                        <a:pt x="120" y="27"/>
                      </a:lnTo>
                      <a:lnTo>
                        <a:pt x="116" y="31"/>
                      </a:lnTo>
                      <a:lnTo>
                        <a:pt x="120" y="35"/>
                      </a:lnTo>
                      <a:lnTo>
                        <a:pt x="129" y="31"/>
                      </a:lnTo>
                      <a:lnTo>
                        <a:pt x="134" y="40"/>
                      </a:lnTo>
                      <a:lnTo>
                        <a:pt x="152" y="40"/>
                      </a:lnTo>
                      <a:lnTo>
                        <a:pt x="161" y="44"/>
                      </a:lnTo>
                      <a:lnTo>
                        <a:pt x="152" y="53"/>
                      </a:lnTo>
                      <a:lnTo>
                        <a:pt x="147" y="67"/>
                      </a:lnTo>
                      <a:lnTo>
                        <a:pt x="147" y="71"/>
                      </a:lnTo>
                      <a:lnTo>
                        <a:pt x="147" y="80"/>
                      </a:lnTo>
                      <a:lnTo>
                        <a:pt x="138" y="85"/>
                      </a:lnTo>
                      <a:lnTo>
                        <a:pt x="147" y="98"/>
                      </a:lnTo>
                      <a:lnTo>
                        <a:pt x="143" y="107"/>
                      </a:lnTo>
                      <a:lnTo>
                        <a:pt x="147" y="116"/>
                      </a:lnTo>
                      <a:lnTo>
                        <a:pt x="143" y="116"/>
                      </a:lnTo>
                      <a:lnTo>
                        <a:pt x="143" y="125"/>
                      </a:lnTo>
                      <a:close/>
                      <a:moveTo>
                        <a:pt x="268" y="94"/>
                      </a:moveTo>
                      <a:lnTo>
                        <a:pt x="263" y="98"/>
                      </a:lnTo>
                      <a:lnTo>
                        <a:pt x="268" y="103"/>
                      </a:lnTo>
                      <a:lnTo>
                        <a:pt x="268" y="103"/>
                      </a:lnTo>
                      <a:lnTo>
                        <a:pt x="272" y="103"/>
                      </a:lnTo>
                      <a:lnTo>
                        <a:pt x="268" y="98"/>
                      </a:lnTo>
                      <a:lnTo>
                        <a:pt x="272" y="94"/>
                      </a:lnTo>
                      <a:lnTo>
                        <a:pt x="268" y="94"/>
                      </a:lnTo>
                      <a:close/>
                      <a:moveTo>
                        <a:pt x="286" y="85"/>
                      </a:moveTo>
                      <a:lnTo>
                        <a:pt x="286" y="85"/>
                      </a:lnTo>
                      <a:lnTo>
                        <a:pt x="290" y="89"/>
                      </a:lnTo>
                      <a:lnTo>
                        <a:pt x="299" y="89"/>
                      </a:lnTo>
                      <a:lnTo>
                        <a:pt x="304" y="85"/>
                      </a:lnTo>
                      <a:lnTo>
                        <a:pt x="304" y="80"/>
                      </a:lnTo>
                      <a:lnTo>
                        <a:pt x="299" y="76"/>
                      </a:lnTo>
                      <a:lnTo>
                        <a:pt x="299" y="76"/>
                      </a:lnTo>
                      <a:lnTo>
                        <a:pt x="290" y="80"/>
                      </a:lnTo>
                      <a:lnTo>
                        <a:pt x="286" y="85"/>
                      </a:lnTo>
                      <a:close/>
                      <a:moveTo>
                        <a:pt x="308" y="71"/>
                      </a:moveTo>
                      <a:lnTo>
                        <a:pt x="308" y="80"/>
                      </a:lnTo>
                      <a:lnTo>
                        <a:pt x="317" y="80"/>
                      </a:lnTo>
                      <a:lnTo>
                        <a:pt x="313" y="71"/>
                      </a:lnTo>
                      <a:lnTo>
                        <a:pt x="308" y="71"/>
                      </a:lnTo>
                      <a:close/>
                    </a:path>
                  </a:pathLst>
                </a:custGeom>
                <a:grpFill/>
                <a:ln w="9525" cmpd="sng">
                  <a:solidFill>
                    <a:schemeClr val="bg1"/>
                  </a:solidFill>
                  <a:round/>
                  <a:headEnd/>
                  <a:tailEnd/>
                </a:ln>
              </p:spPr>
              <p:txBody>
                <a:bodyPr/>
                <a:lstStyle/>
                <a:p>
                  <a:endParaRPr lang="x-es-XL" dirty="0">
                    <a:latin typeface="Delivery" panose="020F0503020204020204" pitchFamily="34" charset="0"/>
                  </a:endParaRPr>
                </a:p>
              </p:txBody>
            </p:sp>
          </p:grpSp>
        </p:grpSp>
        <p:sp>
          <p:nvSpPr>
            <p:cNvPr id="12" name="Rectangle 4">
              <a:extLst>
                <a:ext uri="{FF2B5EF4-FFF2-40B4-BE49-F238E27FC236}">
                  <a16:creationId xmlns:a16="http://schemas.microsoft.com/office/drawing/2014/main" id="{2DE85FC8-AEC9-461C-B0F6-F0A649E927E8}"/>
                </a:ext>
              </a:extLst>
            </p:cNvPr>
            <p:cNvSpPr/>
            <p:nvPr/>
          </p:nvSpPr>
          <p:spPr>
            <a:xfrm>
              <a:off x="3685594" y="3787232"/>
              <a:ext cx="1681743" cy="587441"/>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pPr algn="l" rtl="0"/>
              <a:r>
                <a:rPr lang="x-es-XL" sz="800" b="1" i="0" u="none" baseline="0">
                  <a:solidFill>
                    <a:schemeClr val="tx1"/>
                  </a:solidFill>
                </a:rPr>
                <a:t>África y Océano Índico de habla francesa y portuguesa </a:t>
              </a:r>
              <a:r>
                <a:rPr lang="x-es-XL" sz="800" b="0" i="0" u="none" baseline="0">
                  <a:solidFill>
                    <a:schemeClr val="tx1"/>
                  </a:solidFill>
                </a:rPr>
                <a:t>Ι Linda Rasamoelinianina</a:t>
              </a:r>
              <a:endParaRPr lang="x-es-XL" sz="700" dirty="0">
                <a:solidFill>
                  <a:schemeClr val="tx1"/>
                </a:solidFill>
                <a:latin typeface="Delivery" panose="020F0503020204020204" pitchFamily="34" charset="0"/>
              </a:endParaRPr>
            </a:p>
          </p:txBody>
        </p:sp>
        <p:sp>
          <p:nvSpPr>
            <p:cNvPr id="13" name="Rectangle 4">
              <a:extLst>
                <a:ext uri="{FF2B5EF4-FFF2-40B4-BE49-F238E27FC236}">
                  <a16:creationId xmlns:a16="http://schemas.microsoft.com/office/drawing/2014/main" id="{2DE85FC8-AEC9-461C-B0F6-F0A649E927E8}"/>
                </a:ext>
              </a:extLst>
            </p:cNvPr>
            <p:cNvSpPr/>
            <p:nvPr/>
          </p:nvSpPr>
          <p:spPr>
            <a:xfrm>
              <a:off x="3685595" y="3443633"/>
              <a:ext cx="1681743" cy="464331"/>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pPr algn="l" rtl="0"/>
              <a:r>
                <a:rPr lang="x-es-XL" sz="800" b="1" i="0" u="none" baseline="0">
                  <a:solidFill>
                    <a:schemeClr val="tx1"/>
                  </a:solidFill>
                </a:rPr>
                <a:t>África de habla inglesa </a:t>
              </a:r>
              <a:r>
                <a:rPr lang="x-es-XL" sz="800" b="0" i="0" u="none" baseline="0">
                  <a:solidFill>
                    <a:schemeClr val="tx1"/>
                  </a:solidFill>
                </a:rPr>
                <a:t>Ι Itumeleng Ralebitso</a:t>
              </a:r>
              <a:endParaRPr lang="x-es-XL" sz="700" dirty="0">
                <a:solidFill>
                  <a:schemeClr val="tx1"/>
                </a:solidFill>
                <a:latin typeface="Delivery" panose="020F0503020204020204" pitchFamily="34" charset="0"/>
              </a:endParaRPr>
            </a:p>
          </p:txBody>
        </p:sp>
        <p:sp>
          <p:nvSpPr>
            <p:cNvPr id="14" name="Rectangle 4">
              <a:extLst>
                <a:ext uri="{FF2B5EF4-FFF2-40B4-BE49-F238E27FC236}">
                  <a16:creationId xmlns:a16="http://schemas.microsoft.com/office/drawing/2014/main" id="{2DE85FC8-AEC9-461C-B0F6-F0A649E927E8}"/>
                </a:ext>
              </a:extLst>
            </p:cNvPr>
            <p:cNvSpPr/>
            <p:nvPr/>
          </p:nvSpPr>
          <p:spPr>
            <a:xfrm>
              <a:off x="1777776" y="2722316"/>
              <a:ext cx="1621100" cy="464331"/>
            </a:xfrm>
            <a:prstGeom prst="rect">
              <a:avLst/>
            </a:prstGeom>
            <a:gradFill>
              <a:gsLst>
                <a:gs pos="79000">
                  <a:srgbClr val="FFDE59"/>
                </a:gs>
                <a:gs pos="30000">
                  <a:schemeClr val="accent3"/>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pPr algn="l" rtl="0"/>
              <a:r>
                <a:rPr lang="x-es-XL" sz="800" b="0" i="0" u="none" baseline="0">
                  <a:solidFill>
                    <a:schemeClr val="tx1"/>
                  </a:solidFill>
                </a:rPr>
                <a:t>Responsable del programa en las </a:t>
              </a:r>
              <a:r>
                <a:rPr lang="x-es-XL" sz="800" b="1" i="0" u="none" baseline="0">
                  <a:solidFill>
                    <a:schemeClr val="tx1"/>
                  </a:solidFill>
                </a:rPr>
                <a:t>Américas</a:t>
              </a:r>
              <a:r>
                <a:rPr lang="x-es-XL" sz="800" b="0" i="0" u="none" baseline="0">
                  <a:solidFill>
                    <a:schemeClr val="tx1"/>
                  </a:solidFill>
                </a:rPr>
                <a:t> Ι Andrea Colchado Olivera </a:t>
              </a:r>
            </a:p>
          </p:txBody>
        </p:sp>
        <p:sp>
          <p:nvSpPr>
            <p:cNvPr id="15" name="Rectangle 4">
              <a:extLst>
                <a:ext uri="{FF2B5EF4-FFF2-40B4-BE49-F238E27FC236}">
                  <a16:creationId xmlns:a16="http://schemas.microsoft.com/office/drawing/2014/main" id="{2DE85FC8-AEC9-461C-B0F6-F0A649E927E8}"/>
                </a:ext>
              </a:extLst>
            </p:cNvPr>
            <p:cNvSpPr/>
            <p:nvPr/>
          </p:nvSpPr>
          <p:spPr>
            <a:xfrm>
              <a:off x="5584827" y="2716845"/>
              <a:ext cx="1621100" cy="464331"/>
            </a:xfrm>
            <a:prstGeom prst="rect">
              <a:avLst/>
            </a:prstGeom>
            <a:gradFill>
              <a:gsLst>
                <a:gs pos="79000">
                  <a:srgbClr val="FFDE59"/>
                </a:gs>
                <a:gs pos="30000">
                  <a:schemeClr val="accent3"/>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pPr algn="l" rtl="0"/>
              <a:r>
                <a:rPr lang="x-es-XL" sz="800" b="0" i="0" u="none" baseline="0">
                  <a:solidFill>
                    <a:schemeClr val="tx1"/>
                  </a:solidFill>
                </a:rPr>
                <a:t>Responsable del programa en </a:t>
              </a:r>
              <a:r>
                <a:rPr lang="x-es-XL" sz="800" b="1" i="0" u="none" baseline="0">
                  <a:solidFill>
                    <a:schemeClr val="tx1"/>
                  </a:solidFill>
                </a:rPr>
                <a:t>APAC</a:t>
              </a:r>
              <a:r>
                <a:rPr lang="x-es-XL" sz="800" b="0" i="0" u="none" baseline="0">
                  <a:solidFill>
                    <a:schemeClr val="tx1"/>
                  </a:solidFill>
                </a:rPr>
                <a:t> Ι Thomas Ng</a:t>
              </a:r>
            </a:p>
          </p:txBody>
        </p:sp>
        <p:sp>
          <p:nvSpPr>
            <p:cNvPr id="16" name="Rectangle 4">
              <a:extLst>
                <a:ext uri="{FF2B5EF4-FFF2-40B4-BE49-F238E27FC236}">
                  <a16:creationId xmlns:a16="http://schemas.microsoft.com/office/drawing/2014/main" id="{2DE85FC8-AEC9-461C-B0F6-F0A649E927E8}"/>
                </a:ext>
              </a:extLst>
            </p:cNvPr>
            <p:cNvSpPr/>
            <p:nvPr/>
          </p:nvSpPr>
          <p:spPr>
            <a:xfrm>
              <a:off x="3685595" y="2659038"/>
              <a:ext cx="1673845" cy="587441"/>
            </a:xfrm>
            <a:prstGeom prst="rect">
              <a:avLst/>
            </a:prstGeom>
            <a:gradFill>
              <a:gsLst>
                <a:gs pos="79000">
                  <a:srgbClr val="FFDE59"/>
                </a:gs>
                <a:gs pos="30000">
                  <a:schemeClr val="accent3"/>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pPr algn="l" rtl="0"/>
              <a:r>
                <a:rPr lang="x-es-XL" sz="800" b="0" i="0" u="none" baseline="0">
                  <a:solidFill>
                    <a:schemeClr val="tx1"/>
                  </a:solidFill>
                </a:rPr>
                <a:t>Responsable del programa en </a:t>
              </a:r>
              <a:r>
                <a:rPr lang="x-es-XL" sz="800" b="1" i="0" u="none" baseline="0">
                  <a:solidFill>
                    <a:schemeClr val="tx1"/>
                  </a:solidFill>
                </a:rPr>
                <a:t>África y Océano Índico </a:t>
              </a:r>
              <a:r>
                <a:rPr lang="x-es-XL" sz="800" b="0" i="0" u="none" baseline="0">
                  <a:solidFill>
                    <a:schemeClr val="tx1"/>
                  </a:solidFill>
                </a:rPr>
                <a:t>Ι</a:t>
              </a:r>
              <a:r>
                <a:rPr lang="x-es-XL" sz="800" b="1" i="0" u="none" baseline="0">
                  <a:solidFill>
                    <a:schemeClr val="tx1"/>
                  </a:solidFill>
                </a:rPr>
                <a:t> </a:t>
              </a:r>
              <a:r>
                <a:rPr lang="x-es-XL" sz="800" b="0" i="0" u="none" baseline="0">
                  <a:solidFill>
                    <a:schemeClr val="tx1"/>
                  </a:solidFill>
                </a:rPr>
                <a:t>Faneva Raharimanantsoa </a:t>
              </a:r>
            </a:p>
          </p:txBody>
        </p:sp>
        <p:sp>
          <p:nvSpPr>
            <p:cNvPr id="17" name="Rectangle 4">
              <a:extLst>
                <a:ext uri="{FF2B5EF4-FFF2-40B4-BE49-F238E27FC236}">
                  <a16:creationId xmlns:a16="http://schemas.microsoft.com/office/drawing/2014/main" id="{2DE85FC8-AEC9-461C-B0F6-F0A649E927E8}"/>
                </a:ext>
              </a:extLst>
            </p:cNvPr>
            <p:cNvSpPr/>
            <p:nvPr/>
          </p:nvSpPr>
          <p:spPr>
            <a:xfrm>
              <a:off x="3711680" y="1894323"/>
              <a:ext cx="1621100" cy="464331"/>
            </a:xfrm>
            <a:prstGeom prst="rect">
              <a:avLst/>
            </a:prstGeom>
            <a:gradFill>
              <a:gsLst>
                <a:gs pos="79000">
                  <a:srgbClr val="FFDE59"/>
                </a:gs>
                <a:gs pos="30000">
                  <a:schemeClr val="accent3"/>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pPr algn="l" rtl="0"/>
              <a:r>
                <a:rPr lang="x-es-XL" sz="800" b="0" i="0" u="none" baseline="0">
                  <a:solidFill>
                    <a:schemeClr val="tx1"/>
                  </a:solidFill>
                </a:rPr>
                <a:t>Responsable del programa en </a:t>
              </a:r>
              <a:r>
                <a:rPr lang="x-es-XL" sz="800" b="1" i="0" u="none" baseline="0">
                  <a:solidFill>
                    <a:schemeClr val="tx1"/>
                  </a:solidFill>
                </a:rPr>
                <a:t>Europa</a:t>
              </a:r>
              <a:r>
                <a:rPr lang="x-es-XL" sz="800" b="0" i="0" u="none" baseline="0">
                  <a:solidFill>
                    <a:schemeClr val="tx1"/>
                  </a:solidFill>
                </a:rPr>
                <a:t> Ι Susanne Novotny  </a:t>
              </a:r>
            </a:p>
          </p:txBody>
        </p:sp>
        <p:sp>
          <p:nvSpPr>
            <p:cNvPr id="18" name="Rectangle 4">
              <a:extLst>
                <a:ext uri="{FF2B5EF4-FFF2-40B4-BE49-F238E27FC236}">
                  <a16:creationId xmlns:a16="http://schemas.microsoft.com/office/drawing/2014/main" id="{2DE85FC8-AEC9-461C-B0F6-F0A649E927E8}"/>
                </a:ext>
              </a:extLst>
            </p:cNvPr>
            <p:cNvSpPr/>
            <p:nvPr/>
          </p:nvSpPr>
          <p:spPr>
            <a:xfrm>
              <a:off x="5585442" y="1892151"/>
              <a:ext cx="1621100" cy="464331"/>
            </a:xfrm>
            <a:prstGeom prst="rect">
              <a:avLst/>
            </a:prstGeom>
            <a:gradFill>
              <a:gsLst>
                <a:gs pos="79000">
                  <a:srgbClr val="FFDE59"/>
                </a:gs>
                <a:gs pos="30000">
                  <a:schemeClr val="accent3"/>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pPr algn="l" rtl="0"/>
              <a:r>
                <a:rPr lang="x-es-XL" sz="800" b="0" i="0" u="none" baseline="0">
                  <a:solidFill>
                    <a:schemeClr val="tx1"/>
                  </a:solidFill>
                </a:rPr>
                <a:t>Responsable del programa en </a:t>
              </a:r>
              <a:r>
                <a:rPr lang="x-es-XL" sz="800" b="1" i="0" u="none" baseline="0">
                  <a:solidFill>
                    <a:schemeClr val="tx1"/>
                  </a:solidFill>
                </a:rPr>
                <a:t>MENA</a:t>
              </a:r>
              <a:r>
                <a:rPr lang="x-es-XL" sz="800" b="0" i="0" u="none" baseline="0">
                  <a:solidFill>
                    <a:schemeClr val="tx1"/>
                  </a:solidFill>
                </a:rPr>
                <a:t> Ι Najwa Raslan</a:t>
              </a:r>
            </a:p>
          </p:txBody>
        </p:sp>
        <p:sp>
          <p:nvSpPr>
            <p:cNvPr id="19" name="Rectangle 4">
              <a:extLst>
                <a:ext uri="{FF2B5EF4-FFF2-40B4-BE49-F238E27FC236}">
                  <a16:creationId xmlns:a16="http://schemas.microsoft.com/office/drawing/2014/main" id="{2DE85FC8-AEC9-461C-B0F6-F0A649E927E8}"/>
                </a:ext>
              </a:extLst>
            </p:cNvPr>
            <p:cNvSpPr/>
            <p:nvPr/>
          </p:nvSpPr>
          <p:spPr>
            <a:xfrm>
              <a:off x="1781027" y="3166687"/>
              <a:ext cx="1621100" cy="341220"/>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pPr algn="l" rtl="0"/>
              <a:r>
                <a:rPr lang="x-es-XL" sz="800" b="0" i="0" u="none" baseline="0">
                  <a:solidFill>
                    <a:schemeClr val="tx1"/>
                  </a:solidFill>
                </a:rPr>
                <a:t>Raphael Orrego Flores </a:t>
              </a:r>
            </a:p>
          </p:txBody>
        </p:sp>
        <p:sp>
          <p:nvSpPr>
            <p:cNvPr id="20" name="Rectangle 4">
              <a:extLst>
                <a:ext uri="{FF2B5EF4-FFF2-40B4-BE49-F238E27FC236}">
                  <a16:creationId xmlns:a16="http://schemas.microsoft.com/office/drawing/2014/main" id="{2DE85FC8-AEC9-461C-B0F6-F0A649E927E8}"/>
                </a:ext>
              </a:extLst>
            </p:cNvPr>
            <p:cNvSpPr/>
            <p:nvPr/>
          </p:nvSpPr>
          <p:spPr>
            <a:xfrm>
              <a:off x="3685595" y="3186651"/>
              <a:ext cx="1674677" cy="341220"/>
            </a:xfrm>
            <a:prstGeom prst="rect">
              <a:avLst/>
            </a:prstGeom>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pPr algn="l" rtl="0"/>
              <a:r>
                <a:rPr lang="x-es-XL" sz="800" b="1" i="0" u="none" baseline="0">
                  <a:solidFill>
                    <a:schemeClr val="tx1"/>
                  </a:solidFill>
                </a:rPr>
                <a:t>África de habla inglesa </a:t>
              </a:r>
              <a:r>
                <a:rPr lang="x-es-XL" sz="800" b="0" i="0" u="none" baseline="0">
                  <a:solidFill>
                    <a:schemeClr val="tx1"/>
                  </a:solidFill>
                </a:rPr>
                <a:t>Ι Leigh Swartz</a:t>
              </a:r>
            </a:p>
          </p:txBody>
        </p:sp>
        <p:sp>
          <p:nvSpPr>
            <p:cNvPr id="21" name="Rectangle 4">
              <a:extLst>
                <a:ext uri="{FF2B5EF4-FFF2-40B4-BE49-F238E27FC236}">
                  <a16:creationId xmlns:a16="http://schemas.microsoft.com/office/drawing/2014/main" id="{2DE85FC8-AEC9-461C-B0F6-F0A649E927E8}"/>
                </a:ext>
              </a:extLst>
            </p:cNvPr>
            <p:cNvSpPr/>
            <p:nvPr/>
          </p:nvSpPr>
          <p:spPr>
            <a:xfrm>
              <a:off x="3711680" y="1128529"/>
              <a:ext cx="1621100" cy="58744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pPr algn="l" rtl="0"/>
              <a:r>
                <a:rPr lang="x-es-XL" sz="800" b="1" i="0" u="none" baseline="0">
                  <a:solidFill>
                    <a:schemeClr val="tx1"/>
                  </a:solidFill>
                </a:rPr>
                <a:t>Responsable del programa de colaboración con SOS</a:t>
              </a:r>
              <a:r>
                <a:rPr lang="x-es-XL" sz="800" b="0" i="0" u="none" baseline="0">
                  <a:solidFill>
                    <a:schemeClr val="tx1"/>
                  </a:solidFill>
                </a:rPr>
                <a:t> Ι                      Banalata Sen</a:t>
              </a:r>
            </a:p>
          </p:txBody>
        </p:sp>
        <p:sp>
          <p:nvSpPr>
            <p:cNvPr id="22" name="Rectangle 4">
              <a:extLst>
                <a:ext uri="{FF2B5EF4-FFF2-40B4-BE49-F238E27FC236}">
                  <a16:creationId xmlns:a16="http://schemas.microsoft.com/office/drawing/2014/main" id="{2DE85FC8-AEC9-461C-B0F6-F0A649E927E8}"/>
                </a:ext>
              </a:extLst>
            </p:cNvPr>
            <p:cNvSpPr/>
            <p:nvPr/>
          </p:nvSpPr>
          <p:spPr>
            <a:xfrm>
              <a:off x="5626006" y="1121644"/>
              <a:ext cx="1621100" cy="58744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pPr algn="l" rtl="0"/>
              <a:r>
                <a:rPr lang="x-es-XL" sz="800" b="1" i="0" u="none" baseline="0">
                  <a:solidFill>
                    <a:schemeClr val="tx1"/>
                  </a:solidFill>
                </a:rPr>
                <a:t>Responsable del programa de colaboración con Teach For All </a:t>
              </a:r>
              <a:r>
                <a:rPr lang="x-es-XL" sz="800" b="0" i="0" u="none" baseline="0">
                  <a:solidFill>
                    <a:schemeClr val="tx1"/>
                  </a:solidFill>
                </a:rPr>
                <a:t>Ι                 Annette Wollmann</a:t>
              </a:r>
            </a:p>
          </p:txBody>
        </p:sp>
        <p:sp>
          <p:nvSpPr>
            <p:cNvPr id="23" name="Rectangle 4">
              <a:extLst>
                <a:ext uri="{FF2B5EF4-FFF2-40B4-BE49-F238E27FC236}">
                  <a16:creationId xmlns:a16="http://schemas.microsoft.com/office/drawing/2014/main" id="{2DE85FC8-AEC9-461C-B0F6-F0A649E927E8}"/>
                </a:ext>
              </a:extLst>
            </p:cNvPr>
            <p:cNvSpPr/>
            <p:nvPr/>
          </p:nvSpPr>
          <p:spPr>
            <a:xfrm>
              <a:off x="1768327" y="1128529"/>
              <a:ext cx="1621100" cy="587441"/>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162000" tIns="108000" rIns="162000" bIns="108000" rtlCol="0" anchor="ctr">
              <a:spAutoFit/>
            </a:bodyPr>
            <a:lstStyle/>
            <a:p>
              <a:pPr algn="l" rtl="0"/>
              <a:r>
                <a:rPr lang="x-es-XL" sz="800" b="1" i="0" u="none" baseline="0">
                  <a:solidFill>
                    <a:schemeClr val="tx1"/>
                  </a:solidFill>
                </a:rPr>
                <a:t>Director de comunicaciones y programas de sustentabilidad </a:t>
              </a:r>
              <a:r>
                <a:rPr lang="x-es-XL" sz="800" b="0" i="0" u="none" baseline="0">
                  <a:solidFill>
                    <a:schemeClr val="tx1"/>
                  </a:solidFill>
                </a:rPr>
                <a:t>Ι Christoph Selig </a:t>
              </a:r>
            </a:p>
          </p:txBody>
        </p:sp>
      </p:grpSp>
      <p:sp>
        <p:nvSpPr>
          <p:cNvPr id="229" name="Subtitle 228"/>
          <p:cNvSpPr>
            <a:spLocks noGrp="1"/>
          </p:cNvSpPr>
          <p:nvPr>
            <p:ph type="subTitle" idx="1"/>
          </p:nvPr>
        </p:nvSpPr>
        <p:spPr>
          <a:xfrm>
            <a:off x="323318" y="891121"/>
            <a:ext cx="8495999" cy="503215"/>
          </a:xfrm>
        </p:spPr>
        <p:txBody>
          <a:bodyPr/>
          <a:lstStyle/>
          <a:p>
            <a:pPr algn="l" rtl="0"/>
            <a:r>
              <a:rPr lang="x-es-XL" b="0" i="0" u="none" baseline="0"/>
              <a:t>Si tienes alguna otra pregunta, contacta con tu coordinador regional. </a:t>
            </a:r>
            <a:endParaRPr lang="x-es-XL" dirty="0"/>
          </a:p>
        </p:txBody>
      </p:sp>
      <p:sp>
        <p:nvSpPr>
          <p:cNvPr id="230" name="Title 1">
            <a:extLst>
              <a:ext uri="{FF2B5EF4-FFF2-40B4-BE49-F238E27FC236}">
                <a16:creationId xmlns:a16="http://schemas.microsoft.com/office/drawing/2014/main" id="{B6B6FB23-BFF1-4F14-9E78-7D16429C0629}"/>
              </a:ext>
            </a:extLst>
          </p:cNvPr>
          <p:cNvSpPr>
            <a:spLocks noGrp="1"/>
          </p:cNvSpPr>
          <p:nvPr>
            <p:ph type="title"/>
          </p:nvPr>
        </p:nvSpPr>
        <p:spPr>
          <a:xfrm>
            <a:off x="323319" y="382644"/>
            <a:ext cx="8495999" cy="493950"/>
          </a:xfrm>
        </p:spPr>
        <p:txBody>
          <a:bodyPr/>
          <a:lstStyle/>
          <a:p>
            <a:pPr algn="l" rtl="0"/>
            <a:r>
              <a:rPr lang="x-es-XL" b="0" i="0" u="none" baseline="0"/>
              <a:t>¿Alguna PREGUNTA?</a:t>
            </a:r>
            <a:endParaRPr lang="x-es-XL" dirty="0"/>
          </a:p>
        </p:txBody>
      </p:sp>
    </p:spTree>
    <p:extLst>
      <p:ext uri="{BB962C8B-B14F-4D97-AF65-F5344CB8AC3E}">
        <p14:creationId xmlns:p14="http://schemas.microsoft.com/office/powerpoint/2010/main" val="16721607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pPr algn="l" rtl="0"/>
            <a:r>
              <a:rPr lang="x-es-XL" b="1" i="0" u="none" baseline="0"/>
              <a:t>Comencemos por algunas nociones teóricas</a:t>
            </a:r>
            <a:endParaRPr lang="x-es-XL" dirty="0"/>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3</a:t>
            </a:fld>
            <a:endParaRPr lang="x-es-XL" dirty="0"/>
          </a:p>
        </p:txBody>
      </p:sp>
      <p:sp>
        <p:nvSpPr>
          <p:cNvPr id="6" name="Content Placeholder 5">
            <a:extLst>
              <a:ext uri="{FF2B5EF4-FFF2-40B4-BE49-F238E27FC236}">
                <a16:creationId xmlns:a16="http://schemas.microsoft.com/office/drawing/2014/main" id="{26E948DC-A59B-4A39-BF1E-E43D60D11028}"/>
              </a:ext>
            </a:extLst>
          </p:cNvPr>
          <p:cNvSpPr>
            <a:spLocks noGrp="1"/>
          </p:cNvSpPr>
          <p:nvPr>
            <p:ph sz="quarter" idx="14"/>
          </p:nvPr>
        </p:nvSpPr>
        <p:spPr/>
        <p:txBody>
          <a:bodyPr/>
          <a:lstStyle/>
          <a:p>
            <a:pPr lvl="4" algn="l" rtl="0"/>
            <a:r>
              <a:rPr lang="x-es-XL" b="0" i="0" u="none" baseline="0"/>
              <a:t>Empleamos el micrositio de DPDHL MyVolunteering para reportar nuestras actividades de GoTeach. </a:t>
            </a:r>
          </a:p>
          <a:p>
            <a:pPr lvl="5" algn="l" rtl="0"/>
            <a:r>
              <a:rPr lang="x-es-XL" sz="1400" b="0" i="0" u="none" baseline="0"/>
              <a:t>¿Qué es el micrositio de DPDHL?</a:t>
            </a:r>
          </a:p>
          <a:p>
            <a:pPr algn="l" rtl="0"/>
            <a:r>
              <a:rPr lang="x-es-XL" b="0" i="0" u="none" baseline="0"/>
              <a:t>El micrositio MyVolunteering (www.volunteering-dpdhl.com) es una página para toda la compañía que facilita a nuestros empleados una </a:t>
            </a:r>
            <a:r>
              <a:rPr lang="x-es-XL" b="1" i="0" u="none" baseline="0"/>
              <a:t>visión de conjunto sobre todas las oportunidades de voluntariado existentes</a:t>
            </a:r>
            <a:r>
              <a:rPr lang="x-es-XL" b="0" i="0" u="none" baseline="0"/>
              <a:t>. Puedes usarlo para encontrar voluntarios para un proyecto que organices o bien para encontrar un proyecto en el que puedas participar. Y también se emplea para reportar, de modo que podamos monitorear los resultados de nuestras actividades de voluntariado.</a:t>
            </a:r>
          </a:p>
          <a:p>
            <a:pPr lvl="5" algn="l" rtl="0"/>
            <a:endParaRPr lang="x-es-XL" b="0" dirty="0"/>
          </a:p>
          <a:p>
            <a:pPr lvl="5" algn="l" rtl="0"/>
            <a:r>
              <a:rPr lang="x-es-XL" b="0" i="0" u="none" baseline="0"/>
              <a:t> </a:t>
            </a:r>
          </a:p>
          <a:p>
            <a:pPr lvl="5" algn="l" rtl="0"/>
            <a:endParaRPr lang="x-es-XL" b="0" dirty="0"/>
          </a:p>
          <a:p>
            <a:pPr lvl="5" algn="l" rtl="0"/>
            <a:endParaRPr lang="x-es-XL" b="0" dirty="0"/>
          </a:p>
          <a:p>
            <a:pPr lvl="5" algn="l" rtl="0"/>
            <a:endParaRPr lang="x-es-XL" b="0" dirty="0"/>
          </a:p>
          <a:p>
            <a:pPr lvl="5" algn="l" rtl="0"/>
            <a:endParaRPr lang="x-es-XL"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xfrm>
            <a:off x="323999" y="4803982"/>
            <a:ext cx="8117532" cy="138499"/>
          </a:xfrm>
        </p:spPr>
        <p:txBody>
          <a:bodyPr/>
          <a:lstStyle/>
          <a:p>
            <a:pPr algn="l" rtl="0"/>
            <a:r>
              <a:rPr lang="x-es-XL" b="0" i="0" u="none" baseline="0"/>
              <a:t>DPDHL Group | Manual de redacción de informes para GoTeach | Enero de 2022</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6756778" y="2140226"/>
            <a:ext cx="1501637" cy="3003274"/>
          </a:xfrm>
          <a:prstGeom prst="rect">
            <a:avLst/>
          </a:prstGeom>
        </p:spPr>
      </p:pic>
      <p:sp>
        <p:nvSpPr>
          <p:cNvPr id="10" name="Oval Callout 9"/>
          <p:cNvSpPr/>
          <p:nvPr/>
        </p:nvSpPr>
        <p:spPr>
          <a:xfrm flipH="1">
            <a:off x="5443692" y="2528928"/>
            <a:ext cx="1821206" cy="1652540"/>
          </a:xfrm>
          <a:prstGeom prst="wedgeEllipseCallout">
            <a:avLst/>
          </a:prstGeom>
          <a:solidFill>
            <a:schemeClr val="tx2">
              <a:lumMod val="40000"/>
              <a:lumOff val="60000"/>
            </a:schemeClr>
          </a:solid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ctr" rtl="0">
              <a:lnSpc>
                <a:spcPct val="110000"/>
              </a:lnSpc>
              <a:spcAft>
                <a:spcPts val="500"/>
              </a:spcAft>
            </a:pPr>
            <a:r>
              <a:rPr lang="x-es-XL" sz="1200" b="0" i="0" u="none" baseline="0">
                <a:solidFill>
                  <a:schemeClr val="tx1"/>
                </a:solidFill>
              </a:rPr>
              <a:t>Se inicia la sesión con un solo clic desde la red de la compañía.</a:t>
            </a:r>
          </a:p>
        </p:txBody>
      </p:sp>
      <p:pic>
        <p:nvPicPr>
          <p:cNvPr id="3" name="Grafik 2"/>
          <p:cNvPicPr>
            <a:picLocks noChangeAspect="1"/>
          </p:cNvPicPr>
          <p:nvPr/>
        </p:nvPicPr>
        <p:blipFill>
          <a:blip r:embed="rId5"/>
          <a:stretch>
            <a:fillRect/>
          </a:stretch>
        </p:blipFill>
        <p:spPr>
          <a:xfrm>
            <a:off x="323999" y="2574649"/>
            <a:ext cx="4989137" cy="2104289"/>
          </a:xfrm>
          <a:prstGeom prst="rect">
            <a:avLst/>
          </a:prstGeom>
        </p:spPr>
      </p:pic>
    </p:spTree>
    <p:extLst>
      <p:ext uri="{BB962C8B-B14F-4D97-AF65-F5344CB8AC3E}">
        <p14:creationId xmlns:p14="http://schemas.microsoft.com/office/powerpoint/2010/main" val="4168852839"/>
      </p:ext>
    </p:extLst>
  </p:cSld>
  <p:clrMapOvr>
    <a:masterClrMapping/>
  </p:clrMapOvr>
  <mc:AlternateContent xmlns:mc="http://schemas.openxmlformats.org/markup-compatibility/2006" xmlns:p14="http://schemas.microsoft.com/office/powerpoint/2010/main">
    <mc:Choice Requires="p14">
      <p:transition spd="slow" p14:dur="2000" advTm="790"/>
    </mc:Choice>
    <mc:Fallback xmlns="">
      <p:transition spd="slow" advTm="79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3"/>
          <a:stretch>
            <a:fillRect/>
          </a:stretch>
        </p:blipFill>
        <p:spPr>
          <a:xfrm>
            <a:off x="2439520" y="1311731"/>
            <a:ext cx="5181184" cy="3454122"/>
          </a:xfrm>
          <a:prstGeom prst="rect">
            <a:avLst/>
          </a:prstGeom>
        </p:spPr>
      </p:pic>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pPr algn="l" rtl="0"/>
            <a:r>
              <a:rPr lang="x-es-XL" b="1" i="0" u="none" baseline="0"/>
              <a:t>Comencemos por algunas nociones teóricas</a:t>
            </a:r>
            <a:endParaRPr lang="x-es-XL" dirty="0"/>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4</a:t>
            </a:fld>
            <a:endParaRPr lang="x-es-XL" dirty="0"/>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xfrm>
            <a:off x="323999" y="4803982"/>
            <a:ext cx="8117532" cy="138499"/>
          </a:xfrm>
        </p:spPr>
        <p:txBody>
          <a:bodyPr/>
          <a:lstStyle/>
          <a:p>
            <a:pPr algn="l" rtl="0"/>
            <a:r>
              <a:rPr lang="x-es-XL" b="0" i="0" u="none" baseline="0"/>
              <a:t>DPDHL Group | Manual de redacción de informes para GoTeach | Enero de 2022</a:t>
            </a:r>
          </a:p>
        </p:txBody>
      </p:sp>
      <p:sp>
        <p:nvSpPr>
          <p:cNvPr id="10" name="Content Placeholder 5">
            <a:extLst>
              <a:ext uri="{FF2B5EF4-FFF2-40B4-BE49-F238E27FC236}">
                <a16:creationId xmlns:a16="http://schemas.microsoft.com/office/drawing/2014/main" id="{26E948DC-A59B-4A39-BF1E-E43D60D11028}"/>
              </a:ext>
            </a:extLst>
          </p:cNvPr>
          <p:cNvSpPr>
            <a:spLocks noGrp="1"/>
          </p:cNvSpPr>
          <p:nvPr>
            <p:ph sz="quarter" idx="14"/>
          </p:nvPr>
        </p:nvSpPr>
        <p:spPr>
          <a:xfrm>
            <a:off x="324000" y="1150938"/>
            <a:ext cx="8495999" cy="3343090"/>
          </a:xfrm>
        </p:spPr>
        <p:txBody>
          <a:bodyPr/>
          <a:lstStyle/>
          <a:p>
            <a:pPr lvl="5" algn="l" rtl="0"/>
            <a:r>
              <a:rPr lang="x-es-XL" b="0" i="0" u="none" baseline="0"/>
              <a:t>Si desplazas el cursor hacia abajo en la página inicial, encontrarás proyectos pasados de voluntariado de tus colegas.</a:t>
            </a:r>
            <a:endParaRPr lang="x-es-XL" dirty="0"/>
          </a:p>
        </p:txBody>
      </p:sp>
      <p:sp>
        <p:nvSpPr>
          <p:cNvPr id="12" name="Rectangle 11"/>
          <p:cNvSpPr/>
          <p:nvPr/>
        </p:nvSpPr>
        <p:spPr>
          <a:xfrm>
            <a:off x="2438618" y="2882368"/>
            <a:ext cx="1433699" cy="1545731"/>
          </a:xfrm>
          <a:prstGeom prst="rect">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rtl="0"/>
            <a:endParaRPr lang="x-es-XL" sz="1200" dirty="0" err="1">
              <a:solidFill>
                <a:schemeClr val="tx1"/>
              </a:solidFill>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241426" y="52258"/>
            <a:ext cx="1999980" cy="3999959"/>
          </a:xfrm>
          <a:prstGeom prst="rect">
            <a:avLst/>
          </a:prstGeom>
        </p:spPr>
      </p:pic>
      <p:sp>
        <p:nvSpPr>
          <p:cNvPr id="14" name="Rectangle 13"/>
          <p:cNvSpPr/>
          <p:nvPr/>
        </p:nvSpPr>
        <p:spPr>
          <a:xfrm>
            <a:off x="6187907" y="1311731"/>
            <a:ext cx="1433699" cy="1545731"/>
          </a:xfrm>
          <a:prstGeom prst="rect">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rtl="0"/>
            <a:endParaRPr lang="x-es-XL" sz="1200" dirty="0" err="1">
              <a:solidFill>
                <a:schemeClr val="tx1"/>
              </a:solidFill>
            </a:endParaRPr>
          </a:p>
        </p:txBody>
      </p:sp>
    </p:spTree>
    <p:extLst>
      <p:ext uri="{BB962C8B-B14F-4D97-AF65-F5344CB8AC3E}">
        <p14:creationId xmlns:p14="http://schemas.microsoft.com/office/powerpoint/2010/main" val="259166525"/>
      </p:ext>
    </p:extLst>
  </p:cSld>
  <p:clrMapOvr>
    <a:masterClrMapping/>
  </p:clrMapOvr>
  <mc:AlternateContent xmlns:mc="http://schemas.openxmlformats.org/markup-compatibility/2006" xmlns:p14="http://schemas.microsoft.com/office/powerpoint/2010/main">
    <mc:Choice Requires="p14">
      <p:transition spd="slow" p14:dur="2000" advTm="556"/>
    </mc:Choice>
    <mc:Fallback xmlns="">
      <p:transition spd="slow" advTm="556"/>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pPr algn="l" rtl="0"/>
            <a:r>
              <a:rPr lang="x-es-XL" b="1" i="0" u="none" baseline="0"/>
              <a:t>Comencemos por algunas nociones teóricas</a:t>
            </a:r>
            <a:endParaRPr lang="x-es-XL" dirty="0"/>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5</a:t>
            </a:fld>
            <a:endParaRPr lang="x-es-XL"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sp>
        <p:nvSpPr>
          <p:cNvPr id="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xfrm>
            <a:off x="323999" y="4803982"/>
            <a:ext cx="8117532" cy="138499"/>
          </a:xfrm>
        </p:spPr>
        <p:txBody>
          <a:bodyPr/>
          <a:lstStyle/>
          <a:p>
            <a:pPr algn="l" rtl="0"/>
            <a:r>
              <a:rPr lang="x-es-XL" b="0" i="0" u="none" baseline="0"/>
              <a:t>DPDHL Group | Manual de redacción de informes para GoTeach | Enero de 2022</a:t>
            </a:r>
          </a:p>
        </p:txBody>
      </p:sp>
      <p:sp>
        <p:nvSpPr>
          <p:cNvPr id="6" name="Content Placeholder 5">
            <a:extLst>
              <a:ext uri="{FF2B5EF4-FFF2-40B4-BE49-F238E27FC236}">
                <a16:creationId xmlns:a16="http://schemas.microsoft.com/office/drawing/2014/main" id="{26E948DC-A59B-4A39-BF1E-E43D60D11028}"/>
              </a:ext>
            </a:extLst>
          </p:cNvPr>
          <p:cNvSpPr>
            <a:spLocks noGrp="1"/>
          </p:cNvSpPr>
          <p:nvPr>
            <p:ph sz="quarter" idx="14"/>
          </p:nvPr>
        </p:nvSpPr>
        <p:spPr>
          <a:xfrm>
            <a:off x="324000" y="1150938"/>
            <a:ext cx="8495999" cy="3343090"/>
          </a:xfrm>
        </p:spPr>
        <p:txBody>
          <a:bodyPr/>
          <a:lstStyle/>
          <a:p>
            <a:pPr lvl="5" algn="l" rtl="0"/>
            <a:r>
              <a:rPr lang="x-es-XL" b="0" i="0" u="none" baseline="0" dirty="0"/>
              <a:t>¿Por qué es importante reportar para GoTeach?</a:t>
            </a:r>
          </a:p>
          <a:p>
            <a:pPr lvl="5" algn="l" rtl="0"/>
            <a:r>
              <a:rPr lang="x-es-XL" b="0" i="0" u="none" baseline="0" dirty="0"/>
              <a:t>Nuestra intención es contribuir con estas actividades a los ODSs, especialmente al ODS 4 (educación de calidad), ODS 5 (igualdad de género), ODS 8 (trabajo digno y crecimiento económico) y ODS 17 (alianzas para lograr los objetivos). Para poder cuantificar nuestra contribución, es decir, saber a cuantos jóvenes logramos ayudar con nuestros proyectos, necesitamos cifras fiables de cada uno de los voluntarios y participantes.</a:t>
            </a:r>
          </a:p>
          <a:p>
            <a:pPr lvl="5" algn="l" rtl="0"/>
            <a:endParaRPr lang="x-es-XL" b="0" dirty="0"/>
          </a:p>
          <a:p>
            <a:pPr lvl="5" algn="l" rtl="0"/>
            <a:endParaRPr lang="x-es-XL" b="0" dirty="0"/>
          </a:p>
          <a:p>
            <a:pPr lvl="5" algn="l" rtl="0"/>
            <a:endParaRPr lang="x-es-XL" b="0" dirty="0"/>
          </a:p>
          <a:p>
            <a:pPr lvl="5" algn="l" rtl="0"/>
            <a:endParaRPr lang="x-es-XL" b="0" dirty="0"/>
          </a:p>
          <a:p>
            <a:pPr lvl="5" algn="l" rtl="0"/>
            <a:endParaRPr lang="x-es-XL" dirty="0"/>
          </a:p>
          <a:p>
            <a:pPr lvl="5" algn="l" rtl="0"/>
            <a:r>
              <a:rPr lang="x-es-XL" b="0" i="0" u="none" baseline="0" dirty="0"/>
              <a:t>¡Recuerda que es necesario reportar todas las actividades realizadas para la red de nuestros socios Aldeas </a:t>
            </a:r>
            <a:r>
              <a:rPr lang="x-es-XL" b="0" i="0" u="none" baseline="0" dirty="0" smtClean="0"/>
              <a:t>Infantiles </a:t>
            </a:r>
            <a:endParaRPr lang="de-DE" b="0" i="0" u="none" baseline="0" dirty="0" smtClean="0"/>
          </a:p>
          <a:p>
            <a:pPr lvl="5" algn="l" rtl="0"/>
            <a:r>
              <a:rPr lang="x-es-XL" b="0" i="0" u="none" baseline="0" dirty="0" smtClean="0"/>
              <a:t>SOS y Teach For All!</a:t>
            </a:r>
          </a:p>
          <a:p>
            <a:pPr lvl="5" algn="l" rtl="0"/>
            <a:endParaRPr lang="x-es-XL" b="0" dirty="0"/>
          </a:p>
          <a:p>
            <a:pPr lvl="5" algn="l" rtl="0"/>
            <a:endParaRPr lang="x-es-XL" b="0" dirty="0"/>
          </a:p>
          <a:p>
            <a:pPr lvl="5" algn="l" rtl="0"/>
            <a:endParaRPr lang="x-es-XL" b="0" dirty="0"/>
          </a:p>
          <a:p>
            <a:pPr lvl="5" algn="l" rtl="0"/>
            <a:endParaRPr lang="x-es-XL" b="0" dirty="0"/>
          </a:p>
          <a:p>
            <a:pPr lvl="5" algn="l" rtl="0"/>
            <a:endParaRPr lang="x-es-XL" b="0" dirty="0"/>
          </a:p>
          <a:p>
            <a:pPr lvl="5" algn="l" rtl="0"/>
            <a:r>
              <a:rPr lang="x-es-XL" b="0" i="0" u="none" baseline="0" dirty="0"/>
              <a:t>En la próxima página encontrarás los KPIs de insumos y de resultados que contabilizamos. </a:t>
            </a:r>
          </a:p>
          <a:p>
            <a:pPr lvl="5" algn="l" rtl="0"/>
            <a:endParaRPr lang="x-es-XL" b="0" dirty="0"/>
          </a:p>
          <a:p>
            <a:pPr lvl="5" algn="l" rtl="0"/>
            <a:endParaRPr lang="x-es-XL" b="0" dirty="0"/>
          </a:p>
          <a:p>
            <a:pPr lvl="5" algn="l" rtl="0"/>
            <a:endParaRPr lang="x-es-XL" b="0" dirty="0"/>
          </a:p>
          <a:p>
            <a:pPr lvl="5" algn="l" rtl="0"/>
            <a:endParaRPr lang="x-es-XL" dirty="0"/>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3999" y="3633489"/>
            <a:ext cx="1269188" cy="313200"/>
          </a:xfrm>
          <a:prstGeom prst="rect">
            <a:avLst/>
          </a:prstGeom>
        </p:spPr>
      </p:pic>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74515" y="3633489"/>
            <a:ext cx="1252799" cy="313200"/>
          </a:xfrm>
          <a:prstGeom prst="rect">
            <a:avLst/>
          </a:prstGeom>
        </p:spPr>
      </p:pic>
      <p:pic>
        <p:nvPicPr>
          <p:cNvPr id="17" name="Picture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16399" y="1757916"/>
            <a:ext cx="1692792" cy="3385584"/>
          </a:xfrm>
          <a:prstGeom prst="rect">
            <a:avLst/>
          </a:prstGeom>
        </p:spPr>
      </p:pic>
      <p:pic>
        <p:nvPicPr>
          <p:cNvPr id="18" name="Picture 1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5089" y="2234299"/>
            <a:ext cx="684000" cy="684000"/>
          </a:xfrm>
          <a:prstGeom prst="rect">
            <a:avLst/>
          </a:prstGeom>
        </p:spPr>
      </p:pic>
      <p:pic>
        <p:nvPicPr>
          <p:cNvPr id="19" name="Picture 1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74515" y="2234299"/>
            <a:ext cx="684000" cy="684000"/>
          </a:xfrm>
          <a:prstGeom prst="rect">
            <a:avLst/>
          </a:prstGeom>
        </p:spPr>
      </p:pic>
      <p:pic>
        <p:nvPicPr>
          <p:cNvPr id="20" name="Picture 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13711" y="2234299"/>
            <a:ext cx="684000" cy="684000"/>
          </a:xfrm>
          <a:prstGeom prst="rect">
            <a:avLst/>
          </a:prstGeom>
        </p:spPr>
      </p:pic>
      <p:pic>
        <p:nvPicPr>
          <p:cNvPr id="21" name="Picture 2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654403" y="2234299"/>
            <a:ext cx="684000" cy="684000"/>
          </a:xfrm>
          <a:prstGeom prst="rect">
            <a:avLst/>
          </a:prstGeom>
        </p:spPr>
      </p:pic>
    </p:spTree>
    <p:extLst>
      <p:ext uri="{BB962C8B-B14F-4D97-AF65-F5344CB8AC3E}">
        <p14:creationId xmlns:p14="http://schemas.microsoft.com/office/powerpoint/2010/main" val="3348769458"/>
      </p:ext>
    </p:extLst>
  </p:cSld>
  <p:clrMapOvr>
    <a:masterClrMapping/>
  </p:clrMapOvr>
  <mc:AlternateContent xmlns:mc="http://schemas.openxmlformats.org/markup-compatibility/2006" xmlns:p14="http://schemas.microsoft.com/office/powerpoint/2010/main">
    <mc:Choice Requires="p14">
      <p:transition spd="slow" p14:dur="2000" advTm="1378"/>
    </mc:Choice>
    <mc:Fallback xmlns="">
      <p:transition spd="slow" advTm="1378"/>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2990ED6-1644-4A0A-AF1B-8A3D7F026657}"/>
              </a:ext>
            </a:extLst>
          </p:cNvPr>
          <p:cNvSpPr>
            <a:spLocks noChangeAspect="1"/>
          </p:cNvSpPr>
          <p:nvPr/>
        </p:nvSpPr>
        <p:spPr>
          <a:xfrm>
            <a:off x="0" y="0"/>
            <a:ext cx="9144000" cy="5143500"/>
          </a:xfrm>
          <a:prstGeom prst="rect">
            <a:avLst/>
          </a:prstGeom>
          <a:gradFill>
            <a:gsLst>
              <a:gs pos="30000">
                <a:schemeClr val="accent3"/>
              </a:gs>
              <a:gs pos="79000">
                <a:srgbClr val="FFDE59"/>
              </a:gs>
              <a:gs pos="100000">
                <a:srgbClr val="FFF0B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spAutoFit/>
          </a:bodyPr>
          <a:lstStyle/>
          <a:p>
            <a:pPr algn="l" rtl="0"/>
            <a:endParaRPr lang="x-es-XL" sz="1200" dirty="0" err="1">
              <a:solidFill>
                <a:schemeClr val="tx1"/>
              </a:solidFill>
            </a:endParaRPr>
          </a:p>
        </p:txBody>
      </p:sp>
      <p:pic>
        <p:nvPicPr>
          <p:cNvPr id="11" name="Picture Placeholder 10">
            <a:extLst>
              <a:ext uri="{FF2B5EF4-FFF2-40B4-BE49-F238E27FC236}">
                <a16:creationId xmlns:a16="http://schemas.microsoft.com/office/drawing/2014/main" id="{6C99A549-0766-4968-946E-E6B38771B5E1}"/>
              </a:ext>
            </a:extLst>
          </p:cNvPr>
          <p:cNvPicPr>
            <a:picLocks noGrp="1" noChangeAspect="1"/>
          </p:cNvPicPr>
          <p:nvPr>
            <p:ph type="pic" sz="quarter" idx="12"/>
          </p:nvPr>
        </p:nvPicPr>
        <p:blipFill>
          <a:blip r:embed="rId3">
            <a:extLst>
              <a:ext uri="{28A0092B-C50C-407E-A947-70E740481C1C}">
                <a14:useLocalDpi xmlns:a14="http://schemas.microsoft.com/office/drawing/2010/main" val="0"/>
              </a:ext>
            </a:extLst>
          </a:blip>
          <a:srcRect l="44" r="44"/>
          <a:stretch>
            <a:fillRect/>
          </a:stretch>
        </p:blipFill>
        <p:spPr/>
      </p:pic>
      <p:sp>
        <p:nvSpPr>
          <p:cNvPr id="2" name="Title 1">
            <a:extLst>
              <a:ext uri="{FF2B5EF4-FFF2-40B4-BE49-F238E27FC236}">
                <a16:creationId xmlns:a16="http://schemas.microsoft.com/office/drawing/2014/main" id="{AD4B5760-69C0-4B6D-ACE4-5936316BB69D}"/>
              </a:ext>
            </a:extLst>
          </p:cNvPr>
          <p:cNvSpPr>
            <a:spLocks noGrp="1"/>
          </p:cNvSpPr>
          <p:nvPr>
            <p:ph type="title"/>
          </p:nvPr>
        </p:nvSpPr>
        <p:spPr/>
        <p:txBody>
          <a:bodyPr/>
          <a:lstStyle/>
          <a:p>
            <a:pPr algn="l" rtl="0"/>
            <a:r>
              <a:rPr lang="x-es-XL" b="1" i="0" u="none" baseline="0">
                <a:latin typeface="Delivery" panose="020F0503020204020204" pitchFamily="34" charset="0"/>
                <a:ea typeface="Delivery" panose="020F0503020204020204" pitchFamily="34" charset="0"/>
                <a:cs typeface="Delivery" panose="020F0503020204020204" pitchFamily="34" charset="0"/>
              </a:rPr>
              <a:t>Requerimientos para redactar informes de GoTeach en la plataforma myVolunteering sobre el nivel de actividad en 2022</a:t>
            </a:r>
            <a:endParaRPr lang="x-es-XL" dirty="0"/>
          </a:p>
        </p:txBody>
      </p:sp>
      <p:sp>
        <p:nvSpPr>
          <p:cNvPr id="4" name="Slide Number Placeholder 3">
            <a:extLst>
              <a:ext uri="{FF2B5EF4-FFF2-40B4-BE49-F238E27FC236}">
                <a16:creationId xmlns:a16="http://schemas.microsoft.com/office/drawing/2014/main" id="{4A173245-A87D-4D35-9ECD-E6626467CA63}"/>
              </a:ext>
            </a:extLst>
          </p:cNvPr>
          <p:cNvSpPr>
            <a:spLocks noGrp="1"/>
          </p:cNvSpPr>
          <p:nvPr>
            <p:ph type="sldNum" sz="quarter" idx="11"/>
          </p:nvPr>
        </p:nvSpPr>
        <p:spPr/>
        <p:txBody>
          <a:bodyPr/>
          <a:lstStyle/>
          <a:p>
            <a:pPr algn="r" rtl="0"/>
            <a:fld id="{C2245BC1-4D7B-4ED3-8F01-840FA35126C6}" type="slidenum">
              <a:rPr/>
              <a:pPr/>
              <a:t>6</a:t>
            </a:fld>
            <a:endParaRPr lang="x-es-XL" dirty="0"/>
          </a:p>
        </p:txBody>
      </p:sp>
      <p:sp>
        <p:nvSpPr>
          <p:cNvPr id="7" name="Text Placeholder 6">
            <a:extLst>
              <a:ext uri="{FF2B5EF4-FFF2-40B4-BE49-F238E27FC236}">
                <a16:creationId xmlns:a16="http://schemas.microsoft.com/office/drawing/2014/main" id="{37129A51-7190-4EDB-9EEB-74AD57E8DE08}"/>
              </a:ext>
            </a:extLst>
          </p:cNvPr>
          <p:cNvSpPr>
            <a:spLocks noGrp="1"/>
          </p:cNvSpPr>
          <p:nvPr>
            <p:ph type="body" sz="quarter" idx="18"/>
          </p:nvPr>
        </p:nvSpPr>
        <p:spPr/>
        <p:txBody>
          <a:bodyPr/>
          <a:lstStyle/>
          <a:p>
            <a:pPr algn="l" rtl="0"/>
            <a:r>
              <a:rPr lang="x-es-XL" b="1" i="0" u="none" baseline="0"/>
              <a:t>NO CLASIFICADO (PÚBLICO)</a:t>
            </a:r>
          </a:p>
        </p:txBody>
      </p:sp>
      <p:sp>
        <p:nvSpPr>
          <p:cNvPr id="14" name="TextBox 13">
            <a:extLst>
              <a:ext uri="{FF2B5EF4-FFF2-40B4-BE49-F238E27FC236}">
                <a16:creationId xmlns:a16="http://schemas.microsoft.com/office/drawing/2014/main" id="{25D1A8CC-671A-4C8A-BF27-8C100855E627}"/>
              </a:ext>
            </a:extLst>
          </p:cNvPr>
          <p:cNvSpPr txBox="1"/>
          <p:nvPr/>
        </p:nvSpPr>
        <p:spPr>
          <a:xfrm>
            <a:off x="323849" y="1150938"/>
            <a:ext cx="4160957" cy="3653044"/>
          </a:xfrm>
          <a:prstGeom prst="rect">
            <a:avLst/>
          </a:prstGeom>
          <a:solidFill>
            <a:schemeClr val="bg1"/>
          </a:solidFill>
        </p:spPr>
        <p:txBody>
          <a:bodyPr vert="horz" lIns="162000" tIns="108000" rIns="162000" bIns="108000" rtlCol="0">
            <a:noAutofit/>
          </a:bodyPr>
          <a:lstStyle>
            <a:lvl1pPr lvl="0" indent="0">
              <a:lnSpc>
                <a:spcPct val="110000"/>
              </a:lnSpc>
              <a:spcBef>
                <a:spcPts val="0"/>
              </a:spcBef>
              <a:spcAft>
                <a:spcPts val="500"/>
              </a:spcAft>
              <a:buFont typeface="Arial" panose="020B0604020202020204" pitchFamily="34" charset="0"/>
              <a:buNone/>
              <a:defRPr sz="1200"/>
            </a:lvl1pPr>
            <a:lvl2pPr marL="180000" lvl="1" indent="-180000">
              <a:lnSpc>
                <a:spcPct val="110000"/>
              </a:lnSpc>
              <a:spcBef>
                <a:spcPts val="0"/>
              </a:spcBef>
              <a:spcAft>
                <a:spcPts val="500"/>
              </a:spcAft>
              <a:buClr>
                <a:schemeClr val="accent4"/>
              </a:buClr>
              <a:buFont typeface="Arial" panose="020B0604020202020204" pitchFamily="34" charset="0"/>
              <a:buChar char="•"/>
              <a:defRPr sz="1200"/>
            </a:lvl2pPr>
            <a:lvl3pPr marL="360000" lvl="2" indent="-180000">
              <a:lnSpc>
                <a:spcPct val="110000"/>
              </a:lnSpc>
              <a:spcBef>
                <a:spcPts val="0"/>
              </a:spcBef>
              <a:spcAft>
                <a:spcPts val="500"/>
              </a:spcAft>
              <a:buClr>
                <a:schemeClr val="accent4"/>
              </a:buClr>
              <a:buFont typeface="Symbol" panose="05050102010706020507" pitchFamily="18" charset="2"/>
              <a:buChar char="-"/>
              <a:defRPr sz="1200"/>
            </a:lvl3pPr>
            <a:lvl4pPr marL="540000" lvl="3" indent="-180000">
              <a:lnSpc>
                <a:spcPct val="110000"/>
              </a:lnSpc>
              <a:spcBef>
                <a:spcPts val="0"/>
              </a:spcBef>
              <a:spcAft>
                <a:spcPts val="500"/>
              </a:spcAft>
              <a:buClr>
                <a:schemeClr val="accent4"/>
              </a:buClr>
              <a:buFont typeface="Symbol" panose="05050102010706020507" pitchFamily="18" charset="2"/>
              <a:buChar char="-"/>
              <a:defRPr sz="1200"/>
            </a:lvl4pPr>
            <a:lvl5pPr marL="0" lvl="4" indent="0">
              <a:lnSpc>
                <a:spcPct val="110000"/>
              </a:lnSpc>
              <a:spcBef>
                <a:spcPts val="0"/>
              </a:spcBef>
              <a:spcAft>
                <a:spcPts val="500"/>
              </a:spcAft>
              <a:buFont typeface="Arial" panose="020B0604020202020204" pitchFamily="34" charset="0"/>
              <a:buNone/>
              <a:defRPr sz="1500"/>
            </a:lvl5pPr>
            <a:lvl6pPr marL="0" lvl="5" indent="0">
              <a:lnSpc>
                <a:spcPct val="110000"/>
              </a:lnSpc>
              <a:spcBef>
                <a:spcPts val="0"/>
              </a:spcBef>
              <a:spcAft>
                <a:spcPts val="0"/>
              </a:spcAft>
              <a:buFont typeface="+mj-lt"/>
              <a:buNone/>
              <a:defRPr sz="1200" b="1"/>
            </a:lvl6pPr>
            <a:lvl7pPr marL="180000" lvl="6" indent="-180000">
              <a:lnSpc>
                <a:spcPct val="110000"/>
              </a:lnSpc>
              <a:spcBef>
                <a:spcPts val="0"/>
              </a:spcBef>
              <a:spcAft>
                <a:spcPts val="500"/>
              </a:spcAft>
              <a:buClr>
                <a:schemeClr val="accent4"/>
              </a:buClr>
              <a:buFont typeface="+mj-lt"/>
              <a:buAutoNum type="arabicPeriod"/>
              <a:defRPr sz="1200"/>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lvl="5" algn="l" rtl="0">
              <a:spcAft>
                <a:spcPts val="500"/>
              </a:spcAft>
            </a:pPr>
            <a:r>
              <a:rPr lang="x-es-XL" sz="1100" b="1" i="0" u="none" baseline="0" dirty="0"/>
              <a:t>Insumos: recursos</a:t>
            </a:r>
          </a:p>
          <a:p>
            <a:pPr lvl="1" algn="l" rtl="0"/>
            <a:r>
              <a:rPr lang="x-es-XL" sz="1050" b="0" i="0" u="none" baseline="0" dirty="0"/>
              <a:t>N.º de voluntarios implicados activamente en el partenariado</a:t>
            </a:r>
          </a:p>
          <a:p>
            <a:pPr lvl="1" algn="l" rtl="0"/>
            <a:r>
              <a:rPr lang="x-es-XL" sz="1050" b="0" i="0" u="none" baseline="0" dirty="0"/>
              <a:t>N.º total de horas de voluntariado </a:t>
            </a:r>
          </a:p>
          <a:p>
            <a:pPr lvl="2" algn="l" rtl="0"/>
            <a:r>
              <a:rPr lang="x-es-XL" sz="1050" b="0" i="0" u="none" baseline="0" dirty="0"/>
              <a:t>dentro de la jornada laboral</a:t>
            </a:r>
          </a:p>
          <a:p>
            <a:pPr lvl="2" algn="l" rtl="0"/>
            <a:r>
              <a:rPr lang="x-es-XL" sz="1050" b="0" i="0" u="none" baseline="0" dirty="0"/>
              <a:t>fuera de la jornada laboral</a:t>
            </a:r>
          </a:p>
          <a:p>
            <a:pPr lvl="1" algn="l" rtl="0"/>
            <a:r>
              <a:rPr lang="x-es-XL" sz="1050" b="0" i="0" u="none" baseline="0" dirty="0"/>
              <a:t>N.º total de actividades de partenariado con una duración de...</a:t>
            </a:r>
          </a:p>
          <a:p>
            <a:pPr lvl="2" algn="l" rtl="0"/>
            <a:r>
              <a:rPr lang="x-es-XL" sz="1050" b="0" i="0" u="none" baseline="0" dirty="0"/>
              <a:t>1 día</a:t>
            </a:r>
          </a:p>
          <a:p>
            <a:pPr lvl="2" algn="l" rtl="0"/>
            <a:r>
              <a:rPr lang="x-es-XL" sz="1050" b="0" i="0" u="none" baseline="0" dirty="0"/>
              <a:t>2-3 días</a:t>
            </a:r>
          </a:p>
          <a:p>
            <a:pPr lvl="2" algn="l" rtl="0"/>
            <a:r>
              <a:rPr lang="x-es-XL" sz="1050" b="0" i="0" u="none" baseline="0" dirty="0"/>
              <a:t>6-19 días</a:t>
            </a:r>
          </a:p>
          <a:p>
            <a:pPr lvl="2" algn="l" rtl="0"/>
            <a:r>
              <a:rPr lang="x-es-XL" sz="1050" b="0" i="0" u="none" baseline="0" dirty="0"/>
              <a:t>&gt;20 días</a:t>
            </a:r>
          </a:p>
          <a:p>
            <a:pPr lvl="1" algn="l" rtl="0"/>
            <a:r>
              <a:rPr lang="x-es-XL" sz="1050" b="0" i="0" u="none" baseline="0" dirty="0"/>
              <a:t>Total de la contribución económica en €</a:t>
            </a:r>
          </a:p>
          <a:p>
            <a:pPr lvl="2" algn="l" rtl="0"/>
            <a:r>
              <a:rPr lang="x-es-XL" sz="1050" b="0" i="0" u="none" baseline="0" dirty="0"/>
              <a:t>parte correspondiente a donaciones</a:t>
            </a:r>
          </a:p>
          <a:p>
            <a:pPr lvl="2" algn="l" rtl="0"/>
            <a:r>
              <a:rPr lang="x-es-XL" sz="1050" b="0" i="0" u="none" baseline="0" dirty="0"/>
              <a:t>parte correspondiente a costos de proyecto (p.ej., costos de material, …)</a:t>
            </a:r>
          </a:p>
          <a:p>
            <a:pPr lvl="1" algn="l" rtl="0"/>
            <a:r>
              <a:rPr lang="x-es-XL" sz="1050" b="0" i="0" u="none" baseline="0" dirty="0"/>
              <a:t>Total de las contribuciones en especie cuantificadas en €</a:t>
            </a:r>
          </a:p>
        </p:txBody>
      </p:sp>
      <p:sp>
        <p:nvSpPr>
          <p:cNvPr id="8" name="TextBox 7">
            <a:extLst>
              <a:ext uri="{FF2B5EF4-FFF2-40B4-BE49-F238E27FC236}">
                <a16:creationId xmlns:a16="http://schemas.microsoft.com/office/drawing/2014/main" id="{4BE93BDE-7545-422B-978F-F03EA0E7E89C}"/>
              </a:ext>
            </a:extLst>
          </p:cNvPr>
          <p:cNvSpPr txBox="1"/>
          <p:nvPr/>
        </p:nvSpPr>
        <p:spPr>
          <a:xfrm>
            <a:off x="4654403" y="1150937"/>
            <a:ext cx="4165597" cy="3638163"/>
          </a:xfrm>
          <a:prstGeom prst="rect">
            <a:avLst/>
          </a:prstGeom>
          <a:solidFill>
            <a:schemeClr val="bg1"/>
          </a:solidFill>
        </p:spPr>
        <p:txBody>
          <a:bodyPr vert="horz" lIns="162000" tIns="108000" rIns="162000" bIns="108000" rtlCol="0">
            <a:noAutofit/>
          </a:bodyPr>
          <a:lstStyle>
            <a:lvl1pPr lvl="0" indent="0">
              <a:lnSpc>
                <a:spcPct val="110000"/>
              </a:lnSpc>
              <a:spcBef>
                <a:spcPts val="0"/>
              </a:spcBef>
              <a:spcAft>
                <a:spcPts val="500"/>
              </a:spcAft>
              <a:buFont typeface="Arial" panose="020B0604020202020204" pitchFamily="34" charset="0"/>
              <a:buNone/>
              <a:defRPr sz="1200"/>
            </a:lvl1pPr>
            <a:lvl2pPr marL="180000" lvl="1" indent="-180000">
              <a:lnSpc>
                <a:spcPct val="110000"/>
              </a:lnSpc>
              <a:spcBef>
                <a:spcPts val="0"/>
              </a:spcBef>
              <a:spcAft>
                <a:spcPts val="500"/>
              </a:spcAft>
              <a:buClr>
                <a:schemeClr val="accent4"/>
              </a:buClr>
              <a:buFont typeface="Arial" panose="020B0604020202020204" pitchFamily="34" charset="0"/>
              <a:buChar char="•"/>
              <a:defRPr sz="1200"/>
            </a:lvl2pPr>
            <a:lvl3pPr marL="360000" lvl="2" indent="-180000">
              <a:lnSpc>
                <a:spcPct val="110000"/>
              </a:lnSpc>
              <a:spcBef>
                <a:spcPts val="0"/>
              </a:spcBef>
              <a:spcAft>
                <a:spcPts val="500"/>
              </a:spcAft>
              <a:buClr>
                <a:schemeClr val="accent4"/>
              </a:buClr>
              <a:buFont typeface="Symbol" panose="05050102010706020507" pitchFamily="18" charset="2"/>
              <a:buChar char="-"/>
              <a:defRPr sz="1200"/>
            </a:lvl3pPr>
            <a:lvl4pPr marL="540000" lvl="3" indent="-180000">
              <a:lnSpc>
                <a:spcPct val="110000"/>
              </a:lnSpc>
              <a:spcBef>
                <a:spcPts val="0"/>
              </a:spcBef>
              <a:spcAft>
                <a:spcPts val="500"/>
              </a:spcAft>
              <a:buClr>
                <a:schemeClr val="accent4"/>
              </a:buClr>
              <a:buFont typeface="Symbol" panose="05050102010706020507" pitchFamily="18" charset="2"/>
              <a:buChar char="-"/>
              <a:defRPr sz="1200"/>
            </a:lvl4pPr>
            <a:lvl5pPr marL="0" lvl="4" indent="0">
              <a:lnSpc>
                <a:spcPct val="110000"/>
              </a:lnSpc>
              <a:spcBef>
                <a:spcPts val="0"/>
              </a:spcBef>
              <a:spcAft>
                <a:spcPts val="500"/>
              </a:spcAft>
              <a:buFont typeface="Arial" panose="020B0604020202020204" pitchFamily="34" charset="0"/>
              <a:buNone/>
              <a:defRPr sz="1500"/>
            </a:lvl5pPr>
            <a:lvl6pPr marL="0" lvl="5" indent="0">
              <a:lnSpc>
                <a:spcPct val="110000"/>
              </a:lnSpc>
              <a:spcBef>
                <a:spcPts val="0"/>
              </a:spcBef>
              <a:spcAft>
                <a:spcPts val="0"/>
              </a:spcAft>
              <a:buFont typeface="+mj-lt"/>
              <a:buNone/>
              <a:defRPr sz="1200" b="1"/>
            </a:lvl6pPr>
            <a:lvl7pPr marL="180000" lvl="6" indent="-180000">
              <a:lnSpc>
                <a:spcPct val="110000"/>
              </a:lnSpc>
              <a:spcBef>
                <a:spcPts val="0"/>
              </a:spcBef>
              <a:spcAft>
                <a:spcPts val="500"/>
              </a:spcAft>
              <a:buClr>
                <a:schemeClr val="accent4"/>
              </a:buClr>
              <a:buFont typeface="+mj-lt"/>
              <a:buAutoNum type="arabicPeriod"/>
              <a:defRPr sz="1200"/>
            </a:lvl7pPr>
            <a:lvl8pPr marL="2571750" indent="-171450">
              <a:lnSpc>
                <a:spcPct val="90000"/>
              </a:lnSpc>
              <a:spcBef>
                <a:spcPts val="375"/>
              </a:spcBef>
              <a:buFont typeface="Arial" panose="020B0604020202020204" pitchFamily="34" charset="0"/>
              <a:buChar char="•"/>
            </a:lvl8pPr>
            <a:lvl9pPr marL="2914650" indent="-171450">
              <a:lnSpc>
                <a:spcPct val="90000"/>
              </a:lnSpc>
              <a:spcBef>
                <a:spcPts val="375"/>
              </a:spcBef>
              <a:buFont typeface="Arial" panose="020B0604020202020204" pitchFamily="34" charset="0"/>
              <a:buChar char="•"/>
            </a:lvl9pPr>
          </a:lstStyle>
          <a:p>
            <a:pPr lvl="5" algn="l" rtl="0">
              <a:spcAft>
                <a:spcPts val="500"/>
              </a:spcAft>
            </a:pPr>
            <a:r>
              <a:rPr lang="x-es-XL" sz="1400" b="1" i="0" u="none" baseline="0" dirty="0"/>
              <a:t>Resultados: servicios y productos</a:t>
            </a:r>
            <a:endParaRPr lang="x-es-XL" sz="1400" dirty="0"/>
          </a:p>
          <a:p>
            <a:pPr lvl="1" algn="l" rtl="0"/>
            <a:r>
              <a:rPr lang="x-es-XL" sz="800" b="0" i="0" u="none" baseline="0" dirty="0"/>
              <a:t>N.º total de actividades de partenariado implementadas</a:t>
            </a:r>
          </a:p>
          <a:p>
            <a:pPr lvl="2" algn="l" rtl="0"/>
            <a:r>
              <a:rPr lang="x-es-XL" sz="800" b="0" i="0" u="none" baseline="0" dirty="0"/>
              <a:t>de ellas, n.º de actividades en formato/modo virtual</a:t>
            </a:r>
          </a:p>
          <a:p>
            <a:pPr lvl="2" algn="l" rtl="0"/>
            <a:r>
              <a:rPr lang="x-es-XL" sz="800" b="0" i="0" u="none" baseline="0" dirty="0"/>
              <a:t>de ellas, n.º de actividades implementadas en formato presencial</a:t>
            </a:r>
          </a:p>
          <a:p>
            <a:pPr lvl="2" algn="l" rtl="0"/>
            <a:r>
              <a:rPr lang="x-es-XL" sz="800" b="0" i="0" u="none" baseline="0" dirty="0"/>
              <a:t>de ellas, n.º de actividades implementadas en formato híbrido</a:t>
            </a:r>
          </a:p>
          <a:p>
            <a:pPr lvl="1" algn="l" rtl="0"/>
            <a:r>
              <a:rPr lang="x-es-XL" sz="800" b="0" i="0" u="none" baseline="0" dirty="0"/>
              <a:t>N.º total de participantes en el programa que se beneficien directamente de la actividad</a:t>
            </a:r>
          </a:p>
          <a:p>
            <a:pPr lvl="1" algn="l" rtl="0"/>
            <a:r>
              <a:rPr lang="x-es-XL" sz="800" b="0" i="0" u="none" baseline="0" dirty="0"/>
              <a:t>De ellos, n.º de participantes en el programa que se beneficien de la oferta de </a:t>
            </a:r>
          </a:p>
          <a:p>
            <a:pPr lvl="2" algn="l" rtl="0"/>
            <a:r>
              <a:rPr lang="x-es-XL" sz="800" b="0" i="0" u="none" baseline="0" dirty="0"/>
              <a:t>capacitación profesional</a:t>
            </a:r>
          </a:p>
          <a:p>
            <a:pPr lvl="2" algn="l" rtl="0"/>
            <a:r>
              <a:rPr lang="x-es-XL" sz="800" b="0" i="0" u="none" baseline="0" dirty="0"/>
              <a:t>desarrollo de aptitudes vitales/blandas</a:t>
            </a:r>
          </a:p>
          <a:p>
            <a:pPr lvl="2" algn="l" rtl="0"/>
            <a:r>
              <a:rPr lang="x-es-XL" sz="800" b="0" i="0" u="none" baseline="0" dirty="0"/>
              <a:t>asesoramiento profesional y orientación respecto al perfil de empleo</a:t>
            </a:r>
          </a:p>
          <a:p>
            <a:pPr lvl="2" algn="l" rtl="0"/>
            <a:r>
              <a:rPr lang="x-es-XL" sz="800" b="0" i="1" u="none" baseline="0" dirty="0"/>
              <a:t>mentoring</a:t>
            </a:r>
          </a:p>
          <a:p>
            <a:pPr lvl="2" algn="l" rtl="0"/>
            <a:r>
              <a:rPr lang="x-es-XL" sz="800" b="0" i="0" u="none" baseline="0" dirty="0"/>
              <a:t>simulación de empleo</a:t>
            </a:r>
          </a:p>
          <a:p>
            <a:pPr lvl="2" algn="l" rtl="0"/>
            <a:r>
              <a:rPr lang="x-es-XL" sz="800" b="0" i="0" u="none" baseline="0" dirty="0"/>
              <a:t>prácticas/aprendizaje</a:t>
            </a:r>
          </a:p>
          <a:p>
            <a:pPr lvl="2" algn="l" rtl="0"/>
            <a:r>
              <a:rPr lang="x-es-XL" sz="800" b="0" i="0" u="none" baseline="0" dirty="0"/>
              <a:t>actividades de emprendimiento</a:t>
            </a:r>
          </a:p>
          <a:p>
            <a:pPr lvl="2" algn="l" rtl="0"/>
            <a:r>
              <a:rPr lang="x-es-XL" sz="800" b="0" i="0" u="none" baseline="0" dirty="0"/>
              <a:t>actividades centradas en la igualdad de género</a:t>
            </a:r>
          </a:p>
          <a:p>
            <a:pPr lvl="2" algn="l" rtl="0"/>
            <a:r>
              <a:rPr lang="x-es-XL" sz="800" b="0" i="0" u="none" baseline="0" dirty="0"/>
              <a:t>sesiones en aula (solo para TFAll)</a:t>
            </a:r>
          </a:p>
          <a:p>
            <a:pPr lvl="2" algn="l" rtl="0"/>
            <a:r>
              <a:rPr lang="x-es-XL" sz="800" b="0" i="0" u="none" baseline="0" dirty="0"/>
              <a:t>otras actividades</a:t>
            </a:r>
          </a:p>
          <a:p>
            <a:pPr lvl="1" algn="l" rtl="0"/>
            <a:endParaRPr lang="x-es-XL" sz="1400" dirty="0"/>
          </a:p>
        </p:txBody>
      </p:sp>
      <p:sp>
        <p:nvSpPr>
          <p:cNvPr id="32"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xfrm>
            <a:off x="323999" y="4803982"/>
            <a:ext cx="8117532" cy="138499"/>
          </a:xfrm>
        </p:spPr>
        <p:txBody>
          <a:bodyPr/>
          <a:lstStyle/>
          <a:p>
            <a:pPr algn="l" rtl="0"/>
            <a:r>
              <a:rPr lang="x-es-XL" b="0" i="0" u="none" baseline="0"/>
              <a:t>DPDHL Group | Manual de redacción de informes para GoTeach | Enero de 2022</a:t>
            </a:r>
          </a:p>
        </p:txBody>
      </p:sp>
    </p:spTree>
    <p:extLst>
      <p:ext uri="{BB962C8B-B14F-4D97-AF65-F5344CB8AC3E}">
        <p14:creationId xmlns:p14="http://schemas.microsoft.com/office/powerpoint/2010/main" val="3413919020"/>
      </p:ext>
    </p:extLst>
  </p:cSld>
  <p:clrMapOvr>
    <a:masterClrMapping/>
  </p:clrMapOvr>
  <mc:AlternateContent xmlns:mc="http://schemas.openxmlformats.org/markup-compatibility/2006" xmlns:p14="http://schemas.microsoft.com/office/powerpoint/2010/main">
    <mc:Choice Requires="p14">
      <p:transition spd="slow" p14:dur="2000" advTm="480"/>
    </mc:Choice>
    <mc:Fallback xmlns="">
      <p:transition spd="slow" advTm="48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5"/>
          <p:cNvGraphicFramePr>
            <a:graphicFrameLocks noGrp="1"/>
          </p:cNvGraphicFramePr>
          <p:nvPr>
            <p:extLst>
              <p:ext uri="{D42A27DB-BD31-4B8C-83A1-F6EECF244321}">
                <p14:modId xmlns:p14="http://schemas.microsoft.com/office/powerpoint/2010/main" val="2579437364"/>
              </p:ext>
            </p:extLst>
          </p:nvPr>
        </p:nvGraphicFramePr>
        <p:xfrm>
          <a:off x="323850" y="1154397"/>
          <a:ext cx="8496149" cy="3670169"/>
        </p:xfrm>
        <a:graphic>
          <a:graphicData uri="http://schemas.openxmlformats.org/drawingml/2006/table">
            <a:tbl>
              <a:tblPr/>
              <a:tblGrid>
                <a:gridCol w="2888688">
                  <a:extLst>
                    <a:ext uri="{9D8B030D-6E8A-4147-A177-3AD203B41FA5}">
                      <a16:colId xmlns:a16="http://schemas.microsoft.com/office/drawing/2014/main" val="20000"/>
                    </a:ext>
                  </a:extLst>
                </a:gridCol>
                <a:gridCol w="5607461">
                  <a:extLst>
                    <a:ext uri="{9D8B030D-6E8A-4147-A177-3AD203B41FA5}">
                      <a16:colId xmlns:a16="http://schemas.microsoft.com/office/drawing/2014/main" val="20001"/>
                    </a:ext>
                  </a:extLst>
                </a:gridCol>
              </a:tblGrid>
              <a:tr h="410380">
                <a:tc>
                  <a:txBody>
                    <a:bodyPr/>
                    <a:lstStyle/>
                    <a:p>
                      <a:pPr algn="l" rtl="0" fontAlgn="b"/>
                      <a:r>
                        <a:rPr lang="x-es-XL" sz="1100" b="1" i="1"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Mentoring</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x-es-XL" sz="900" b="0"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Relación a largo plazo en la que se ayuda a los </a:t>
                      </a:r>
                      <a:r>
                        <a:rPr lang="x-es-XL" sz="900" b="0" i="1"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mentees</a:t>
                      </a:r>
                      <a:r>
                        <a:rPr lang="x-es-XL" sz="900" b="0"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 para que desarrollen las capacidades y aptitudes que necesitan para acceder a un empleo, una capacitación o la educación superior </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13076">
                <a:tc>
                  <a:txBody>
                    <a:bodyPr/>
                    <a:lstStyle/>
                    <a:p>
                      <a:pPr algn="l" rtl="0" fontAlgn="b"/>
                      <a:r>
                        <a:rPr lang="x-es-XL" sz="1100" b="1"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Capacitación profesional</a:t>
                      </a:r>
                      <a:endParaRPr lang="x-es-XL" sz="1100" b="1"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x-es-XL" sz="900" b="0"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Capacitación o taller en el que se imparten conocimientos de la materia, como, por ejemplo, idiomas, conocimientos de las TIC, aptitudes para la búsqueda de empleo (redacción del currículum y de la carta de presentación, preparación para entrevistas de trabajo) </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10380">
                <a:tc>
                  <a:txBody>
                    <a:bodyPr/>
                    <a:lstStyle/>
                    <a:p>
                      <a:pPr algn="l" rtl="0" fontAlgn="b"/>
                      <a:r>
                        <a:rPr lang="x-es-XL" sz="1100" b="1"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Desarrollo de aptitudes vitales/blandas</a:t>
                      </a:r>
                      <a:endParaRPr lang="x-es-XL" sz="1100" b="1"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x-es-XL" sz="900" b="0"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Capacitación o taller para adquirir aptitudes interpersonales de carácter social, como comunicación efectiva, trabajo en equipo, aptitudes de colaboración, asunción de responsabilidades, solución de problemas </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10380">
                <a:tc>
                  <a:txBody>
                    <a:bodyPr/>
                    <a:lstStyle/>
                    <a:p>
                      <a:pPr algn="l" rtl="0" fontAlgn="b"/>
                      <a:r>
                        <a:rPr lang="x-es-XL" sz="1100" b="1"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Asesoramiento profesional y orientación respecto al perfil de empleo</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x-es-XL" sz="900" b="0"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Cualquier actividad dedicada a ayudar a los jóvenes a identificar opciones de empleo, como jornadas/ferias de orientación profesional (para obtener ideas sobre oportunidades profesionales y opciones de aprendizaje), una visita corporativa a un centro de trabajo o a una oficina local, etc.</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74949">
                <a:tc>
                  <a:txBody>
                    <a:bodyPr/>
                    <a:lstStyle/>
                    <a:p>
                      <a:pPr algn="l" rtl="0" fontAlgn="b"/>
                      <a:r>
                        <a:rPr lang="x-es-XL" sz="1100" b="1"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Sesión en aula didáctica</a:t>
                      </a:r>
                      <a:endParaRPr lang="x-es-XL" sz="1100" b="1"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x-es-XL" sz="900" b="0"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Inspirar a los alumnos en las aulas con una clase impartida por un maestro invitado </a:t>
                      </a:r>
                      <a:r>
                        <a:rPr lang="x-es-XL" sz="900" b="1"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se aplica únicamente a la colaboración con Teach For All)</a:t>
                      </a:r>
                      <a:endParaRPr lang="x-es-XL" sz="900" b="1"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10380">
                <a:tc>
                  <a:txBody>
                    <a:bodyPr/>
                    <a:lstStyle/>
                    <a:p>
                      <a:pPr algn="l" rtl="0" fontAlgn="b"/>
                      <a:r>
                        <a:rPr lang="x-es-XL" sz="1100" b="1"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Prácticas/aprendizaje</a:t>
                      </a:r>
                      <a:endParaRPr lang="x-es-XL" sz="1100" b="1"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x-es-XL" sz="900" b="0"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Los jóvenes obtienen aquí la posibilidad de trabajar en un departamento o bien ir alternando por las diferentes áreas de una empresa por un periodo de entre una semana y varios meses</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54066">
                <a:tc>
                  <a:txBody>
                    <a:bodyPr/>
                    <a:lstStyle/>
                    <a:p>
                      <a:pPr algn="l" rtl="0" fontAlgn="b"/>
                      <a:r>
                        <a:rPr lang="x-es-XL" sz="1100" b="1"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Simulación de empleo</a:t>
                      </a:r>
                      <a:endParaRPr lang="x-es-XL" sz="1100" b="1"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x-es-XL" sz="900" b="0"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Los jóvenes acompañan a los empleados durante una semana o menos para aprender lo que significa trabajar en un área determinada en el contexto laboral real</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10380">
                <a:tc>
                  <a:txBody>
                    <a:bodyPr/>
                    <a:lstStyle/>
                    <a:p>
                      <a:pPr algn="l" rtl="0" fontAlgn="b"/>
                      <a:r>
                        <a:rPr lang="x-es-XL" sz="1100" b="1"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Emprendimiento</a:t>
                      </a:r>
                    </a:p>
                    <a:p>
                      <a:pPr algn="l" rtl="0" fontAlgn="b"/>
                      <a:endParaRPr lang="x-es-XL" sz="1100" b="1"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x-es-XL" sz="900" b="0"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Capacitación para jóvenes donde aprenden cómo fundar y/o dirigir su propia empresa</a:t>
                      </a:r>
                    </a:p>
                    <a:p>
                      <a:pPr algn="l" rtl="0" fontAlgn="b"/>
                      <a:endParaRPr lang="x-es-XL" sz="900" b="0"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4713052"/>
                  </a:ext>
                </a:extLst>
              </a:tr>
              <a:tr h="274949">
                <a:tc>
                  <a:txBody>
                    <a:bodyPr/>
                    <a:lstStyle/>
                    <a:p>
                      <a:pPr algn="l" rtl="0" fontAlgn="b"/>
                      <a:r>
                        <a:rPr lang="x-es-XL" sz="1100" b="1"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Otras actividades</a:t>
                      </a:r>
                      <a:endParaRPr lang="x-es-XL" sz="1100" b="1" i="0" u="none" strike="noStrike" dirty="0">
                        <a:solidFill>
                          <a:srgbClr val="000000"/>
                        </a:solidFill>
                        <a:effectLst/>
                        <a:latin typeface="Delivery" panose="020F0503020204020204" pitchFamily="34" charset="0"/>
                      </a:endParaRP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b"/>
                      <a:r>
                        <a:rPr lang="x-es-XL" sz="900" b="0" i="0" u="none" strike="noStrike" baseline="0">
                          <a:solidFill>
                            <a:srgbClr val="000000"/>
                          </a:solidFill>
                          <a:effectLst/>
                          <a:latin typeface="Delivery" panose="020F0503020204020204" pitchFamily="34" charset="0"/>
                          <a:ea typeface="Delivery" panose="020F0503020204020204" pitchFamily="34" charset="0"/>
                          <a:cs typeface="Delivery" panose="020F0503020204020204" pitchFamily="34" charset="0"/>
                        </a:rPr>
                        <a:t>Otras actividades que no encajen en las categorías antes mencionadas, por ejemplo, trabajos de renovación</a:t>
                      </a:r>
                    </a:p>
                  </a:txBody>
                  <a:tcPr marL="45720" marR="4572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sp>
        <p:nvSpPr>
          <p:cNvPr id="30" name="Title 1">
            <a:extLst>
              <a:ext uri="{FF2B5EF4-FFF2-40B4-BE49-F238E27FC236}">
                <a16:creationId xmlns:a16="http://schemas.microsoft.com/office/drawing/2014/main" id="{B6B6FB23-BFF1-4F14-9E78-7D16429C0629}"/>
              </a:ext>
            </a:extLst>
          </p:cNvPr>
          <p:cNvSpPr>
            <a:spLocks noGrp="1"/>
          </p:cNvSpPr>
          <p:nvPr>
            <p:ph type="title"/>
          </p:nvPr>
        </p:nvSpPr>
        <p:spPr>
          <a:xfrm>
            <a:off x="324000" y="385163"/>
            <a:ext cx="8495999" cy="493950"/>
          </a:xfrm>
        </p:spPr>
        <p:txBody>
          <a:bodyPr/>
          <a:lstStyle/>
          <a:p>
            <a:pPr algn="l" rtl="0"/>
            <a:r>
              <a:rPr lang="x-es-XL" b="1" i="0" u="none" baseline="0"/>
              <a:t>Actividades</a:t>
            </a:r>
            <a:endParaRPr lang="x-es-XL" dirty="0"/>
          </a:p>
        </p:txBody>
      </p:sp>
      <p:sp>
        <p:nvSpPr>
          <p:cNvPr id="49"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xfrm>
            <a:off x="323999" y="4803982"/>
            <a:ext cx="8117532" cy="138499"/>
          </a:xfrm>
        </p:spPr>
        <p:txBody>
          <a:bodyPr/>
          <a:lstStyle/>
          <a:p>
            <a:pPr algn="l" rtl="0"/>
            <a:r>
              <a:rPr lang="x-es-XL" b="0" i="0" u="none" baseline="0"/>
              <a:t>DPDHL Group | Manual de redacción de informes para GoTeach | Enero de 2022</a:t>
            </a:r>
          </a:p>
        </p:txBody>
      </p:sp>
      <p:sp>
        <p:nvSpPr>
          <p:cNvPr id="51" name="Slide Number Placeholder 3">
            <a:extLst>
              <a:ext uri="{FF2B5EF4-FFF2-40B4-BE49-F238E27FC236}">
                <a16:creationId xmlns:a16="http://schemas.microsoft.com/office/drawing/2014/main" id="{4A173245-A87D-4D35-9ECD-E6626467CA63}"/>
              </a:ext>
            </a:extLst>
          </p:cNvPr>
          <p:cNvSpPr>
            <a:spLocks noGrp="1"/>
          </p:cNvSpPr>
          <p:nvPr>
            <p:ph type="sldNum" sz="quarter" idx="11"/>
          </p:nvPr>
        </p:nvSpPr>
        <p:spPr>
          <a:xfrm>
            <a:off x="8441531" y="4803982"/>
            <a:ext cx="378469" cy="138499"/>
          </a:xfrm>
        </p:spPr>
        <p:txBody>
          <a:bodyPr/>
          <a:lstStyle/>
          <a:p>
            <a:pPr algn="r" rtl="0"/>
            <a:fld id="{C2245BC1-4D7B-4ED3-8F01-840FA35126C6}" type="slidenum">
              <a:rPr/>
              <a:pPr/>
              <a:t>7</a:t>
            </a:fld>
            <a:endParaRPr lang="x-es-XL" dirty="0"/>
          </a:p>
        </p:txBody>
      </p:sp>
    </p:spTree>
    <p:extLst>
      <p:ext uri="{BB962C8B-B14F-4D97-AF65-F5344CB8AC3E}">
        <p14:creationId xmlns:p14="http://schemas.microsoft.com/office/powerpoint/2010/main" val="1571688403"/>
      </p:ext>
    </p:extLst>
  </p:cSld>
  <p:clrMapOvr>
    <a:masterClrMapping/>
  </p:clrMapOvr>
  <mc:AlternateContent xmlns:mc="http://schemas.openxmlformats.org/markup-compatibility/2006" xmlns:p14="http://schemas.microsoft.com/office/powerpoint/2010/main">
    <mc:Choice Requires="p14">
      <p:transition spd="slow" p14:dur="2000" advTm="709"/>
    </mc:Choice>
    <mc:Fallback xmlns="">
      <p:transition spd="slow" advTm="709"/>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32735A3E-50EC-41EB-B9B5-CDDDBBBFDEDA}"/>
              </a:ext>
            </a:extLst>
          </p:cNvPr>
          <p:cNvSpPr>
            <a:spLocks noGrp="1"/>
          </p:cNvSpPr>
          <p:nvPr>
            <p:ph type="subTitle" idx="1"/>
          </p:nvPr>
        </p:nvSpPr>
        <p:spPr/>
        <p:txBody>
          <a:bodyPr/>
          <a:lstStyle/>
          <a:p>
            <a:pPr algn="l" rtl="0"/>
            <a:r>
              <a:rPr lang="x-es-XL" b="0" i="0" u="none" baseline="0"/>
              <a:t>EMPLEAR EL MICROSITIO DE VOLUNTARIADO PARA REPORTAR SOBRE GOTEACH: </a:t>
            </a:r>
          </a:p>
          <a:p>
            <a:pPr algn="l" rtl="0"/>
            <a:r>
              <a:rPr lang="x-es-XL" b="0" i="0" u="none" baseline="0"/>
              <a:t>GUÍA PASO A PASO SOBRE CÓMO REDACTAR INFORMES PARA GOTEACH </a:t>
            </a:r>
            <a:endParaRPr lang="x-es-XL" dirty="0"/>
          </a:p>
        </p:txBody>
      </p:sp>
      <p:sp>
        <p:nvSpPr>
          <p:cNvPr id="3" name="Title 2">
            <a:extLst>
              <a:ext uri="{FF2B5EF4-FFF2-40B4-BE49-F238E27FC236}">
                <a16:creationId xmlns:a16="http://schemas.microsoft.com/office/drawing/2014/main" id="{01D8AA51-79C2-4231-920A-30B2017224DD}"/>
              </a:ext>
            </a:extLst>
          </p:cNvPr>
          <p:cNvSpPr>
            <a:spLocks noGrp="1"/>
          </p:cNvSpPr>
          <p:nvPr>
            <p:ph type="title"/>
          </p:nvPr>
        </p:nvSpPr>
        <p:spPr/>
        <p:txBody>
          <a:bodyPr/>
          <a:lstStyle/>
          <a:p>
            <a:pPr algn="l" rtl="0"/>
            <a:r>
              <a:rPr lang="x-es-XL" b="0" i="0" u="none" baseline="0"/>
              <a:t>TUTORIAL</a:t>
            </a:r>
            <a:endParaRPr lang="x-es-XL" dirty="0"/>
          </a:p>
        </p:txBody>
      </p:sp>
      <p:pic>
        <p:nvPicPr>
          <p:cNvPr id="4" name="Picture 3"/>
          <p:cNvPicPr>
            <a:picLocks noChangeAspect="1"/>
          </p:cNvPicPr>
          <p:nvPr/>
        </p:nvPicPr>
        <p:blipFill>
          <a:blip r:embed="rId3"/>
          <a:stretch>
            <a:fillRect/>
          </a:stretch>
        </p:blipFill>
        <p:spPr>
          <a:xfrm>
            <a:off x="320400" y="4503600"/>
            <a:ext cx="1469263" cy="359695"/>
          </a:xfrm>
          <a:prstGeom prst="rect">
            <a:avLst/>
          </a:prstGeom>
        </p:spPr>
      </p:pic>
      <p:pic>
        <p:nvPicPr>
          <p:cNvPr id="7" name="Picture 6"/>
          <p:cNvPicPr>
            <a:picLocks noChangeAspect="1"/>
          </p:cNvPicPr>
          <p:nvPr/>
        </p:nvPicPr>
        <p:blipFill>
          <a:blip r:embed="rId4">
            <a:extLst>
              <a:ext uri="{BEBA8EAE-BF5A-486C-A8C5-ECC9F3942E4B}">
                <a14:imgProps xmlns:a14="http://schemas.microsoft.com/office/drawing/2010/main">
                  <a14:imgLayer r:embed="rId5">
                    <a14:imgEffect>
                      <a14:backgroundRemoval t="6740" b="98800" l="9935" r="89993"/>
                    </a14:imgEffect>
                  </a14:imgLayer>
                </a14:imgProps>
              </a:ext>
              <a:ext uri="{28A0092B-C50C-407E-A947-70E740481C1C}">
                <a14:useLocalDpi xmlns:a14="http://schemas.microsoft.com/office/drawing/2010/main" val="0"/>
              </a:ext>
            </a:extLst>
          </a:blip>
          <a:stretch>
            <a:fillRect/>
          </a:stretch>
        </p:blipFill>
        <p:spPr>
          <a:xfrm>
            <a:off x="3284836" y="2521200"/>
            <a:ext cx="2224217" cy="2668847"/>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09053" y="3036897"/>
            <a:ext cx="1076575" cy="2153150"/>
          </a:xfrm>
          <a:prstGeom prst="rect">
            <a:avLst/>
          </a:prstGeom>
        </p:spPr>
      </p:pic>
      <p:pic>
        <p:nvPicPr>
          <p:cNvPr id="9" name="Picture 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6585628" y="-5374"/>
            <a:ext cx="2571750" cy="5143500"/>
          </a:xfrm>
          <a:prstGeom prst="rect">
            <a:avLst/>
          </a:prstGeom>
        </p:spPr>
      </p:pic>
    </p:spTree>
    <p:extLst>
      <p:ext uri="{BB962C8B-B14F-4D97-AF65-F5344CB8AC3E}">
        <p14:creationId xmlns:p14="http://schemas.microsoft.com/office/powerpoint/2010/main" val="42293888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pic>
        <p:nvPicPr>
          <p:cNvPr id="5" name="Grafik 4"/>
          <p:cNvPicPr>
            <a:picLocks noChangeAspect="1"/>
          </p:cNvPicPr>
          <p:nvPr/>
        </p:nvPicPr>
        <p:blipFill>
          <a:blip r:embed="rId4"/>
          <a:stretch>
            <a:fillRect/>
          </a:stretch>
        </p:blipFill>
        <p:spPr>
          <a:xfrm>
            <a:off x="531187" y="2160343"/>
            <a:ext cx="8365012" cy="1648421"/>
          </a:xfrm>
          <a:prstGeom prst="rect">
            <a:avLst/>
          </a:prstGeom>
        </p:spPr>
      </p:pic>
      <p:sp>
        <p:nvSpPr>
          <p:cNvPr id="2" name="Title 1">
            <a:extLst>
              <a:ext uri="{FF2B5EF4-FFF2-40B4-BE49-F238E27FC236}">
                <a16:creationId xmlns:a16="http://schemas.microsoft.com/office/drawing/2014/main" id="{B6B6FB23-BFF1-4F14-9E78-7D16429C0629}"/>
              </a:ext>
            </a:extLst>
          </p:cNvPr>
          <p:cNvSpPr>
            <a:spLocks noGrp="1"/>
          </p:cNvSpPr>
          <p:nvPr>
            <p:ph type="title"/>
          </p:nvPr>
        </p:nvSpPr>
        <p:spPr/>
        <p:txBody>
          <a:bodyPr/>
          <a:lstStyle/>
          <a:p>
            <a:pPr algn="l" rtl="0"/>
            <a:r>
              <a:rPr lang="x-es-XL" b="1" i="0" u="none" baseline="0"/>
              <a:t>PASO 0: Abre el micrositio y entra en Redacción de informes</a:t>
            </a:r>
            <a:endParaRPr lang="x-es-XL" dirty="0"/>
          </a:p>
        </p:txBody>
      </p:sp>
      <p:sp>
        <p:nvSpPr>
          <p:cNvPr id="3" name="Footer Placeholder 2">
            <a:extLst>
              <a:ext uri="{FF2B5EF4-FFF2-40B4-BE49-F238E27FC236}">
                <a16:creationId xmlns:a16="http://schemas.microsoft.com/office/drawing/2014/main" id="{AB70E0CF-B4F5-4330-AECB-D071E404BBFF}"/>
              </a:ext>
            </a:extLst>
          </p:cNvPr>
          <p:cNvSpPr>
            <a:spLocks noGrp="1"/>
          </p:cNvSpPr>
          <p:nvPr>
            <p:ph type="ftr" sz="quarter" idx="10"/>
          </p:nvPr>
        </p:nvSpPr>
        <p:spPr>
          <a:effectLst/>
        </p:spPr>
        <p:txBody>
          <a:bodyPr/>
          <a:lstStyle/>
          <a:p>
            <a:pPr algn="l" rtl="0"/>
            <a:r>
              <a:rPr lang="x-es-XL" b="0" i="0" u="none" baseline="0"/>
              <a:t>DPDHL Group | Manual de redacción de informes para GoTeach | Enero de 2022</a:t>
            </a:r>
          </a:p>
        </p:txBody>
      </p:sp>
      <p:sp>
        <p:nvSpPr>
          <p:cNvPr id="4" name="Slide Number Placeholder 3">
            <a:extLst>
              <a:ext uri="{FF2B5EF4-FFF2-40B4-BE49-F238E27FC236}">
                <a16:creationId xmlns:a16="http://schemas.microsoft.com/office/drawing/2014/main" id="{639489DB-4CD0-4BAD-A2A5-816B29B79143}"/>
              </a:ext>
            </a:extLst>
          </p:cNvPr>
          <p:cNvSpPr>
            <a:spLocks noGrp="1"/>
          </p:cNvSpPr>
          <p:nvPr>
            <p:ph type="sldNum" sz="quarter" idx="11"/>
          </p:nvPr>
        </p:nvSpPr>
        <p:spPr/>
        <p:txBody>
          <a:bodyPr/>
          <a:lstStyle/>
          <a:p>
            <a:pPr algn="r" rtl="0"/>
            <a:fld id="{C2245BC1-4D7B-4ED3-8F01-840FA35126C6}" type="slidenum">
              <a:rPr/>
              <a:pPr/>
              <a:t>9</a:t>
            </a:fld>
            <a:endParaRPr lang="x-es-XL" dirty="0"/>
          </a:p>
        </p:txBody>
      </p:sp>
      <p:sp>
        <p:nvSpPr>
          <p:cNvPr id="6" name="Content Placeholder 5">
            <a:extLst>
              <a:ext uri="{FF2B5EF4-FFF2-40B4-BE49-F238E27FC236}">
                <a16:creationId xmlns:a16="http://schemas.microsoft.com/office/drawing/2014/main" id="{26E948DC-A59B-4A39-BF1E-E43D60D11028}"/>
              </a:ext>
            </a:extLst>
          </p:cNvPr>
          <p:cNvSpPr>
            <a:spLocks noGrp="1"/>
          </p:cNvSpPr>
          <p:nvPr>
            <p:ph sz="quarter" idx="14"/>
          </p:nvPr>
        </p:nvSpPr>
        <p:spPr>
          <a:effectLst>
            <a:outerShdw blurRad="50800" dist="38100" algn="l" rotWithShape="0">
              <a:prstClr val="black">
                <a:alpha val="40000"/>
              </a:prstClr>
            </a:outerShdw>
          </a:effectLst>
        </p:spPr>
        <p:txBody>
          <a:bodyPr/>
          <a:lstStyle/>
          <a:p>
            <a:pPr lvl="4" algn="l" rtl="0"/>
            <a:endParaRPr lang="x-es-XL" sz="1200" b="1" dirty="0"/>
          </a:p>
          <a:p>
            <a:pPr lvl="4" algn="l" rtl="0"/>
            <a:endParaRPr lang="x-es-XL" dirty="0"/>
          </a:p>
          <a:p>
            <a:pPr lvl="4" algn="l" rtl="0"/>
            <a:endParaRPr lang="x-es-XL" dirty="0"/>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26799" y="385163"/>
            <a:ext cx="1393200" cy="525236"/>
          </a:xfrm>
          <a:prstGeom prst="rect">
            <a:avLst/>
          </a:prstGeom>
        </p:spPr>
      </p:pic>
      <p:sp>
        <p:nvSpPr>
          <p:cNvPr id="9" name="Content Placeholder 5">
            <a:extLst>
              <a:ext uri="{FF2B5EF4-FFF2-40B4-BE49-F238E27FC236}">
                <a16:creationId xmlns:a16="http://schemas.microsoft.com/office/drawing/2014/main" id="{26E948DC-A59B-4A39-BF1E-E43D60D11028}"/>
              </a:ext>
            </a:extLst>
          </p:cNvPr>
          <p:cNvSpPr txBox="1">
            <a:spLocks/>
          </p:cNvSpPr>
          <p:nvPr/>
        </p:nvSpPr>
        <p:spPr>
          <a:xfrm>
            <a:off x="476400" y="1303338"/>
            <a:ext cx="8495999" cy="298885"/>
          </a:xfrm>
          <a:prstGeom prst="rect">
            <a:avLst/>
          </a:prstGeom>
        </p:spPr>
        <p:txBody>
          <a:bodyPr vert="horz" lIns="0" tIns="0" rIns="0" bIns="0" rtlCol="0">
            <a:noAutofit/>
          </a:bodyPr>
          <a:lst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20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4" algn="l" rtl="0">
              <a:spcAft>
                <a:spcPts val="375"/>
              </a:spcAft>
            </a:pPr>
            <a:r>
              <a:rPr lang="x-es-XL" sz="1400" b="1" i="0" u="none" baseline="0">
                <a:latin typeface="Delivery" panose="020F0503020204020204" pitchFamily="34" charset="0"/>
                <a:ea typeface="Delivery" panose="020F0503020204020204" pitchFamily="34" charset="0"/>
                <a:cs typeface="Delivery" panose="020F0503020204020204" pitchFamily="34" charset="0"/>
              </a:rPr>
              <a:t>Abre https://www.volunteering-dpdhl.com/ e inicia sesión con tu cuenta de DPDHL. </a:t>
            </a:r>
          </a:p>
          <a:p>
            <a:pPr lvl="4" algn="l" rtl="0">
              <a:spcAft>
                <a:spcPts val="375"/>
              </a:spcAft>
            </a:pPr>
            <a:r>
              <a:rPr lang="x-es-XL" sz="1400" b="1" i="0" u="none" baseline="0">
                <a:latin typeface="Delivery" panose="020F0503020204020204" pitchFamily="34" charset="0"/>
                <a:ea typeface="Delivery" panose="020F0503020204020204" pitchFamily="34" charset="0"/>
                <a:cs typeface="Delivery" panose="020F0503020204020204" pitchFamily="34" charset="0"/>
              </a:rPr>
              <a:t>Desliza hacia abajo el cursor hasta Mi dashboard, haz clic en «Informes de mi proyecto» y haz clic en «Crear nuevo informe»</a:t>
            </a:r>
          </a:p>
          <a:p>
            <a:pPr lvl="4" algn="l" rtl="0">
              <a:spcAft>
                <a:spcPts val="375"/>
              </a:spcAft>
            </a:pPr>
            <a:endParaRPr lang="x-es-XL" sz="1400" b="1" dirty="0">
              <a:latin typeface="Delivery" panose="020F0503020204020204" pitchFamily="34" charset="0"/>
            </a:endParaRPr>
          </a:p>
          <a:p>
            <a:pPr lvl="4" algn="l" rtl="0">
              <a:spcAft>
                <a:spcPts val="375"/>
              </a:spcAft>
            </a:pPr>
            <a:endParaRPr lang="x-es-XL" sz="1400" b="1" dirty="0">
              <a:latin typeface="Delivery" panose="020F0503020204020204" pitchFamily="34" charset="0"/>
            </a:endParaRPr>
          </a:p>
        </p:txBody>
      </p:sp>
      <p:sp>
        <p:nvSpPr>
          <p:cNvPr id="10" name="Oval 9"/>
          <p:cNvSpPr/>
          <p:nvPr/>
        </p:nvSpPr>
        <p:spPr>
          <a:xfrm>
            <a:off x="4129857" y="2531587"/>
            <a:ext cx="1680224" cy="766701"/>
          </a:xfrm>
          <a:prstGeom prst="ellipse">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rtl="0"/>
            <a:endParaRPr lang="x-es-XL" sz="1200" dirty="0" err="1">
              <a:solidFill>
                <a:schemeClr val="tx1"/>
              </a:solidFill>
            </a:endParaRPr>
          </a:p>
        </p:txBody>
      </p:sp>
      <p:sp>
        <p:nvSpPr>
          <p:cNvPr id="11" name="Oval 10"/>
          <p:cNvSpPr/>
          <p:nvPr/>
        </p:nvSpPr>
        <p:spPr>
          <a:xfrm>
            <a:off x="7168040" y="3328381"/>
            <a:ext cx="1391169" cy="558749"/>
          </a:xfrm>
          <a:prstGeom prst="ellipse">
            <a:avLst/>
          </a:prstGeom>
          <a:noFill/>
          <a:ln w="28575">
            <a:solidFill>
              <a:srgbClr val="007C39"/>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noAutofit/>
          </a:bodyPr>
          <a:lstStyle/>
          <a:p>
            <a:pPr algn="l" rtl="0"/>
            <a:endParaRPr lang="x-es-XL" sz="1200" dirty="0" err="1">
              <a:solidFill>
                <a:schemeClr val="tx1"/>
              </a:solidFill>
            </a:endParaRPr>
          </a:p>
        </p:txBody>
      </p:sp>
    </p:spTree>
    <p:extLst>
      <p:ext uri="{BB962C8B-B14F-4D97-AF65-F5344CB8AC3E}">
        <p14:creationId xmlns:p14="http://schemas.microsoft.com/office/powerpoint/2010/main" val="2466449423"/>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9zDDC09a53Ko53PO9EPRg"/>
</p:tagLst>
</file>

<file path=ppt/theme/theme1.xml><?xml version="1.0" encoding="utf-8"?>
<a:theme xmlns:a="http://schemas.openxmlformats.org/drawingml/2006/main" name="DPDHL_Group_GBS">
  <a:themeElements>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36000" rIns="72000" bIns="36000" rtlCol="0" anchor="t">
        <a:noAutofit/>
      </a:bodyPr>
      <a:lstStyle>
        <a:defPPr algn="l">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10000"/>
          </a:lnSpc>
          <a:spcAft>
            <a:spcPts val="500"/>
          </a:spcAft>
          <a:defRPr sz="1200" dirty="0" err="1" smtClean="0"/>
        </a:defPPr>
      </a:lstStyle>
    </a:txDef>
  </a:objectDefaults>
  <a:extraClrSchemeLst/>
  <a:custClrLst>
    <a:custClr name="100% Postyellow">
      <a:srgbClr val="FFCC00"/>
    </a:custClr>
    <a:custClr name="70% Postyellow">
      <a:srgbClr val="FFDB4C"/>
    </a:custClr>
    <a:custClr name="50% Postyellow">
      <a:srgbClr val="FFE57F"/>
    </a:custClr>
    <a:custClr name="30% Postyellow">
      <a:srgbClr val="FFF0B2"/>
    </a:custClr>
    <a:custClr name="20% Postyellow">
      <a:srgbClr val="FFF5CC"/>
    </a:custClr>
    <a:custClr name="None">
      <a:srgbClr val="FFFFFF"/>
    </a:custClr>
    <a:custClr name="Dark Green">
      <a:srgbClr val="007C39"/>
    </a:custClr>
    <a:custClr name="65% Postyellow">
      <a:srgbClr val="FFDE59"/>
    </a:custClr>
    <a:custClr name="None">
      <a:srgbClr val="FFFFFF"/>
    </a:custClr>
    <a:custClr name="None">
      <a:srgbClr val="FFFFFF"/>
    </a:custClr>
    <a:custClr name="Gray 80">
      <a:srgbClr val="333333"/>
    </a:custClr>
    <a:custClr name="Gray 60">
      <a:srgbClr val="666666"/>
    </a:custClr>
    <a:custClr name="Gray 45">
      <a:srgbClr val="8C8C8C"/>
    </a:custClr>
    <a:custClr name="Gray 30">
      <a:srgbClr val="B2B2B2"/>
    </a:custClr>
    <a:custClr name="Gray 20">
      <a:srgbClr val="CCCCCC"/>
    </a:custClr>
    <a:custClr name="Gray 10">
      <a:srgbClr val="E6E6E6"/>
    </a:custClr>
    <a:custClr name="Gray 08">
      <a:srgbClr val="EBEBEB"/>
    </a:custClr>
    <a:custClr name="Gray 05">
      <a:srgbClr val="F2F2F2"/>
    </a:custClr>
    <a:custClr name="None">
      <a:srgbClr val="FFFFFF"/>
    </a:custClr>
    <a:custClr name="None">
      <a:srgbClr val="FFFFFF"/>
    </a:custClr>
  </a:custClrLst>
  <a:extLst>
    <a:ext uri="{05A4C25C-085E-4340-85A3-A5531E510DB2}">
      <thm15:themeFamily xmlns:thm15="http://schemas.microsoft.com/office/thememl/2012/main" name="DPDHL_Group_GBS.potx" id="{5BCBDE1F-E39E-479C-9423-E1AC83031C92}" vid="{EA9C299D-EA9D-47A3-8D62-27333135CA8F}"/>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10.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11.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12.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13.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14.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15.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2.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3.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4.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5.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6.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7.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8.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ppt/theme/themeOverride9.xml><?xml version="1.0" encoding="utf-8"?>
<a:themeOverride xmlns:a="http://schemas.openxmlformats.org/drawingml/2006/main">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A0E6B4490A89A64884417C3F747BD5B3" ma:contentTypeVersion="4" ma:contentTypeDescription="Ein neues Dokument erstellen." ma:contentTypeScope="" ma:versionID="e6c572f9a28289c5b8124d164ab283d0">
  <xsd:schema xmlns:xsd="http://www.w3.org/2001/XMLSchema" xmlns:xs="http://www.w3.org/2001/XMLSchema" xmlns:p="http://schemas.microsoft.com/office/2006/metadata/properties" xmlns:ns2="d5e6290c-b9ce-4bbd-8f8f-ed2ff21c62bb" xmlns:ns3="b71ac013-333c-46b6-b752-3ede1afa882d" targetNamespace="http://schemas.microsoft.com/office/2006/metadata/properties" ma:root="true" ma:fieldsID="6d8247ec6affb7abc080deb0c37f9ea1" ns2:_="" ns3:_="">
    <xsd:import namespace="d5e6290c-b9ce-4bbd-8f8f-ed2ff21c62bb"/>
    <xsd:import namespace="b71ac013-333c-46b6-b752-3ede1afa882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e6290c-b9ce-4bbd-8f8f-ed2ff21c62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71ac013-333c-46b6-b752-3ede1afa882d"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F8111E8-57BC-457E-9DC1-9987CEE4F502}">
  <ds:schemaRefs>
    <ds:schemaRef ds:uri="http://schemas.openxmlformats.org/package/2006/metadata/core-properties"/>
    <ds:schemaRef ds:uri="http://purl.org/dc/terms/"/>
    <ds:schemaRef ds:uri="http://schemas.microsoft.com/office/2006/documentManagement/types"/>
    <ds:schemaRef ds:uri="b71ac013-333c-46b6-b752-3ede1afa882d"/>
    <ds:schemaRef ds:uri="http://www.w3.org/XML/1998/namespace"/>
    <ds:schemaRef ds:uri="d5e6290c-b9ce-4bbd-8f8f-ed2ff21c62bb"/>
    <ds:schemaRef ds:uri="http://purl.org/dc/elements/1.1/"/>
    <ds:schemaRef ds:uri="http://purl.org/dc/dcmitype/"/>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538ED966-F3D8-427F-85A0-1202B0448F82}">
  <ds:schemaRefs>
    <ds:schemaRef ds:uri="http://schemas.microsoft.com/sharepoint/v3/contenttype/forms"/>
  </ds:schemaRefs>
</ds:datastoreItem>
</file>

<file path=customXml/itemProps3.xml><?xml version="1.0" encoding="utf-8"?>
<ds:datastoreItem xmlns:ds="http://schemas.openxmlformats.org/officeDocument/2006/customXml" ds:itemID="{E6F26FE6-5EA3-4B3E-B553-F0C662C472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5e6290c-b9ce-4bbd-8f8f-ed2ff21c62bb"/>
    <ds:schemaRef ds:uri="b71ac013-333c-46b6-b752-3ede1afa882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252</Words>
  <Application>Microsoft Office PowerPoint</Application>
  <PresentationFormat>Bildschirmpräsentation (16:9)</PresentationFormat>
  <Paragraphs>244</Paragraphs>
  <Slides>25</Slides>
  <Notes>25</Notes>
  <HiddenSlides>0</HiddenSlides>
  <MMClips>1</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5</vt:i4>
      </vt:variant>
    </vt:vector>
  </HeadingPairs>
  <TitlesOfParts>
    <vt:vector size="33" baseType="lpstr">
      <vt:lpstr>Arial</vt:lpstr>
      <vt:lpstr>Calibri</vt:lpstr>
      <vt:lpstr>Delivery</vt:lpstr>
      <vt:lpstr>Delivery Cd Black</vt:lpstr>
      <vt:lpstr>Delivery Cd Light</vt:lpstr>
      <vt:lpstr>Symbol</vt:lpstr>
      <vt:lpstr>DPDHL_Group_GBS</vt:lpstr>
      <vt:lpstr>think-cell Folie</vt:lpstr>
      <vt:lpstr>REDACCIÓN DE INFORMES PARA GoTEACH</vt:lpstr>
      <vt:lpstr>Programa</vt:lpstr>
      <vt:lpstr>Comencemos por algunas nociones teóricas</vt:lpstr>
      <vt:lpstr>Comencemos por algunas nociones teóricas</vt:lpstr>
      <vt:lpstr>Comencemos por algunas nociones teóricas</vt:lpstr>
      <vt:lpstr>Requerimientos para redactar informes de GoTeach en la plataforma myVolunteering sobre el nivel de actividad en 2022</vt:lpstr>
      <vt:lpstr>Actividades</vt:lpstr>
      <vt:lpstr>TUTORIAL</vt:lpstr>
      <vt:lpstr>PASO 0: Abre el micrositio y entra en Redacción de informes</vt:lpstr>
      <vt:lpstr>PASO 1: Información general</vt:lpstr>
      <vt:lpstr>PASO 1: Información general</vt:lpstr>
      <vt:lpstr>PASO 1: Información general: cómo contar las horas de voluntariado</vt:lpstr>
      <vt:lpstr>PASO 1: Información general: formato/modo de realización</vt:lpstr>
      <vt:lpstr>PASO 1: Información general: igualdad de género</vt:lpstr>
      <vt:lpstr>PASO 1: Información general: Código de Conducta</vt:lpstr>
      <vt:lpstr>PASO 1: Información general</vt:lpstr>
      <vt:lpstr>PASO 2: Información sobre el proyecto</vt:lpstr>
      <vt:lpstr>PASO 3: Número de voluntarios de las divisiones</vt:lpstr>
      <vt:lpstr>PASO 4: Información adicional para actividades de recaudación de fondos</vt:lpstr>
      <vt:lpstr>PASO 5: Sube todas las fotos que tengas de la actividad</vt:lpstr>
      <vt:lpstr>PASO 5: Cómo obtener unas imágenes fantásticas</vt:lpstr>
      <vt:lpstr>PASO 6: Marca la casilla</vt:lpstr>
      <vt:lpstr>LISTO</vt:lpstr>
      <vt:lpstr>GRACIAS POR REALIZAR ACTIVIDADES DE VOLUNTARIADO CON NOSOTROS </vt:lpstr>
      <vt:lpstr>¿Alguna PREGUNTA?</vt:lpstr>
    </vt:vector>
  </TitlesOfParts>
  <Company>DH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ease note: Important instructions for information classification</dc:title>
  <dc:creator>Clara Lena Barrocu (DPDHL DE)</dc:creator>
  <cp:lastModifiedBy>Wollmann, Z, Corp. Citizenship, BN</cp:lastModifiedBy>
  <cp:revision>81</cp:revision>
  <dcterms:created xsi:type="dcterms:W3CDTF">2021-12-21T18:56:32Z</dcterms:created>
  <dcterms:modified xsi:type="dcterms:W3CDTF">2022-03-10T08:2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0E6B4490A89A64884417C3F747BD5B3</vt:lpwstr>
  </property>
  <property fmtid="{D5CDD505-2E9C-101B-9397-08002B2CF9AE}" pid="3" name="MSIP_Label_736915f3-2f02-4945-8997-f2963298db46_Enabled">
    <vt:lpwstr>true</vt:lpwstr>
  </property>
  <property fmtid="{D5CDD505-2E9C-101B-9397-08002B2CF9AE}" pid="4" name="MSIP_Label_736915f3-2f02-4945-8997-f2963298db46_SetDate">
    <vt:lpwstr>2022-03-07T16:57:35Z</vt:lpwstr>
  </property>
  <property fmtid="{D5CDD505-2E9C-101B-9397-08002B2CF9AE}" pid="5" name="MSIP_Label_736915f3-2f02-4945-8997-f2963298db46_Method">
    <vt:lpwstr>Standard</vt:lpwstr>
  </property>
  <property fmtid="{D5CDD505-2E9C-101B-9397-08002B2CF9AE}" pid="6" name="MSIP_Label_736915f3-2f02-4945-8997-f2963298db46_Name">
    <vt:lpwstr>Internal</vt:lpwstr>
  </property>
  <property fmtid="{D5CDD505-2E9C-101B-9397-08002B2CF9AE}" pid="7" name="MSIP_Label_736915f3-2f02-4945-8997-f2963298db46_SiteId">
    <vt:lpwstr>cd99fef8-1cd3-4a2a-9bdf-15531181d65e</vt:lpwstr>
  </property>
  <property fmtid="{D5CDD505-2E9C-101B-9397-08002B2CF9AE}" pid="8" name="MSIP_Label_736915f3-2f02-4945-8997-f2963298db46_ActionId">
    <vt:lpwstr>8a34539c-dfef-4b08-ad02-fce3460b627c</vt:lpwstr>
  </property>
  <property fmtid="{D5CDD505-2E9C-101B-9397-08002B2CF9AE}" pid="9" name="MSIP_Label_736915f3-2f02-4945-8997-f2963298db46_ContentBits">
    <vt:lpwstr>1</vt:lpwstr>
  </property>
</Properties>
</file>